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4.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5.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6.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heme/theme7.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5" r:id="rId4"/>
    <p:sldMasterId id="2147483741" r:id="rId5"/>
    <p:sldMasterId id="2147483759" r:id="rId6"/>
    <p:sldMasterId id="2147483813" r:id="rId7"/>
    <p:sldMasterId id="2147483841" r:id="rId8"/>
    <p:sldMasterId id="2147483869" r:id="rId9"/>
  </p:sldMasterIdLst>
  <p:notesMasterIdLst>
    <p:notesMasterId r:id="rId14"/>
  </p:notesMasterIdLst>
  <p:sldIdLst>
    <p:sldId id="1941972947" r:id="rId10"/>
    <p:sldId id="1941972948" r:id="rId11"/>
    <p:sldId id="1941972949" r:id="rId12"/>
    <p:sldId id="1941972950" r:id="rId13"/>
  </p:sldIdLst>
  <p:sldSz cx="20104100" cy="11309350"/>
  <p:notesSz cx="20104100" cy="11309350"/>
  <p:custDataLst>
    <p:tags r:id="rId15"/>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80">
          <p15:clr>
            <a:srgbClr val="A4A3A4"/>
          </p15:clr>
        </p15:guide>
        <p15:guide id="2" pos="216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assan imran" initials="hi" lastIdx="1" clrIdx="0">
    <p:extLst>
      <p:ext uri="{19B8F6BF-5375-455C-9EA6-DF929625EA0E}">
        <p15:presenceInfo xmlns:p15="http://schemas.microsoft.com/office/powerpoint/2012/main" userId="9efe4322e37fca79" providerId="Windows Live"/>
      </p:ext>
    </p:extLst>
  </p:cmAuthor>
  <p:cmAuthor id="2" name="Faisal Fida" initials="FF" lastIdx="3" clrIdx="1">
    <p:extLst>
      <p:ext uri="{19B8F6BF-5375-455C-9EA6-DF929625EA0E}">
        <p15:presenceInfo xmlns:p15="http://schemas.microsoft.com/office/powerpoint/2012/main" userId="b96c9f9bd96a2380" providerId="Windows Live"/>
      </p:ext>
    </p:extLst>
  </p:cmAuthor>
  <p:cmAuthor id="3" name="Usman Raza عثمان رضا" initials="URعر" lastIdx="1" clrIdx="2">
    <p:extLst>
      <p:ext uri="{19B8F6BF-5375-455C-9EA6-DF929625EA0E}">
        <p15:presenceInfo xmlns:p15="http://schemas.microsoft.com/office/powerpoint/2012/main" userId="621acd1ce78df2a9"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375E"/>
    <a:srgbClr val="51078C"/>
    <a:srgbClr val="4F008C"/>
    <a:srgbClr val="570596"/>
    <a:srgbClr val="9BBB59"/>
    <a:srgbClr val="E05AB5"/>
    <a:srgbClr val="E268BB"/>
    <a:srgbClr val="EFA9D8"/>
    <a:srgbClr val="93215D"/>
    <a:srgbClr val="E98C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38B1855-1B75-4FBE-930C-398BA8C253C6}" styleName="Themed Style 2 - Accent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553" autoAdjust="0"/>
    <p:restoredTop sz="95000" autoAdjust="0"/>
  </p:normalViewPr>
  <p:slideViewPr>
    <p:cSldViewPr>
      <p:cViewPr varScale="1">
        <p:scale>
          <a:sx n="57" d="100"/>
          <a:sy n="57" d="100"/>
        </p:scale>
        <p:origin x="168" y="67"/>
      </p:cViewPr>
      <p:guideLst>
        <p:guide orient="horz" pos="2880"/>
        <p:guide pos="2160"/>
      </p:guideLst>
    </p:cSldViewPr>
  </p:slideViewPr>
  <p:notesTextViewPr>
    <p:cViewPr>
      <p:scale>
        <a:sx n="100" d="100"/>
        <a:sy n="100" d="100"/>
      </p:scale>
      <p:origin x="0" y="0"/>
    </p:cViewPr>
  </p:notesTextViewPr>
  <p:sorterViewPr>
    <p:cViewPr>
      <p:scale>
        <a:sx n="100" d="100"/>
        <a:sy n="100" d="100"/>
      </p:scale>
      <p:origin x="0" y="-104712"/>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4.xml"/><Relationship Id="rId18"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5" Type="http://schemas.openxmlformats.org/officeDocument/2006/relationships/slideMaster" Target="slideMasters/slideMaster2.xml"/><Relationship Id="rId15" Type="http://schemas.openxmlformats.org/officeDocument/2006/relationships/tags" Target="tags/tag1.xml"/><Relationship Id="rId10" Type="http://schemas.openxmlformats.org/officeDocument/2006/relationships/slide" Target="slides/slide1.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8712200" cy="56673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11387138" y="0"/>
            <a:ext cx="8712200" cy="566738"/>
          </a:xfrm>
          <a:prstGeom prst="rect">
            <a:avLst/>
          </a:prstGeom>
        </p:spPr>
        <p:txBody>
          <a:bodyPr vert="horz" lIns="91440" tIns="45720" rIns="91440" bIns="45720" rtlCol="0"/>
          <a:lstStyle>
            <a:lvl1pPr algn="r">
              <a:defRPr sz="1200"/>
            </a:lvl1pPr>
          </a:lstStyle>
          <a:p>
            <a:fld id="{A341D381-33F6-4E0F-8453-7CA8C642B839}" type="datetimeFigureOut">
              <a:rPr lang="en-US" smtClean="0"/>
              <a:t>10/26/2020</a:t>
            </a:fld>
            <a:endParaRPr lang="en-US"/>
          </a:p>
        </p:txBody>
      </p:sp>
      <p:sp>
        <p:nvSpPr>
          <p:cNvPr id="4" name="Slide Image Placeholder 3"/>
          <p:cNvSpPr>
            <a:spLocks noGrp="1" noRot="1" noChangeAspect="1"/>
          </p:cNvSpPr>
          <p:nvPr>
            <p:ph type="sldImg" idx="2"/>
          </p:nvPr>
        </p:nvSpPr>
        <p:spPr>
          <a:xfrm>
            <a:off x="6659563" y="1414463"/>
            <a:ext cx="6784975" cy="38163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2009775" y="5441950"/>
            <a:ext cx="16084550" cy="445452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10742613"/>
            <a:ext cx="8712200" cy="56673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11387138" y="10742613"/>
            <a:ext cx="8712200" cy="566737"/>
          </a:xfrm>
          <a:prstGeom prst="rect">
            <a:avLst/>
          </a:prstGeom>
        </p:spPr>
        <p:txBody>
          <a:bodyPr vert="horz" lIns="91440" tIns="45720" rIns="91440" bIns="45720" rtlCol="0" anchor="b"/>
          <a:lstStyle>
            <a:lvl1pPr algn="r">
              <a:defRPr sz="1200"/>
            </a:lvl1pPr>
          </a:lstStyle>
          <a:p>
            <a:fld id="{CC65977B-58CE-4F0B-9EFD-ED8FF0695DEB}" type="slidenum">
              <a:rPr lang="en-US" smtClean="0"/>
              <a:t>‹#›</a:t>
            </a:fld>
            <a:endParaRPr lang="en-US"/>
          </a:p>
        </p:txBody>
      </p:sp>
    </p:spTree>
    <p:extLst>
      <p:ext uri="{BB962C8B-B14F-4D97-AF65-F5344CB8AC3E}">
        <p14:creationId xmlns:p14="http://schemas.microsoft.com/office/powerpoint/2010/main" val="216679893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5.png"/><Relationship Id="rId18" Type="http://schemas.openxmlformats.org/officeDocument/2006/relationships/image" Target="../media/image40.png"/><Relationship Id="rId26" Type="http://schemas.openxmlformats.org/officeDocument/2006/relationships/image" Target="../media/image48.png"/><Relationship Id="rId3" Type="http://schemas.openxmlformats.org/officeDocument/2006/relationships/image" Target="../media/image25.png"/><Relationship Id="rId21" Type="http://schemas.openxmlformats.org/officeDocument/2006/relationships/image" Target="../media/image43.png"/><Relationship Id="rId34" Type="http://schemas.openxmlformats.org/officeDocument/2006/relationships/image" Target="../media/image56.png"/><Relationship Id="rId7" Type="http://schemas.openxmlformats.org/officeDocument/2006/relationships/image" Target="../media/image29.png"/><Relationship Id="rId12" Type="http://schemas.openxmlformats.org/officeDocument/2006/relationships/image" Target="../media/image34.png"/><Relationship Id="rId17" Type="http://schemas.openxmlformats.org/officeDocument/2006/relationships/image" Target="../media/image39.png"/><Relationship Id="rId25" Type="http://schemas.openxmlformats.org/officeDocument/2006/relationships/image" Target="../media/image47.png"/><Relationship Id="rId33" Type="http://schemas.openxmlformats.org/officeDocument/2006/relationships/image" Target="../media/image55.png"/><Relationship Id="rId2" Type="http://schemas.openxmlformats.org/officeDocument/2006/relationships/image" Target="../media/image24.png"/><Relationship Id="rId16" Type="http://schemas.openxmlformats.org/officeDocument/2006/relationships/image" Target="../media/image38.png"/><Relationship Id="rId20" Type="http://schemas.openxmlformats.org/officeDocument/2006/relationships/image" Target="../media/image42.png"/><Relationship Id="rId29" Type="http://schemas.openxmlformats.org/officeDocument/2006/relationships/image" Target="../media/image51.png"/><Relationship Id="rId1" Type="http://schemas.openxmlformats.org/officeDocument/2006/relationships/slideMaster" Target="../slideMasters/slideMaster6.xml"/><Relationship Id="rId6" Type="http://schemas.openxmlformats.org/officeDocument/2006/relationships/image" Target="../media/image28.png"/><Relationship Id="rId11" Type="http://schemas.openxmlformats.org/officeDocument/2006/relationships/image" Target="../media/image33.png"/><Relationship Id="rId24" Type="http://schemas.openxmlformats.org/officeDocument/2006/relationships/image" Target="../media/image46.png"/><Relationship Id="rId32" Type="http://schemas.openxmlformats.org/officeDocument/2006/relationships/image" Target="../media/image54.png"/><Relationship Id="rId5" Type="http://schemas.openxmlformats.org/officeDocument/2006/relationships/image" Target="../media/image27.png"/><Relationship Id="rId15" Type="http://schemas.openxmlformats.org/officeDocument/2006/relationships/image" Target="../media/image37.png"/><Relationship Id="rId23" Type="http://schemas.openxmlformats.org/officeDocument/2006/relationships/image" Target="../media/image45.png"/><Relationship Id="rId28" Type="http://schemas.openxmlformats.org/officeDocument/2006/relationships/image" Target="../media/image50.png"/><Relationship Id="rId36" Type="http://schemas.openxmlformats.org/officeDocument/2006/relationships/image" Target="../media/image58.png"/><Relationship Id="rId10" Type="http://schemas.openxmlformats.org/officeDocument/2006/relationships/image" Target="../media/image32.png"/><Relationship Id="rId19" Type="http://schemas.openxmlformats.org/officeDocument/2006/relationships/image" Target="../media/image41.png"/><Relationship Id="rId31" Type="http://schemas.openxmlformats.org/officeDocument/2006/relationships/image" Target="../media/image53.png"/><Relationship Id="rId4" Type="http://schemas.openxmlformats.org/officeDocument/2006/relationships/image" Target="../media/image26.png"/><Relationship Id="rId9" Type="http://schemas.openxmlformats.org/officeDocument/2006/relationships/image" Target="../media/image31.png"/><Relationship Id="rId14" Type="http://schemas.openxmlformats.org/officeDocument/2006/relationships/image" Target="../media/image36.png"/><Relationship Id="rId22" Type="http://schemas.openxmlformats.org/officeDocument/2006/relationships/image" Target="../media/image44.png"/><Relationship Id="rId27" Type="http://schemas.openxmlformats.org/officeDocument/2006/relationships/image" Target="../media/image49.png"/><Relationship Id="rId30" Type="http://schemas.openxmlformats.org/officeDocument/2006/relationships/image" Target="../media/image52.png"/><Relationship Id="rId35" Type="http://schemas.openxmlformats.org/officeDocument/2006/relationships/image" Target="../media/image57.png"/></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3.jpe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8.png"/><Relationship Id="rId5" Type="http://schemas.openxmlformats.org/officeDocument/2006/relationships/image" Target="../media/image17.emf"/><Relationship Id="rId4" Type="http://schemas.openxmlformats.org/officeDocument/2006/relationships/oleObject" Target="../embeddings/oleObject3.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5.png"/><Relationship Id="rId18" Type="http://schemas.openxmlformats.org/officeDocument/2006/relationships/image" Target="../media/image40.png"/><Relationship Id="rId26" Type="http://schemas.openxmlformats.org/officeDocument/2006/relationships/image" Target="../media/image48.png"/><Relationship Id="rId3" Type="http://schemas.openxmlformats.org/officeDocument/2006/relationships/image" Target="../media/image25.png"/><Relationship Id="rId21" Type="http://schemas.openxmlformats.org/officeDocument/2006/relationships/image" Target="../media/image43.png"/><Relationship Id="rId34" Type="http://schemas.openxmlformats.org/officeDocument/2006/relationships/image" Target="../media/image56.png"/><Relationship Id="rId7" Type="http://schemas.openxmlformats.org/officeDocument/2006/relationships/image" Target="../media/image29.png"/><Relationship Id="rId12" Type="http://schemas.openxmlformats.org/officeDocument/2006/relationships/image" Target="../media/image34.png"/><Relationship Id="rId17" Type="http://schemas.openxmlformats.org/officeDocument/2006/relationships/image" Target="../media/image39.png"/><Relationship Id="rId25" Type="http://schemas.openxmlformats.org/officeDocument/2006/relationships/image" Target="../media/image47.png"/><Relationship Id="rId33" Type="http://schemas.openxmlformats.org/officeDocument/2006/relationships/image" Target="../media/image55.png"/><Relationship Id="rId2" Type="http://schemas.openxmlformats.org/officeDocument/2006/relationships/image" Target="../media/image24.png"/><Relationship Id="rId16" Type="http://schemas.openxmlformats.org/officeDocument/2006/relationships/image" Target="../media/image38.png"/><Relationship Id="rId20" Type="http://schemas.openxmlformats.org/officeDocument/2006/relationships/image" Target="../media/image42.png"/><Relationship Id="rId29" Type="http://schemas.openxmlformats.org/officeDocument/2006/relationships/image" Target="../media/image51.png"/><Relationship Id="rId1" Type="http://schemas.openxmlformats.org/officeDocument/2006/relationships/slideMaster" Target="../slideMasters/slideMaster4.xml"/><Relationship Id="rId6" Type="http://schemas.openxmlformats.org/officeDocument/2006/relationships/image" Target="../media/image28.png"/><Relationship Id="rId11" Type="http://schemas.openxmlformats.org/officeDocument/2006/relationships/image" Target="../media/image33.png"/><Relationship Id="rId24" Type="http://schemas.openxmlformats.org/officeDocument/2006/relationships/image" Target="../media/image46.png"/><Relationship Id="rId32" Type="http://schemas.openxmlformats.org/officeDocument/2006/relationships/image" Target="../media/image54.png"/><Relationship Id="rId5" Type="http://schemas.openxmlformats.org/officeDocument/2006/relationships/image" Target="../media/image27.png"/><Relationship Id="rId15" Type="http://schemas.openxmlformats.org/officeDocument/2006/relationships/image" Target="../media/image37.png"/><Relationship Id="rId23" Type="http://schemas.openxmlformats.org/officeDocument/2006/relationships/image" Target="../media/image45.png"/><Relationship Id="rId28" Type="http://schemas.openxmlformats.org/officeDocument/2006/relationships/image" Target="../media/image50.png"/><Relationship Id="rId36" Type="http://schemas.openxmlformats.org/officeDocument/2006/relationships/image" Target="../media/image58.png"/><Relationship Id="rId10" Type="http://schemas.openxmlformats.org/officeDocument/2006/relationships/image" Target="../media/image32.png"/><Relationship Id="rId19" Type="http://schemas.openxmlformats.org/officeDocument/2006/relationships/image" Target="../media/image41.png"/><Relationship Id="rId31" Type="http://schemas.openxmlformats.org/officeDocument/2006/relationships/image" Target="../media/image53.png"/><Relationship Id="rId4" Type="http://schemas.openxmlformats.org/officeDocument/2006/relationships/image" Target="../media/image26.png"/><Relationship Id="rId9" Type="http://schemas.openxmlformats.org/officeDocument/2006/relationships/image" Target="../media/image31.png"/><Relationship Id="rId14" Type="http://schemas.openxmlformats.org/officeDocument/2006/relationships/image" Target="../media/image36.png"/><Relationship Id="rId22" Type="http://schemas.openxmlformats.org/officeDocument/2006/relationships/image" Target="../media/image44.png"/><Relationship Id="rId27" Type="http://schemas.openxmlformats.org/officeDocument/2006/relationships/image" Target="../media/image49.png"/><Relationship Id="rId30" Type="http://schemas.openxmlformats.org/officeDocument/2006/relationships/image" Target="../media/image52.png"/><Relationship Id="rId35" Type="http://schemas.openxmlformats.org/officeDocument/2006/relationships/image" Target="../media/image57.png"/></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5.png"/><Relationship Id="rId18" Type="http://schemas.openxmlformats.org/officeDocument/2006/relationships/image" Target="../media/image40.png"/><Relationship Id="rId26" Type="http://schemas.openxmlformats.org/officeDocument/2006/relationships/image" Target="../media/image48.png"/><Relationship Id="rId3" Type="http://schemas.openxmlformats.org/officeDocument/2006/relationships/image" Target="../media/image25.png"/><Relationship Id="rId21" Type="http://schemas.openxmlformats.org/officeDocument/2006/relationships/image" Target="../media/image43.png"/><Relationship Id="rId34" Type="http://schemas.openxmlformats.org/officeDocument/2006/relationships/image" Target="../media/image56.png"/><Relationship Id="rId7" Type="http://schemas.openxmlformats.org/officeDocument/2006/relationships/image" Target="../media/image29.png"/><Relationship Id="rId12" Type="http://schemas.openxmlformats.org/officeDocument/2006/relationships/image" Target="../media/image34.png"/><Relationship Id="rId17" Type="http://schemas.openxmlformats.org/officeDocument/2006/relationships/image" Target="../media/image39.png"/><Relationship Id="rId25" Type="http://schemas.openxmlformats.org/officeDocument/2006/relationships/image" Target="../media/image47.png"/><Relationship Id="rId33" Type="http://schemas.openxmlformats.org/officeDocument/2006/relationships/image" Target="../media/image55.png"/><Relationship Id="rId2" Type="http://schemas.openxmlformats.org/officeDocument/2006/relationships/image" Target="../media/image24.png"/><Relationship Id="rId16" Type="http://schemas.openxmlformats.org/officeDocument/2006/relationships/image" Target="../media/image38.png"/><Relationship Id="rId20" Type="http://schemas.openxmlformats.org/officeDocument/2006/relationships/image" Target="../media/image42.png"/><Relationship Id="rId29" Type="http://schemas.openxmlformats.org/officeDocument/2006/relationships/image" Target="../media/image51.png"/><Relationship Id="rId1" Type="http://schemas.openxmlformats.org/officeDocument/2006/relationships/slideMaster" Target="../slideMasters/slideMaster5.xml"/><Relationship Id="rId6" Type="http://schemas.openxmlformats.org/officeDocument/2006/relationships/image" Target="../media/image28.png"/><Relationship Id="rId11" Type="http://schemas.openxmlformats.org/officeDocument/2006/relationships/image" Target="../media/image33.png"/><Relationship Id="rId24" Type="http://schemas.openxmlformats.org/officeDocument/2006/relationships/image" Target="../media/image46.png"/><Relationship Id="rId32" Type="http://schemas.openxmlformats.org/officeDocument/2006/relationships/image" Target="../media/image54.png"/><Relationship Id="rId5" Type="http://schemas.openxmlformats.org/officeDocument/2006/relationships/image" Target="../media/image27.png"/><Relationship Id="rId15" Type="http://schemas.openxmlformats.org/officeDocument/2006/relationships/image" Target="../media/image37.png"/><Relationship Id="rId23" Type="http://schemas.openxmlformats.org/officeDocument/2006/relationships/image" Target="../media/image45.png"/><Relationship Id="rId28" Type="http://schemas.openxmlformats.org/officeDocument/2006/relationships/image" Target="../media/image50.png"/><Relationship Id="rId36" Type="http://schemas.openxmlformats.org/officeDocument/2006/relationships/image" Target="../media/image58.png"/><Relationship Id="rId10" Type="http://schemas.openxmlformats.org/officeDocument/2006/relationships/image" Target="../media/image32.png"/><Relationship Id="rId19" Type="http://schemas.openxmlformats.org/officeDocument/2006/relationships/image" Target="../media/image41.png"/><Relationship Id="rId31" Type="http://schemas.openxmlformats.org/officeDocument/2006/relationships/image" Target="../media/image53.png"/><Relationship Id="rId4" Type="http://schemas.openxmlformats.org/officeDocument/2006/relationships/image" Target="../media/image26.png"/><Relationship Id="rId9" Type="http://schemas.openxmlformats.org/officeDocument/2006/relationships/image" Target="../media/image31.png"/><Relationship Id="rId14" Type="http://schemas.openxmlformats.org/officeDocument/2006/relationships/image" Target="../media/image36.png"/><Relationship Id="rId22" Type="http://schemas.openxmlformats.org/officeDocument/2006/relationships/image" Target="../media/image44.png"/><Relationship Id="rId27" Type="http://schemas.openxmlformats.org/officeDocument/2006/relationships/image" Target="../media/image49.png"/><Relationship Id="rId30" Type="http://schemas.openxmlformats.org/officeDocument/2006/relationships/image" Target="../media/image52.png"/><Relationship Id="rId35" Type="http://schemas.openxmlformats.org/officeDocument/2006/relationships/image" Target="../media/image57.png"/></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3" name="Picture 3"/>
          <p:cNvPicPr>
            <a:picLocks noChangeAspect="1" noChangeArrowheads="1"/>
          </p:cNvPicPr>
          <p:nvPr/>
        </p:nvPicPr>
        <p:blipFill>
          <a:blip r:embed="rId2" cstate="print"/>
          <a:srcRect l="36325" b="280"/>
          <a:stretch>
            <a:fillRect/>
          </a:stretch>
        </p:blipFill>
        <p:spPr bwMode="auto">
          <a:xfrm>
            <a:off x="6" y="753966"/>
            <a:ext cx="2906162" cy="2764506"/>
          </a:xfrm>
          <a:prstGeom prst="rect">
            <a:avLst/>
          </a:prstGeom>
          <a:noFill/>
          <a:ln w="9525">
            <a:noFill/>
            <a:miter lim="800000"/>
            <a:headEnd/>
            <a:tailEnd/>
          </a:ln>
          <a:effectLst/>
        </p:spPr>
      </p:pic>
      <p:pic>
        <p:nvPicPr>
          <p:cNvPr id="4" name="Picture 3" descr="D:\STC Running\2011 Projects\New CI Migration &amp; Guardianship Projects\Corporate Related\PPT Templates\STC Logo Option 2.jpg"/>
          <p:cNvPicPr>
            <a:picLocks noChangeAspect="1" noChangeArrowheads="1"/>
          </p:cNvPicPr>
          <p:nvPr userDrawn="1"/>
        </p:nvPicPr>
        <p:blipFill>
          <a:blip r:embed="rId3" cstate="print"/>
          <a:srcRect t="18155" b="21764"/>
          <a:stretch>
            <a:fillRect/>
          </a:stretch>
        </p:blipFill>
        <p:spPr bwMode="auto">
          <a:xfrm>
            <a:off x="17961076" y="10531121"/>
            <a:ext cx="2056474" cy="713218"/>
          </a:xfrm>
          <a:prstGeom prst="rect">
            <a:avLst/>
          </a:prstGeom>
          <a:noFill/>
        </p:spPr>
      </p:pic>
      <p:sp>
        <p:nvSpPr>
          <p:cNvPr id="5" name="Title 4"/>
          <p:cNvSpPr>
            <a:spLocks noGrp="1"/>
          </p:cNvSpPr>
          <p:nvPr>
            <p:ph type="title"/>
          </p:nvPr>
        </p:nvSpPr>
        <p:spPr>
          <a:xfrm>
            <a:off x="4" y="0"/>
            <a:ext cx="20017545" cy="971766"/>
          </a:xfrm>
        </p:spPr>
        <p:txBody>
          <a:bodyPr>
            <a:normAutofit/>
          </a:bodyPr>
          <a:lstStyle>
            <a:lvl1pPr algn="l">
              <a:defRPr sz="5277" b="1">
                <a:solidFill>
                  <a:srgbClr val="4B2884"/>
                </a:solidFill>
              </a:defRPr>
            </a:lvl1pPr>
          </a:lstStyle>
          <a:p>
            <a:r>
              <a:rPr lang="en-US"/>
              <a:t>Click to edit Master title style</a:t>
            </a:r>
          </a:p>
        </p:txBody>
      </p:sp>
      <p:sp>
        <p:nvSpPr>
          <p:cNvPr id="6" name="Content Placeholder 12"/>
          <p:cNvSpPr>
            <a:spLocks noGrp="1"/>
          </p:cNvSpPr>
          <p:nvPr>
            <p:ph sz="quarter" idx="10"/>
          </p:nvPr>
        </p:nvSpPr>
        <p:spPr>
          <a:xfrm>
            <a:off x="1405890" y="1676159"/>
            <a:ext cx="18111143" cy="8628615"/>
          </a:xfrm>
        </p:spPr>
        <p:txBody>
          <a:bodyPr>
            <a:normAutofit/>
          </a:bodyPr>
          <a:lstStyle>
            <a:lvl1pPr>
              <a:defRPr sz="5277">
                <a:latin typeface="+mj-lt"/>
                <a:cs typeface="Arial" panose="020B0604020202020204" pitchFamily="34" charset="0"/>
              </a:defRPr>
            </a:lvl1pPr>
            <a:lvl2pPr>
              <a:defRPr sz="4398">
                <a:latin typeface="+mj-lt"/>
                <a:cs typeface="Arial" panose="020B0604020202020204" pitchFamily="34" charset="0"/>
              </a:defRPr>
            </a:lvl2pPr>
            <a:lvl3pPr>
              <a:defRPr sz="3958">
                <a:latin typeface="+mj-lt"/>
                <a:cs typeface="Arial" panose="020B0604020202020204" pitchFamily="34" charset="0"/>
              </a:defRPr>
            </a:lvl3pPr>
            <a:lvl4pPr>
              <a:defRPr sz="3079">
                <a:latin typeface="+mj-lt"/>
                <a:cs typeface="Arial" panose="020B0604020202020204" pitchFamily="34" charset="0"/>
              </a:defRPr>
            </a:lvl4pPr>
            <a:lvl5pPr>
              <a:defRPr sz="3079">
                <a:latin typeface="+mj-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1678814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Only Green">
    <p:spTree>
      <p:nvGrpSpPr>
        <p:cNvPr id="1" name=""/>
        <p:cNvGrpSpPr/>
        <p:nvPr/>
      </p:nvGrpSpPr>
      <p:grpSpPr>
        <a:xfrm>
          <a:off x="0" y="0"/>
          <a:ext cx="0" cy="0"/>
          <a:chOff x="0" y="0"/>
          <a:chExt cx="0" cy="0"/>
        </a:xfrm>
      </p:grpSpPr>
      <p:sp>
        <p:nvSpPr>
          <p:cNvPr id="2" name="Title 1"/>
          <p:cNvSpPr>
            <a:spLocks noGrp="1"/>
          </p:cNvSpPr>
          <p:nvPr>
            <p:ph type="title"/>
          </p:nvPr>
        </p:nvSpPr>
        <p:spPr>
          <a:xfrm>
            <a:off x="1005205" y="384364"/>
            <a:ext cx="18093690" cy="1357124"/>
          </a:xfrm>
          <a:prstGeom prst="rect">
            <a:avLst/>
          </a:prstGeom>
        </p:spPr>
        <p:txBody>
          <a:bodyPr lIns="91424" tIns="45711" rIns="91424" bIns="45711"/>
          <a:lstStyle/>
          <a:p>
            <a:r>
              <a:rPr lang="en-US"/>
              <a:t>Click to edit Master title style</a:t>
            </a:r>
            <a:endParaRPr lang="en-US" dirty="0"/>
          </a:p>
        </p:txBody>
      </p:sp>
      <p:cxnSp>
        <p:nvCxnSpPr>
          <p:cNvPr id="5" name="Straight Connector 4"/>
          <p:cNvCxnSpPr/>
          <p:nvPr userDrawn="1"/>
        </p:nvCxnSpPr>
        <p:spPr>
          <a:xfrm>
            <a:off x="1151806" y="1741272"/>
            <a:ext cx="17713249" cy="0"/>
          </a:xfrm>
          <a:prstGeom prst="line">
            <a:avLst/>
          </a:prstGeom>
          <a:ln w="6350">
            <a:solidFill>
              <a:srgbClr val="ED8000"/>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53902685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Contents-tilte white - 58px">
    <p:bg>
      <p:bgRef idx="1001">
        <a:schemeClr val="bg1"/>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C677C15-D783-4350-B9E7-52E834A09207}"/>
              </a:ext>
            </a:extLst>
          </p:cNvPr>
          <p:cNvSpPr>
            <a:spLocks noGrp="1"/>
          </p:cNvSpPr>
          <p:nvPr>
            <p:ph type="pic" sz="quarter" idx="11"/>
          </p:nvPr>
        </p:nvSpPr>
        <p:spPr>
          <a:xfrm>
            <a:off x="0" y="0"/>
            <a:ext cx="20104100" cy="11309350"/>
          </a:xfrm>
        </p:spPr>
        <p:txBody>
          <a:bodyPr/>
          <a:lstStyle/>
          <a:p>
            <a:endParaRPr lang="en-GB"/>
          </a:p>
        </p:txBody>
      </p:sp>
      <p:sp>
        <p:nvSpPr>
          <p:cNvPr id="14" name="Marcador de texto 19">
            <a:extLst>
              <a:ext uri="{FF2B5EF4-FFF2-40B4-BE49-F238E27FC236}">
                <a16:creationId xmlns:a16="http://schemas.microsoft.com/office/drawing/2014/main" id="{F0A5F956-78D9-483E-8513-18F922BFD069}"/>
              </a:ext>
            </a:extLst>
          </p:cNvPr>
          <p:cNvSpPr>
            <a:spLocks noGrp="1"/>
          </p:cNvSpPr>
          <p:nvPr>
            <p:ph type="body" sz="quarter" idx="10" hasCustomPrompt="1"/>
          </p:nvPr>
        </p:nvSpPr>
        <p:spPr>
          <a:xfrm>
            <a:off x="17185412" y="389504"/>
            <a:ext cx="2985439" cy="250572"/>
          </a:xfrm>
          <a:noFill/>
        </p:spPr>
        <p:txBody>
          <a:bodyPr wrap="square" lIns="0" tIns="0" rIns="0" bIns="0" rtlCol="0" anchor="ctr">
            <a:noAutofit/>
          </a:bodyPr>
          <a:lstStyle>
            <a:lvl1pPr marL="0" indent="0">
              <a:buNone/>
              <a:defRPr lang="es-ES" sz="1319" b="0" smtClean="0">
                <a:solidFill>
                  <a:schemeClr val="bg1"/>
                </a:solidFill>
              </a:defRPr>
            </a:lvl1pPr>
            <a:lvl2pPr marL="376961" indent="0">
              <a:buNone/>
              <a:defRPr lang="es-ES" sz="2968" smtClean="0"/>
            </a:lvl2pPr>
            <a:lvl3pPr marL="1130884" indent="0">
              <a:buNone/>
              <a:defRPr lang="es-ES" sz="2968" smtClean="0"/>
            </a:lvl3pPr>
            <a:lvl4pPr marL="1790567" indent="0">
              <a:buFont typeface="Arial" panose="020B0604020202020204" pitchFamily="34" charset="0"/>
              <a:buNone/>
              <a:defRPr lang="es-ES" smtClean="0"/>
            </a:lvl4pPr>
            <a:lvl5pPr marL="2638730" indent="0">
              <a:buNone/>
              <a:defRPr lang="es-ES"/>
            </a:lvl5pPr>
          </a:lstStyle>
          <a:p>
            <a:pPr marL="0" lvl="0"/>
            <a:r>
              <a:rPr lang="es-ES" noProof="0" dirty="0"/>
              <a:t>D</a:t>
            </a:r>
            <a:r>
              <a:rPr lang="en-GB" noProof="0" dirty="0" err="1"/>
              <a:t>ocument</a:t>
            </a:r>
            <a:r>
              <a:rPr lang="en-GB" noProof="0" dirty="0"/>
              <a:t> Title</a:t>
            </a:r>
          </a:p>
        </p:txBody>
      </p:sp>
      <p:sp>
        <p:nvSpPr>
          <p:cNvPr id="11" name="Title 10">
            <a:extLst>
              <a:ext uri="{FF2B5EF4-FFF2-40B4-BE49-F238E27FC236}">
                <a16:creationId xmlns:a16="http://schemas.microsoft.com/office/drawing/2014/main" id="{B384F1BB-96E7-4D3C-AEA6-2038C6C940A2}"/>
              </a:ext>
            </a:extLst>
          </p:cNvPr>
          <p:cNvSpPr>
            <a:spLocks noGrp="1"/>
          </p:cNvSpPr>
          <p:nvPr>
            <p:ph type="title" hasCustomPrompt="1"/>
          </p:nvPr>
        </p:nvSpPr>
        <p:spPr>
          <a:xfrm>
            <a:off x="615163" y="396486"/>
            <a:ext cx="8682983" cy="2546037"/>
          </a:xfrm>
        </p:spPr>
        <p:txBody>
          <a:bodyPr anchor="t">
            <a:normAutofit/>
          </a:bodyPr>
          <a:lstStyle>
            <a:lvl1pPr>
              <a:lnSpc>
                <a:spcPts val="9234"/>
              </a:lnSpc>
              <a:defRPr sz="9564">
                <a:solidFill>
                  <a:schemeClr val="bg1"/>
                </a:solidFill>
              </a:defRPr>
            </a:lvl1pPr>
          </a:lstStyle>
          <a:p>
            <a:r>
              <a:rPr lang="en-GB" noProof="0"/>
              <a:t>Title</a:t>
            </a:r>
          </a:p>
        </p:txBody>
      </p:sp>
    </p:spTree>
    <p:extLst>
      <p:ext uri="{BB962C8B-B14F-4D97-AF65-F5344CB8AC3E}">
        <p14:creationId xmlns:p14="http://schemas.microsoft.com/office/powerpoint/2010/main" val="1916167675"/>
      </p:ext>
    </p:extLst>
  </p:cSld>
  <p:clrMapOvr>
    <a:overrideClrMapping bg1="lt1" tx1="dk1" bg2="lt2" tx2="dk2" accent1="accent1" accent2="accent2" accent3="accent3" accent4="accent4" accent5="accent5" accent6="accent6" hlink="hlink" folHlink="folHlink"/>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Picture bottom">
    <p:bg>
      <p:bgRef idx="1001">
        <a:schemeClr val="bg1"/>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C677C15-D783-4350-B9E7-52E834A09207}"/>
              </a:ext>
            </a:extLst>
          </p:cNvPr>
          <p:cNvSpPr>
            <a:spLocks noGrp="1"/>
          </p:cNvSpPr>
          <p:nvPr>
            <p:ph type="pic" sz="quarter" idx="11"/>
          </p:nvPr>
        </p:nvSpPr>
        <p:spPr>
          <a:xfrm>
            <a:off x="0" y="5089207"/>
            <a:ext cx="20104100" cy="6220143"/>
          </a:xfrm>
        </p:spPr>
        <p:txBody>
          <a:bodyPr/>
          <a:lstStyle/>
          <a:p>
            <a:endParaRPr lang="en-GB"/>
          </a:p>
        </p:txBody>
      </p:sp>
      <p:sp>
        <p:nvSpPr>
          <p:cNvPr id="11" name="Title 10">
            <a:extLst>
              <a:ext uri="{FF2B5EF4-FFF2-40B4-BE49-F238E27FC236}">
                <a16:creationId xmlns:a16="http://schemas.microsoft.com/office/drawing/2014/main" id="{B384F1BB-96E7-4D3C-AEA6-2038C6C940A2}"/>
              </a:ext>
            </a:extLst>
          </p:cNvPr>
          <p:cNvSpPr>
            <a:spLocks noGrp="1"/>
          </p:cNvSpPr>
          <p:nvPr>
            <p:ph type="title" hasCustomPrompt="1"/>
          </p:nvPr>
        </p:nvSpPr>
        <p:spPr>
          <a:xfrm>
            <a:off x="615163" y="396486"/>
            <a:ext cx="8682983" cy="2546037"/>
          </a:xfrm>
        </p:spPr>
        <p:txBody>
          <a:bodyPr anchor="t">
            <a:normAutofit/>
          </a:bodyPr>
          <a:lstStyle>
            <a:lvl1pPr>
              <a:lnSpc>
                <a:spcPts val="8905"/>
              </a:lnSpc>
              <a:defRPr sz="9564">
                <a:solidFill>
                  <a:schemeClr val="tx2"/>
                </a:solidFill>
              </a:defRPr>
            </a:lvl1pPr>
          </a:lstStyle>
          <a:p>
            <a:r>
              <a:rPr lang="en-GB" noProof="0"/>
              <a:t>Title</a:t>
            </a:r>
          </a:p>
        </p:txBody>
      </p:sp>
    </p:spTree>
    <p:extLst>
      <p:ext uri="{BB962C8B-B14F-4D97-AF65-F5344CB8AC3E}">
        <p14:creationId xmlns:p14="http://schemas.microsoft.com/office/powerpoint/2010/main" val="79881146"/>
      </p:ext>
    </p:extLst>
  </p:cSld>
  <p:clrMapOvr>
    <a:overrideClrMapping bg1="lt1" tx1="dk1" bg2="lt2" tx2="dk2" accent1="accent1" accent2="accent2" accent3="accent3" accent4="accent4" accent5="accent5" accent6="accent6" hlink="hlink" folHlink="folHlink"/>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Picture bottom-purple background">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C677C15-D783-4350-B9E7-52E834A09207}"/>
              </a:ext>
            </a:extLst>
          </p:cNvPr>
          <p:cNvSpPr>
            <a:spLocks noGrp="1"/>
          </p:cNvSpPr>
          <p:nvPr>
            <p:ph type="pic" sz="quarter" idx="11"/>
          </p:nvPr>
        </p:nvSpPr>
        <p:spPr>
          <a:xfrm>
            <a:off x="0" y="5654675"/>
            <a:ext cx="20104100" cy="5654675"/>
          </a:xfrm>
        </p:spPr>
        <p:txBody>
          <a:bodyPr/>
          <a:lstStyle/>
          <a:p>
            <a:endParaRPr lang="en-GB"/>
          </a:p>
        </p:txBody>
      </p:sp>
      <p:grpSp>
        <p:nvGrpSpPr>
          <p:cNvPr id="4" name="Group 3">
            <a:extLst>
              <a:ext uri="{FF2B5EF4-FFF2-40B4-BE49-F238E27FC236}">
                <a16:creationId xmlns:a16="http://schemas.microsoft.com/office/drawing/2014/main" id="{D1988B3F-0739-4242-BE75-F4A848D4034D}"/>
              </a:ext>
            </a:extLst>
          </p:cNvPr>
          <p:cNvGrpSpPr/>
          <p:nvPr userDrawn="1"/>
        </p:nvGrpSpPr>
        <p:grpSpPr>
          <a:xfrm>
            <a:off x="1" y="3670479"/>
            <a:ext cx="20013106" cy="7168675"/>
            <a:chOff x="0" y="2225781"/>
            <a:chExt cx="13680558" cy="4900019"/>
          </a:xfrm>
        </p:grpSpPr>
        <p:sp>
          <p:nvSpPr>
            <p:cNvPr id="5" name="object 4">
              <a:extLst>
                <a:ext uri="{FF2B5EF4-FFF2-40B4-BE49-F238E27FC236}">
                  <a16:creationId xmlns:a16="http://schemas.microsoft.com/office/drawing/2014/main" id="{590506FE-57E0-584D-BC47-90F09DBCD688}"/>
                </a:ext>
              </a:extLst>
            </p:cNvPr>
            <p:cNvSpPr/>
            <p:nvPr/>
          </p:nvSpPr>
          <p:spPr>
            <a:xfrm>
              <a:off x="0" y="4614067"/>
              <a:ext cx="776605" cy="279400"/>
            </a:xfrm>
            <a:custGeom>
              <a:avLst/>
              <a:gdLst/>
              <a:ahLst/>
              <a:cxnLst/>
              <a:rect l="l" t="t" r="r" b="b"/>
              <a:pathLst>
                <a:path w="776605" h="279400">
                  <a:moveTo>
                    <a:pt x="97656" y="230555"/>
                  </a:moveTo>
                  <a:lnTo>
                    <a:pt x="0" y="263971"/>
                  </a:lnTo>
                  <a:lnTo>
                    <a:pt x="0" y="279205"/>
                  </a:lnTo>
                  <a:lnTo>
                    <a:pt x="106152" y="242887"/>
                  </a:lnTo>
                  <a:lnTo>
                    <a:pt x="97656" y="230555"/>
                  </a:lnTo>
                  <a:close/>
                </a:path>
                <a:path w="776605" h="279400">
                  <a:moveTo>
                    <a:pt x="119754" y="222999"/>
                  </a:moveTo>
                  <a:lnTo>
                    <a:pt x="110788" y="226072"/>
                  </a:lnTo>
                  <a:lnTo>
                    <a:pt x="119284" y="238404"/>
                  </a:lnTo>
                  <a:lnTo>
                    <a:pt x="140620" y="231089"/>
                  </a:lnTo>
                  <a:lnTo>
                    <a:pt x="119754" y="222999"/>
                  </a:lnTo>
                  <a:close/>
                </a:path>
                <a:path w="776605" h="279400">
                  <a:moveTo>
                    <a:pt x="771620" y="0"/>
                  </a:moveTo>
                  <a:lnTo>
                    <a:pt x="144964" y="214376"/>
                  </a:lnTo>
                  <a:lnTo>
                    <a:pt x="165830" y="222465"/>
                  </a:lnTo>
                  <a:lnTo>
                    <a:pt x="776281" y="13639"/>
                  </a:lnTo>
                  <a:lnTo>
                    <a:pt x="774007" y="9461"/>
                  </a:lnTo>
                  <a:lnTo>
                    <a:pt x="772407" y="4864"/>
                  </a:lnTo>
                  <a:lnTo>
                    <a:pt x="771620" y="0"/>
                  </a:lnTo>
                  <a:close/>
                </a:path>
              </a:pathLst>
            </a:custGeom>
            <a:solidFill>
              <a:srgbClr val="EF3D60">
                <a:alpha val="50999"/>
              </a:srgbClr>
            </a:solidFill>
          </p:spPr>
          <p:txBody>
            <a:bodyPr wrap="square" lIns="0" tIns="0" rIns="0" bIns="0" rtlCol="0"/>
            <a:lstStyle/>
            <a:p>
              <a:endParaRPr sz="2968"/>
            </a:p>
          </p:txBody>
        </p:sp>
        <p:sp>
          <p:nvSpPr>
            <p:cNvPr id="6" name="object 5">
              <a:extLst>
                <a:ext uri="{FF2B5EF4-FFF2-40B4-BE49-F238E27FC236}">
                  <a16:creationId xmlns:a16="http://schemas.microsoft.com/office/drawing/2014/main" id="{6B293071-EE5C-014D-B178-3FE80D9A250C}"/>
                </a:ext>
              </a:extLst>
            </p:cNvPr>
            <p:cNvSpPr/>
            <p:nvPr/>
          </p:nvSpPr>
          <p:spPr>
            <a:xfrm>
              <a:off x="0" y="5289523"/>
              <a:ext cx="405130" cy="53340"/>
            </a:xfrm>
            <a:custGeom>
              <a:avLst/>
              <a:gdLst/>
              <a:ahLst/>
              <a:cxnLst/>
              <a:rect l="l" t="t" r="r" b="b"/>
              <a:pathLst>
                <a:path w="405130" h="53339">
                  <a:moveTo>
                    <a:pt x="0" y="0"/>
                  </a:moveTo>
                  <a:lnTo>
                    <a:pt x="0" y="12304"/>
                  </a:lnTo>
                  <a:lnTo>
                    <a:pt x="404296" y="52734"/>
                  </a:lnTo>
                  <a:lnTo>
                    <a:pt x="404258" y="48504"/>
                  </a:lnTo>
                  <a:lnTo>
                    <a:pt x="404461" y="46142"/>
                  </a:lnTo>
                  <a:lnTo>
                    <a:pt x="404842" y="43818"/>
                  </a:lnTo>
                  <a:lnTo>
                    <a:pt x="391469" y="39145"/>
                  </a:lnTo>
                  <a:lnTo>
                    <a:pt x="0" y="0"/>
                  </a:lnTo>
                  <a:close/>
                </a:path>
              </a:pathLst>
            </a:custGeom>
            <a:solidFill>
              <a:srgbClr val="EF3D60">
                <a:alpha val="50999"/>
              </a:srgbClr>
            </a:solidFill>
          </p:spPr>
          <p:txBody>
            <a:bodyPr wrap="square" lIns="0" tIns="0" rIns="0" bIns="0" rtlCol="0"/>
            <a:lstStyle/>
            <a:p>
              <a:endParaRPr sz="2968"/>
            </a:p>
          </p:txBody>
        </p:sp>
        <p:sp>
          <p:nvSpPr>
            <p:cNvPr id="7" name="object 6">
              <a:extLst>
                <a:ext uri="{FF2B5EF4-FFF2-40B4-BE49-F238E27FC236}">
                  <a16:creationId xmlns:a16="http://schemas.microsoft.com/office/drawing/2014/main" id="{4B413223-4C29-E342-9B1B-474E847B9194}"/>
                </a:ext>
              </a:extLst>
            </p:cNvPr>
            <p:cNvSpPr/>
            <p:nvPr/>
          </p:nvSpPr>
          <p:spPr>
            <a:xfrm>
              <a:off x="482813" y="4481402"/>
              <a:ext cx="1717675" cy="847725"/>
            </a:xfrm>
            <a:custGeom>
              <a:avLst/>
              <a:gdLst/>
              <a:ahLst/>
              <a:cxnLst/>
              <a:rect l="l" t="t" r="r" b="b"/>
              <a:pathLst>
                <a:path w="1717675" h="847725">
                  <a:moveTo>
                    <a:pt x="385241" y="645833"/>
                  </a:moveTo>
                  <a:lnTo>
                    <a:pt x="0" y="833513"/>
                  </a:lnTo>
                  <a:lnTo>
                    <a:pt x="2959" y="837577"/>
                  </a:lnTo>
                  <a:lnTo>
                    <a:pt x="5232" y="842162"/>
                  </a:lnTo>
                  <a:lnTo>
                    <a:pt x="6642" y="847115"/>
                  </a:lnTo>
                  <a:lnTo>
                    <a:pt x="404507" y="653300"/>
                  </a:lnTo>
                  <a:lnTo>
                    <a:pt x="385241" y="645833"/>
                  </a:lnTo>
                  <a:close/>
                </a:path>
                <a:path w="1717675" h="847725">
                  <a:moveTo>
                    <a:pt x="739203" y="473392"/>
                  </a:moveTo>
                  <a:lnTo>
                    <a:pt x="406273" y="635584"/>
                  </a:lnTo>
                  <a:lnTo>
                    <a:pt x="425538" y="643051"/>
                  </a:lnTo>
                  <a:lnTo>
                    <a:pt x="751954" y="484035"/>
                  </a:lnTo>
                  <a:lnTo>
                    <a:pt x="739203" y="473392"/>
                  </a:lnTo>
                  <a:close/>
                </a:path>
                <a:path w="1717675" h="847725">
                  <a:moveTo>
                    <a:pt x="936155" y="377444"/>
                  </a:moveTo>
                  <a:lnTo>
                    <a:pt x="751497" y="467398"/>
                  </a:lnTo>
                  <a:lnTo>
                    <a:pt x="764260" y="478040"/>
                  </a:lnTo>
                  <a:lnTo>
                    <a:pt x="955154" y="385038"/>
                  </a:lnTo>
                  <a:lnTo>
                    <a:pt x="936155" y="377444"/>
                  </a:lnTo>
                  <a:close/>
                </a:path>
                <a:path w="1717675" h="847725">
                  <a:moveTo>
                    <a:pt x="1710931" y="0"/>
                  </a:moveTo>
                  <a:lnTo>
                    <a:pt x="958735" y="366445"/>
                  </a:lnTo>
                  <a:lnTo>
                    <a:pt x="977734" y="374040"/>
                  </a:lnTo>
                  <a:lnTo>
                    <a:pt x="1717560" y="13614"/>
                  </a:lnTo>
                  <a:lnTo>
                    <a:pt x="1714601" y="9563"/>
                  </a:lnTo>
                  <a:lnTo>
                    <a:pt x="1712340" y="4953"/>
                  </a:lnTo>
                  <a:lnTo>
                    <a:pt x="1710931" y="0"/>
                  </a:lnTo>
                  <a:close/>
                </a:path>
              </a:pathLst>
            </a:custGeom>
            <a:solidFill>
              <a:srgbClr val="EF3D60">
                <a:alpha val="50999"/>
              </a:srgbClr>
            </a:solidFill>
          </p:spPr>
          <p:txBody>
            <a:bodyPr wrap="square" lIns="0" tIns="0" rIns="0" bIns="0" rtlCol="0"/>
            <a:lstStyle/>
            <a:p>
              <a:endParaRPr sz="2968"/>
            </a:p>
          </p:txBody>
        </p:sp>
        <p:sp>
          <p:nvSpPr>
            <p:cNvPr id="8" name="object 7">
              <a:extLst>
                <a:ext uri="{FF2B5EF4-FFF2-40B4-BE49-F238E27FC236}">
                  <a16:creationId xmlns:a16="http://schemas.microsoft.com/office/drawing/2014/main" id="{67A59557-6DAD-D443-A2E2-669C5D4B0EE9}"/>
                </a:ext>
              </a:extLst>
            </p:cNvPr>
            <p:cNvSpPr/>
            <p:nvPr/>
          </p:nvSpPr>
          <p:spPr>
            <a:xfrm>
              <a:off x="462728" y="4643509"/>
              <a:ext cx="337185" cy="661035"/>
            </a:xfrm>
            <a:custGeom>
              <a:avLst/>
              <a:gdLst/>
              <a:ahLst/>
              <a:cxnLst/>
              <a:rect l="l" t="t" r="r" b="b"/>
              <a:pathLst>
                <a:path w="337184" h="661035">
                  <a:moveTo>
                    <a:pt x="138087" y="380098"/>
                  </a:moveTo>
                  <a:lnTo>
                    <a:pt x="0" y="656196"/>
                  </a:lnTo>
                  <a:lnTo>
                    <a:pt x="3035" y="657313"/>
                  </a:lnTo>
                  <a:lnTo>
                    <a:pt x="5905" y="658761"/>
                  </a:lnTo>
                  <a:lnTo>
                    <a:pt x="8572" y="660501"/>
                  </a:lnTo>
                  <a:lnTo>
                    <a:pt x="147027" y="383565"/>
                  </a:lnTo>
                  <a:lnTo>
                    <a:pt x="138087" y="380098"/>
                  </a:lnTo>
                  <a:close/>
                </a:path>
                <a:path w="337184" h="661035">
                  <a:moveTo>
                    <a:pt x="328180" y="0"/>
                  </a:moveTo>
                  <a:lnTo>
                    <a:pt x="145795" y="364680"/>
                  </a:lnTo>
                  <a:lnTo>
                    <a:pt x="154749" y="368160"/>
                  </a:lnTo>
                  <a:lnTo>
                    <a:pt x="336677" y="4267"/>
                  </a:lnTo>
                  <a:lnTo>
                    <a:pt x="333679" y="3149"/>
                  </a:lnTo>
                  <a:lnTo>
                    <a:pt x="330834" y="1714"/>
                  </a:lnTo>
                  <a:lnTo>
                    <a:pt x="328180" y="0"/>
                  </a:lnTo>
                  <a:close/>
                </a:path>
              </a:pathLst>
            </a:custGeom>
            <a:solidFill>
              <a:srgbClr val="EF3D60">
                <a:alpha val="50999"/>
              </a:srgbClr>
            </a:solidFill>
          </p:spPr>
          <p:txBody>
            <a:bodyPr wrap="square" lIns="0" tIns="0" rIns="0" bIns="0" rtlCol="0"/>
            <a:lstStyle/>
            <a:p>
              <a:endParaRPr sz="2968"/>
            </a:p>
          </p:txBody>
        </p:sp>
        <p:sp>
          <p:nvSpPr>
            <p:cNvPr id="9" name="object 8">
              <a:extLst>
                <a:ext uri="{FF2B5EF4-FFF2-40B4-BE49-F238E27FC236}">
                  <a16:creationId xmlns:a16="http://schemas.microsoft.com/office/drawing/2014/main" id="{873E29A1-A1BE-1941-8F9F-051BCA58323C}"/>
                </a:ext>
              </a:extLst>
            </p:cNvPr>
            <p:cNvSpPr/>
            <p:nvPr/>
          </p:nvSpPr>
          <p:spPr>
            <a:xfrm>
              <a:off x="0" y="4938382"/>
              <a:ext cx="418465" cy="377825"/>
            </a:xfrm>
            <a:custGeom>
              <a:avLst/>
              <a:gdLst/>
              <a:ahLst/>
              <a:cxnLst/>
              <a:rect l="l" t="t" r="r" b="b"/>
              <a:pathLst>
                <a:path w="418465" h="377825">
                  <a:moveTo>
                    <a:pt x="0" y="0"/>
                  </a:moveTo>
                  <a:lnTo>
                    <a:pt x="0" y="14079"/>
                  </a:lnTo>
                  <a:lnTo>
                    <a:pt x="411894" y="377485"/>
                  </a:lnTo>
                  <a:lnTo>
                    <a:pt x="413633" y="374958"/>
                  </a:lnTo>
                  <a:lnTo>
                    <a:pt x="415615" y="372634"/>
                  </a:lnTo>
                  <a:lnTo>
                    <a:pt x="417837" y="370538"/>
                  </a:lnTo>
                  <a:lnTo>
                    <a:pt x="414484" y="365674"/>
                  </a:lnTo>
                  <a:lnTo>
                    <a:pt x="0" y="0"/>
                  </a:lnTo>
                  <a:close/>
                </a:path>
              </a:pathLst>
            </a:custGeom>
            <a:solidFill>
              <a:srgbClr val="EF3D60">
                <a:alpha val="50999"/>
              </a:srgbClr>
            </a:solidFill>
          </p:spPr>
          <p:txBody>
            <a:bodyPr wrap="square" lIns="0" tIns="0" rIns="0" bIns="0" rtlCol="0"/>
            <a:lstStyle/>
            <a:p>
              <a:endParaRPr sz="2968"/>
            </a:p>
          </p:txBody>
        </p:sp>
        <p:sp>
          <p:nvSpPr>
            <p:cNvPr id="10" name="object 9">
              <a:extLst>
                <a:ext uri="{FF2B5EF4-FFF2-40B4-BE49-F238E27FC236}">
                  <a16:creationId xmlns:a16="http://schemas.microsoft.com/office/drawing/2014/main" id="{983AE195-938F-2846-A5CA-80C9622E0996}"/>
                </a:ext>
              </a:extLst>
            </p:cNvPr>
            <p:cNvSpPr/>
            <p:nvPr/>
          </p:nvSpPr>
          <p:spPr>
            <a:xfrm>
              <a:off x="0" y="5175830"/>
              <a:ext cx="410209" cy="158115"/>
            </a:xfrm>
            <a:custGeom>
              <a:avLst/>
              <a:gdLst/>
              <a:ahLst/>
              <a:cxnLst/>
              <a:rect l="l" t="t" r="r" b="b"/>
              <a:pathLst>
                <a:path w="410209" h="158114">
                  <a:moveTo>
                    <a:pt x="0" y="0"/>
                  </a:moveTo>
                  <a:lnTo>
                    <a:pt x="0" y="15808"/>
                  </a:lnTo>
                  <a:lnTo>
                    <a:pt x="404836" y="157517"/>
                  </a:lnTo>
                  <a:lnTo>
                    <a:pt x="405662" y="152475"/>
                  </a:lnTo>
                  <a:lnTo>
                    <a:pt x="407376" y="147725"/>
                  </a:lnTo>
                  <a:lnTo>
                    <a:pt x="409776" y="143433"/>
                  </a:lnTo>
                  <a:lnTo>
                    <a:pt x="0" y="0"/>
                  </a:lnTo>
                  <a:close/>
                </a:path>
              </a:pathLst>
            </a:custGeom>
            <a:solidFill>
              <a:srgbClr val="EF3D60">
                <a:alpha val="50999"/>
              </a:srgbClr>
            </a:solidFill>
          </p:spPr>
          <p:txBody>
            <a:bodyPr wrap="square" lIns="0" tIns="0" rIns="0" bIns="0" rtlCol="0"/>
            <a:lstStyle/>
            <a:p>
              <a:endParaRPr sz="2968"/>
            </a:p>
          </p:txBody>
        </p:sp>
        <p:sp>
          <p:nvSpPr>
            <p:cNvPr id="12" name="object 10">
              <a:extLst>
                <a:ext uri="{FF2B5EF4-FFF2-40B4-BE49-F238E27FC236}">
                  <a16:creationId xmlns:a16="http://schemas.microsoft.com/office/drawing/2014/main" id="{BCC55A90-BED9-4149-865E-B6A416CA572A}"/>
                </a:ext>
              </a:extLst>
            </p:cNvPr>
            <p:cNvSpPr/>
            <p:nvPr/>
          </p:nvSpPr>
          <p:spPr>
            <a:xfrm>
              <a:off x="0" y="4679487"/>
              <a:ext cx="429259" cy="629920"/>
            </a:xfrm>
            <a:custGeom>
              <a:avLst/>
              <a:gdLst/>
              <a:ahLst/>
              <a:cxnLst/>
              <a:rect l="l" t="t" r="r" b="b"/>
              <a:pathLst>
                <a:path w="429259" h="629920">
                  <a:moveTo>
                    <a:pt x="82475" y="143126"/>
                  </a:moveTo>
                  <a:lnTo>
                    <a:pt x="417843" y="629435"/>
                  </a:lnTo>
                  <a:lnTo>
                    <a:pt x="421069" y="626374"/>
                  </a:lnTo>
                  <a:lnTo>
                    <a:pt x="424778" y="623809"/>
                  </a:lnTo>
                  <a:lnTo>
                    <a:pt x="428829" y="621853"/>
                  </a:lnTo>
                  <a:lnTo>
                    <a:pt x="104611" y="151712"/>
                  </a:lnTo>
                  <a:lnTo>
                    <a:pt x="82475" y="143126"/>
                  </a:lnTo>
                  <a:close/>
                </a:path>
                <a:path w="429259" h="629920">
                  <a:moveTo>
                    <a:pt x="0" y="0"/>
                  </a:moveTo>
                  <a:lnTo>
                    <a:pt x="0" y="23533"/>
                  </a:lnTo>
                  <a:lnTo>
                    <a:pt x="65152" y="118006"/>
                  </a:lnTo>
                  <a:lnTo>
                    <a:pt x="87301" y="126591"/>
                  </a:lnTo>
                  <a:lnTo>
                    <a:pt x="0" y="0"/>
                  </a:lnTo>
                  <a:close/>
                </a:path>
              </a:pathLst>
            </a:custGeom>
            <a:solidFill>
              <a:srgbClr val="EF3D60">
                <a:alpha val="50999"/>
              </a:srgbClr>
            </a:solidFill>
          </p:spPr>
          <p:txBody>
            <a:bodyPr wrap="square" lIns="0" tIns="0" rIns="0" bIns="0" rtlCol="0"/>
            <a:lstStyle/>
            <a:p>
              <a:endParaRPr sz="2968"/>
            </a:p>
          </p:txBody>
        </p:sp>
        <p:sp>
          <p:nvSpPr>
            <p:cNvPr id="13" name="object 11">
              <a:extLst>
                <a:ext uri="{FF2B5EF4-FFF2-40B4-BE49-F238E27FC236}">
                  <a16:creationId xmlns:a16="http://schemas.microsoft.com/office/drawing/2014/main" id="{16600449-6259-D84C-A2DE-8D11C0896EFF}"/>
                </a:ext>
              </a:extLst>
            </p:cNvPr>
            <p:cNvSpPr/>
            <p:nvPr/>
          </p:nvSpPr>
          <p:spPr>
            <a:xfrm>
              <a:off x="489545" y="5339463"/>
              <a:ext cx="1382395" cy="185420"/>
            </a:xfrm>
            <a:custGeom>
              <a:avLst/>
              <a:gdLst/>
              <a:ahLst/>
              <a:cxnLst/>
              <a:rect l="l" t="t" r="r" b="b"/>
              <a:pathLst>
                <a:path w="1382395" h="185420">
                  <a:moveTo>
                    <a:pt x="1562" y="0"/>
                  </a:moveTo>
                  <a:lnTo>
                    <a:pt x="1574" y="5016"/>
                  </a:lnTo>
                  <a:lnTo>
                    <a:pt x="1016" y="8915"/>
                  </a:lnTo>
                  <a:lnTo>
                    <a:pt x="0" y="12611"/>
                  </a:lnTo>
                  <a:lnTo>
                    <a:pt x="1381683" y="185369"/>
                  </a:lnTo>
                  <a:lnTo>
                    <a:pt x="1381658" y="181864"/>
                  </a:lnTo>
                  <a:lnTo>
                    <a:pt x="1381887" y="179400"/>
                  </a:lnTo>
                  <a:lnTo>
                    <a:pt x="1382293" y="176999"/>
                  </a:lnTo>
                  <a:lnTo>
                    <a:pt x="1365618" y="170535"/>
                  </a:lnTo>
                  <a:lnTo>
                    <a:pt x="1562" y="0"/>
                  </a:lnTo>
                  <a:close/>
                </a:path>
              </a:pathLst>
            </a:custGeom>
            <a:solidFill>
              <a:srgbClr val="EF3D60">
                <a:alpha val="50999"/>
              </a:srgbClr>
            </a:solidFill>
          </p:spPr>
          <p:txBody>
            <a:bodyPr wrap="square" lIns="0" tIns="0" rIns="0" bIns="0" rtlCol="0"/>
            <a:lstStyle/>
            <a:p>
              <a:endParaRPr sz="2968"/>
            </a:p>
          </p:txBody>
        </p:sp>
        <p:sp>
          <p:nvSpPr>
            <p:cNvPr id="14" name="object 12">
              <a:extLst>
                <a:ext uri="{FF2B5EF4-FFF2-40B4-BE49-F238E27FC236}">
                  <a16:creationId xmlns:a16="http://schemas.microsoft.com/office/drawing/2014/main" id="{8B2A0FA8-6B7A-FB4F-9B00-46D4358A8C2A}"/>
                </a:ext>
              </a:extLst>
            </p:cNvPr>
            <p:cNvSpPr/>
            <p:nvPr/>
          </p:nvSpPr>
          <p:spPr>
            <a:xfrm>
              <a:off x="1945593" y="4488069"/>
              <a:ext cx="1450975" cy="1017269"/>
            </a:xfrm>
            <a:custGeom>
              <a:avLst/>
              <a:gdLst/>
              <a:ahLst/>
              <a:cxnLst/>
              <a:rect l="l" t="t" r="r" b="b"/>
              <a:pathLst>
                <a:path w="1450975" h="1017270">
                  <a:moveTo>
                    <a:pt x="386422" y="736003"/>
                  </a:moveTo>
                  <a:lnTo>
                    <a:pt x="0" y="1005332"/>
                  </a:lnTo>
                  <a:lnTo>
                    <a:pt x="3378" y="1008773"/>
                  </a:lnTo>
                  <a:lnTo>
                    <a:pt x="6197" y="1012774"/>
                  </a:lnTo>
                  <a:lnTo>
                    <a:pt x="8280" y="1017181"/>
                  </a:lnTo>
                  <a:lnTo>
                    <a:pt x="402488" y="742429"/>
                  </a:lnTo>
                  <a:lnTo>
                    <a:pt x="386422" y="736003"/>
                  </a:lnTo>
                  <a:close/>
                </a:path>
                <a:path w="1450975" h="1017270">
                  <a:moveTo>
                    <a:pt x="757097" y="477647"/>
                  </a:moveTo>
                  <a:lnTo>
                    <a:pt x="404685" y="723277"/>
                  </a:lnTo>
                  <a:lnTo>
                    <a:pt x="420750" y="729703"/>
                  </a:lnTo>
                  <a:lnTo>
                    <a:pt x="767245" y="488213"/>
                  </a:lnTo>
                  <a:lnTo>
                    <a:pt x="757097" y="477647"/>
                  </a:lnTo>
                  <a:close/>
                </a:path>
                <a:path w="1450975" h="1017270">
                  <a:moveTo>
                    <a:pt x="984389" y="319239"/>
                  </a:moveTo>
                  <a:lnTo>
                    <a:pt x="768083" y="470001"/>
                  </a:lnTo>
                  <a:lnTo>
                    <a:pt x="778217" y="480555"/>
                  </a:lnTo>
                  <a:lnTo>
                    <a:pt x="999464" y="326351"/>
                  </a:lnTo>
                  <a:lnTo>
                    <a:pt x="984389" y="319239"/>
                  </a:lnTo>
                  <a:close/>
                </a:path>
                <a:path w="1450975" h="1017270">
                  <a:moveTo>
                    <a:pt x="1442440" y="0"/>
                  </a:moveTo>
                  <a:lnTo>
                    <a:pt x="1001864" y="307060"/>
                  </a:lnTo>
                  <a:lnTo>
                    <a:pt x="1016952" y="314172"/>
                  </a:lnTo>
                  <a:lnTo>
                    <a:pt x="1450708" y="11861"/>
                  </a:lnTo>
                  <a:lnTo>
                    <a:pt x="1447330" y="8420"/>
                  </a:lnTo>
                  <a:lnTo>
                    <a:pt x="1444523" y="4419"/>
                  </a:lnTo>
                  <a:lnTo>
                    <a:pt x="1442440" y="0"/>
                  </a:lnTo>
                  <a:close/>
                </a:path>
              </a:pathLst>
            </a:custGeom>
            <a:solidFill>
              <a:srgbClr val="EF3D60">
                <a:alpha val="50999"/>
              </a:srgbClr>
            </a:solidFill>
          </p:spPr>
          <p:txBody>
            <a:bodyPr wrap="square" lIns="0" tIns="0" rIns="0" bIns="0" rtlCol="0"/>
            <a:lstStyle/>
            <a:p>
              <a:endParaRPr sz="2968"/>
            </a:p>
          </p:txBody>
        </p:sp>
        <p:sp>
          <p:nvSpPr>
            <p:cNvPr id="15" name="object 13">
              <a:extLst>
                <a:ext uri="{FF2B5EF4-FFF2-40B4-BE49-F238E27FC236}">
                  <a16:creationId xmlns:a16="http://schemas.microsoft.com/office/drawing/2014/main" id="{4E8E8B57-F9BB-E346-BC49-49DF70415DF6}"/>
                </a:ext>
              </a:extLst>
            </p:cNvPr>
            <p:cNvSpPr/>
            <p:nvPr/>
          </p:nvSpPr>
          <p:spPr>
            <a:xfrm>
              <a:off x="1921968" y="4509129"/>
              <a:ext cx="306705" cy="975360"/>
            </a:xfrm>
            <a:custGeom>
              <a:avLst/>
              <a:gdLst/>
              <a:ahLst/>
              <a:cxnLst/>
              <a:rect l="l" t="t" r="r" b="b"/>
              <a:pathLst>
                <a:path w="306705" h="975360">
                  <a:moveTo>
                    <a:pt x="114211" y="596607"/>
                  </a:moveTo>
                  <a:lnTo>
                    <a:pt x="0" y="971918"/>
                  </a:lnTo>
                  <a:lnTo>
                    <a:pt x="3644" y="972527"/>
                  </a:lnTo>
                  <a:lnTo>
                    <a:pt x="7150" y="973607"/>
                  </a:lnTo>
                  <a:lnTo>
                    <a:pt x="10426" y="975080"/>
                  </a:lnTo>
                  <a:lnTo>
                    <a:pt x="124371" y="600671"/>
                  </a:lnTo>
                  <a:lnTo>
                    <a:pt x="114211" y="596607"/>
                  </a:lnTo>
                  <a:close/>
                </a:path>
                <a:path w="306705" h="975360">
                  <a:moveTo>
                    <a:pt x="295770" y="0"/>
                  </a:moveTo>
                  <a:lnTo>
                    <a:pt x="119646" y="578751"/>
                  </a:lnTo>
                  <a:lnTo>
                    <a:pt x="129806" y="582803"/>
                  </a:lnTo>
                  <a:lnTo>
                    <a:pt x="306196" y="3175"/>
                  </a:lnTo>
                  <a:lnTo>
                    <a:pt x="302552" y="2552"/>
                  </a:lnTo>
                  <a:lnTo>
                    <a:pt x="299046" y="1473"/>
                  </a:lnTo>
                  <a:lnTo>
                    <a:pt x="295770" y="0"/>
                  </a:lnTo>
                  <a:close/>
                </a:path>
              </a:pathLst>
            </a:custGeom>
            <a:solidFill>
              <a:srgbClr val="EF3D60">
                <a:alpha val="50999"/>
              </a:srgbClr>
            </a:solidFill>
          </p:spPr>
          <p:txBody>
            <a:bodyPr wrap="square" lIns="0" tIns="0" rIns="0" bIns="0" rtlCol="0"/>
            <a:lstStyle/>
            <a:p>
              <a:endParaRPr sz="2968"/>
            </a:p>
          </p:txBody>
        </p:sp>
        <p:sp>
          <p:nvSpPr>
            <p:cNvPr id="16" name="object 14">
              <a:extLst>
                <a:ext uri="{FF2B5EF4-FFF2-40B4-BE49-F238E27FC236}">
                  <a16:creationId xmlns:a16="http://schemas.microsoft.com/office/drawing/2014/main" id="{3FFA5BAA-E692-8141-98AB-AFA98F584F1F}"/>
                </a:ext>
              </a:extLst>
            </p:cNvPr>
            <p:cNvSpPr/>
            <p:nvPr/>
          </p:nvSpPr>
          <p:spPr>
            <a:xfrm>
              <a:off x="843466" y="4631415"/>
              <a:ext cx="1042669" cy="869315"/>
            </a:xfrm>
            <a:custGeom>
              <a:avLst/>
              <a:gdLst/>
              <a:ahLst/>
              <a:cxnLst/>
              <a:rect l="l" t="t" r="r" b="b"/>
              <a:pathLst>
                <a:path w="1042669" h="869314">
                  <a:moveTo>
                    <a:pt x="6934" y="0"/>
                  </a:moveTo>
                  <a:lnTo>
                    <a:pt x="4953" y="2921"/>
                  </a:lnTo>
                  <a:lnTo>
                    <a:pt x="2628" y="5588"/>
                  </a:lnTo>
                  <a:lnTo>
                    <a:pt x="0" y="7937"/>
                  </a:lnTo>
                  <a:lnTo>
                    <a:pt x="1032306" y="868172"/>
                  </a:lnTo>
                  <a:lnTo>
                    <a:pt x="1034580" y="869048"/>
                  </a:lnTo>
                  <a:lnTo>
                    <a:pt x="1036688" y="865746"/>
                  </a:lnTo>
                  <a:lnTo>
                    <a:pt x="1039241" y="862749"/>
                  </a:lnTo>
                  <a:lnTo>
                    <a:pt x="1042149" y="860132"/>
                  </a:lnTo>
                  <a:lnTo>
                    <a:pt x="12750" y="2324"/>
                  </a:lnTo>
                  <a:lnTo>
                    <a:pt x="6934" y="0"/>
                  </a:lnTo>
                  <a:close/>
                </a:path>
              </a:pathLst>
            </a:custGeom>
            <a:solidFill>
              <a:srgbClr val="EF3D60">
                <a:alpha val="50999"/>
              </a:srgbClr>
            </a:solidFill>
          </p:spPr>
          <p:txBody>
            <a:bodyPr wrap="square" lIns="0" tIns="0" rIns="0" bIns="0" rtlCol="0"/>
            <a:lstStyle/>
            <a:p>
              <a:endParaRPr sz="2968"/>
            </a:p>
          </p:txBody>
        </p:sp>
        <p:sp>
          <p:nvSpPr>
            <p:cNvPr id="17" name="object 15">
              <a:extLst>
                <a:ext uri="{FF2B5EF4-FFF2-40B4-BE49-F238E27FC236}">
                  <a16:creationId xmlns:a16="http://schemas.microsoft.com/office/drawing/2014/main" id="{14A38A62-9B93-DD46-9A9E-1FD70BB1CE6C}"/>
                </a:ext>
              </a:extLst>
            </p:cNvPr>
            <p:cNvSpPr/>
            <p:nvPr/>
          </p:nvSpPr>
          <p:spPr>
            <a:xfrm>
              <a:off x="0" y="4772239"/>
              <a:ext cx="1878330" cy="744220"/>
            </a:xfrm>
            <a:custGeom>
              <a:avLst/>
              <a:gdLst/>
              <a:ahLst/>
              <a:cxnLst/>
              <a:rect l="l" t="t" r="r" b="b"/>
              <a:pathLst>
                <a:path w="1878329" h="744220">
                  <a:moveTo>
                    <a:pt x="0" y="0"/>
                  </a:moveTo>
                  <a:lnTo>
                    <a:pt x="0" y="18391"/>
                  </a:lnTo>
                  <a:lnTo>
                    <a:pt x="1871842" y="744225"/>
                  </a:lnTo>
                  <a:lnTo>
                    <a:pt x="1872833" y="738421"/>
                  </a:lnTo>
                  <a:lnTo>
                    <a:pt x="1874979" y="732998"/>
                  </a:lnTo>
                  <a:lnTo>
                    <a:pt x="1878040" y="728223"/>
                  </a:lnTo>
                  <a:lnTo>
                    <a:pt x="0" y="0"/>
                  </a:lnTo>
                  <a:close/>
                </a:path>
              </a:pathLst>
            </a:custGeom>
            <a:solidFill>
              <a:srgbClr val="EF3D60">
                <a:alpha val="50999"/>
              </a:srgbClr>
            </a:solidFill>
          </p:spPr>
          <p:txBody>
            <a:bodyPr wrap="square" lIns="0" tIns="0" rIns="0" bIns="0" rtlCol="0"/>
            <a:lstStyle/>
            <a:p>
              <a:endParaRPr sz="2968"/>
            </a:p>
          </p:txBody>
        </p:sp>
        <p:sp>
          <p:nvSpPr>
            <p:cNvPr id="18" name="object 16">
              <a:extLst>
                <a:ext uri="{FF2B5EF4-FFF2-40B4-BE49-F238E27FC236}">
                  <a16:creationId xmlns:a16="http://schemas.microsoft.com/office/drawing/2014/main" id="{0B16AAFC-0975-0147-8735-E649C574FBC2}"/>
                </a:ext>
              </a:extLst>
            </p:cNvPr>
            <p:cNvSpPr/>
            <p:nvPr/>
          </p:nvSpPr>
          <p:spPr>
            <a:xfrm>
              <a:off x="1957116" y="5520410"/>
              <a:ext cx="1336040" cy="99060"/>
            </a:xfrm>
            <a:custGeom>
              <a:avLst/>
              <a:gdLst/>
              <a:ahLst/>
              <a:cxnLst/>
              <a:rect l="l" t="t" r="r" b="b"/>
              <a:pathLst>
                <a:path w="1336039" h="99060">
                  <a:moveTo>
                    <a:pt x="800" y="0"/>
                  </a:moveTo>
                  <a:lnTo>
                    <a:pt x="876" y="1130"/>
                  </a:lnTo>
                  <a:lnTo>
                    <a:pt x="927" y="6502"/>
                  </a:lnTo>
                  <a:lnTo>
                    <a:pt x="609" y="9499"/>
                  </a:lnTo>
                  <a:lnTo>
                    <a:pt x="0" y="12395"/>
                  </a:lnTo>
                  <a:lnTo>
                    <a:pt x="1335189" y="98501"/>
                  </a:lnTo>
                  <a:lnTo>
                    <a:pt x="1335062" y="92646"/>
                  </a:lnTo>
                  <a:lnTo>
                    <a:pt x="1335252" y="90284"/>
                  </a:lnTo>
                  <a:lnTo>
                    <a:pt x="1335633" y="87960"/>
                  </a:lnTo>
                  <a:lnTo>
                    <a:pt x="1330032" y="85725"/>
                  </a:lnTo>
                  <a:lnTo>
                    <a:pt x="800" y="0"/>
                  </a:lnTo>
                  <a:close/>
                </a:path>
              </a:pathLst>
            </a:custGeom>
            <a:solidFill>
              <a:srgbClr val="EF3D60">
                <a:alpha val="50999"/>
              </a:srgbClr>
            </a:solidFill>
          </p:spPr>
          <p:txBody>
            <a:bodyPr wrap="square" lIns="0" tIns="0" rIns="0" bIns="0" rtlCol="0"/>
            <a:lstStyle/>
            <a:p>
              <a:endParaRPr sz="2968"/>
            </a:p>
          </p:txBody>
        </p:sp>
        <p:sp>
          <p:nvSpPr>
            <p:cNvPr id="19" name="object 17">
              <a:extLst>
                <a:ext uri="{FF2B5EF4-FFF2-40B4-BE49-F238E27FC236}">
                  <a16:creationId xmlns:a16="http://schemas.microsoft.com/office/drawing/2014/main" id="{48E35781-6FEA-9B4F-90B4-97B572D54FF5}"/>
                </a:ext>
              </a:extLst>
            </p:cNvPr>
            <p:cNvSpPr/>
            <p:nvPr/>
          </p:nvSpPr>
          <p:spPr>
            <a:xfrm>
              <a:off x="3369335" y="4210323"/>
              <a:ext cx="2090420" cy="1389380"/>
            </a:xfrm>
            <a:custGeom>
              <a:avLst/>
              <a:gdLst/>
              <a:ahLst/>
              <a:cxnLst/>
              <a:rect l="l" t="t" r="r" b="b"/>
              <a:pathLst>
                <a:path w="2090420" h="1389379">
                  <a:moveTo>
                    <a:pt x="502030" y="1041044"/>
                  </a:moveTo>
                  <a:lnTo>
                    <a:pt x="12268" y="1364081"/>
                  </a:lnTo>
                  <a:lnTo>
                    <a:pt x="0" y="1377835"/>
                  </a:lnTo>
                  <a:lnTo>
                    <a:pt x="2781" y="1381264"/>
                  </a:lnTo>
                  <a:lnTo>
                    <a:pt x="5041" y="1385125"/>
                  </a:lnTo>
                  <a:lnTo>
                    <a:pt x="6680" y="1389303"/>
                  </a:lnTo>
                  <a:lnTo>
                    <a:pt x="521068" y="1050023"/>
                  </a:lnTo>
                  <a:lnTo>
                    <a:pt x="502030" y="1041044"/>
                  </a:lnTo>
                  <a:close/>
                </a:path>
                <a:path w="2090420" h="1389379">
                  <a:moveTo>
                    <a:pt x="729957" y="890714"/>
                  </a:moveTo>
                  <a:lnTo>
                    <a:pt x="520103" y="1029131"/>
                  </a:lnTo>
                  <a:lnTo>
                    <a:pt x="539127" y="1038110"/>
                  </a:lnTo>
                  <a:lnTo>
                    <a:pt x="743534" y="903287"/>
                  </a:lnTo>
                  <a:lnTo>
                    <a:pt x="729957" y="890714"/>
                  </a:lnTo>
                  <a:close/>
                </a:path>
                <a:path w="2090420" h="1389379">
                  <a:moveTo>
                    <a:pt x="1132751" y="625043"/>
                  </a:moveTo>
                  <a:lnTo>
                    <a:pt x="741730" y="882942"/>
                  </a:lnTo>
                  <a:lnTo>
                    <a:pt x="755307" y="895515"/>
                  </a:lnTo>
                  <a:lnTo>
                    <a:pt x="1136548" y="644055"/>
                  </a:lnTo>
                  <a:lnTo>
                    <a:pt x="1132751" y="625043"/>
                  </a:lnTo>
                  <a:close/>
                </a:path>
                <a:path w="2090420" h="1389379">
                  <a:moveTo>
                    <a:pt x="1174280" y="597636"/>
                  </a:moveTo>
                  <a:lnTo>
                    <a:pt x="1144879" y="617029"/>
                  </a:lnTo>
                  <a:lnTo>
                    <a:pt x="1148676" y="636054"/>
                  </a:lnTo>
                  <a:lnTo>
                    <a:pt x="1177099" y="617308"/>
                  </a:lnTo>
                  <a:lnTo>
                    <a:pt x="1174280" y="597636"/>
                  </a:lnTo>
                  <a:close/>
                </a:path>
                <a:path w="2090420" h="1389379">
                  <a:moveTo>
                    <a:pt x="1287564" y="522922"/>
                  </a:moveTo>
                  <a:lnTo>
                    <a:pt x="1185189" y="590448"/>
                  </a:lnTo>
                  <a:lnTo>
                    <a:pt x="1187996" y="610120"/>
                  </a:lnTo>
                  <a:lnTo>
                    <a:pt x="1287564" y="544449"/>
                  </a:lnTo>
                  <a:lnTo>
                    <a:pt x="1287564" y="522922"/>
                  </a:lnTo>
                  <a:close/>
                </a:path>
                <a:path w="2090420" h="1389379">
                  <a:moveTo>
                    <a:pt x="1503298" y="380619"/>
                  </a:moveTo>
                  <a:lnTo>
                    <a:pt x="1303693" y="512279"/>
                  </a:lnTo>
                  <a:lnTo>
                    <a:pt x="1303693" y="533806"/>
                  </a:lnTo>
                  <a:lnTo>
                    <a:pt x="1519910" y="391198"/>
                  </a:lnTo>
                  <a:lnTo>
                    <a:pt x="1503298" y="380619"/>
                  </a:lnTo>
                  <a:close/>
                </a:path>
                <a:path w="2090420" h="1389379">
                  <a:moveTo>
                    <a:pt x="1627720" y="298564"/>
                  </a:moveTo>
                  <a:lnTo>
                    <a:pt x="1518907" y="370332"/>
                  </a:lnTo>
                  <a:lnTo>
                    <a:pt x="1535518" y="380898"/>
                  </a:lnTo>
                  <a:lnTo>
                    <a:pt x="1643049" y="309968"/>
                  </a:lnTo>
                  <a:lnTo>
                    <a:pt x="1627720" y="298564"/>
                  </a:lnTo>
                  <a:close/>
                </a:path>
                <a:path w="2090420" h="1389379">
                  <a:moveTo>
                    <a:pt x="2080361" y="0"/>
                  </a:moveTo>
                  <a:lnTo>
                    <a:pt x="1644129" y="287731"/>
                  </a:lnTo>
                  <a:lnTo>
                    <a:pt x="1659470" y="299148"/>
                  </a:lnTo>
                  <a:lnTo>
                    <a:pt x="2090254" y="14998"/>
                  </a:lnTo>
                  <a:lnTo>
                    <a:pt x="2085987" y="10782"/>
                  </a:lnTo>
                  <a:lnTo>
                    <a:pt x="2082596" y="5689"/>
                  </a:lnTo>
                  <a:lnTo>
                    <a:pt x="2080361" y="0"/>
                  </a:lnTo>
                  <a:close/>
                </a:path>
              </a:pathLst>
            </a:custGeom>
            <a:solidFill>
              <a:srgbClr val="EF3D60">
                <a:alpha val="50999"/>
              </a:srgbClr>
            </a:solidFill>
          </p:spPr>
          <p:txBody>
            <a:bodyPr wrap="square" lIns="0" tIns="0" rIns="0" bIns="0" rtlCol="0"/>
            <a:lstStyle/>
            <a:p>
              <a:endParaRPr sz="2968"/>
            </a:p>
          </p:txBody>
        </p:sp>
        <p:sp>
          <p:nvSpPr>
            <p:cNvPr id="20" name="object 18">
              <a:extLst>
                <a:ext uri="{FF2B5EF4-FFF2-40B4-BE49-F238E27FC236}">
                  <a16:creationId xmlns:a16="http://schemas.microsoft.com/office/drawing/2014/main" id="{598D2049-8EE0-C54E-AFD8-AFFD9F910255}"/>
                </a:ext>
              </a:extLst>
            </p:cNvPr>
            <p:cNvSpPr/>
            <p:nvPr/>
          </p:nvSpPr>
          <p:spPr>
            <a:xfrm>
              <a:off x="3349943" y="3446970"/>
              <a:ext cx="1301115" cy="2128520"/>
            </a:xfrm>
            <a:custGeom>
              <a:avLst/>
              <a:gdLst/>
              <a:ahLst/>
              <a:cxnLst/>
              <a:rect l="l" t="t" r="r" b="b"/>
              <a:pathLst>
                <a:path w="1301114" h="2128520">
                  <a:moveTo>
                    <a:pt x="267563" y="1684654"/>
                  </a:moveTo>
                  <a:lnTo>
                    <a:pt x="0" y="2127529"/>
                  </a:lnTo>
                  <a:lnTo>
                    <a:pt x="749" y="2127783"/>
                  </a:lnTo>
                  <a:lnTo>
                    <a:pt x="2222" y="2128367"/>
                  </a:lnTo>
                  <a:lnTo>
                    <a:pt x="278028" y="1689582"/>
                  </a:lnTo>
                  <a:lnTo>
                    <a:pt x="267563" y="1684654"/>
                  </a:lnTo>
                  <a:close/>
                </a:path>
                <a:path w="1301114" h="2128520">
                  <a:moveTo>
                    <a:pt x="40881" y="2094483"/>
                  </a:moveTo>
                  <a:lnTo>
                    <a:pt x="37045" y="2100592"/>
                  </a:lnTo>
                  <a:lnTo>
                    <a:pt x="37503" y="2100072"/>
                  </a:lnTo>
                  <a:lnTo>
                    <a:pt x="40881" y="2094483"/>
                  </a:lnTo>
                  <a:close/>
                </a:path>
                <a:path w="1301114" h="2128520">
                  <a:moveTo>
                    <a:pt x="452259" y="1378978"/>
                  </a:moveTo>
                  <a:lnTo>
                    <a:pt x="277177" y="1668754"/>
                  </a:lnTo>
                  <a:lnTo>
                    <a:pt x="287934" y="1673821"/>
                  </a:lnTo>
                  <a:lnTo>
                    <a:pt x="465531" y="1391284"/>
                  </a:lnTo>
                  <a:lnTo>
                    <a:pt x="452259" y="1378978"/>
                  </a:lnTo>
                  <a:close/>
                </a:path>
                <a:path w="1301114" h="2128520">
                  <a:moveTo>
                    <a:pt x="953071" y="550049"/>
                  </a:moveTo>
                  <a:lnTo>
                    <a:pt x="459485" y="1367002"/>
                  </a:lnTo>
                  <a:lnTo>
                    <a:pt x="472909" y="1379423"/>
                  </a:lnTo>
                  <a:lnTo>
                    <a:pt x="954633" y="582104"/>
                  </a:lnTo>
                  <a:lnTo>
                    <a:pt x="952144" y="576618"/>
                  </a:lnTo>
                  <a:lnTo>
                    <a:pt x="950747" y="570534"/>
                  </a:lnTo>
                  <a:lnTo>
                    <a:pt x="950747" y="559193"/>
                  </a:lnTo>
                  <a:lnTo>
                    <a:pt x="951572" y="554469"/>
                  </a:lnTo>
                  <a:lnTo>
                    <a:pt x="953071" y="550049"/>
                  </a:lnTo>
                  <a:close/>
                </a:path>
                <a:path w="1301114" h="2128520">
                  <a:moveTo>
                    <a:pt x="1285405" y="0"/>
                  </a:moveTo>
                  <a:lnTo>
                    <a:pt x="962583" y="534314"/>
                  </a:lnTo>
                  <a:lnTo>
                    <a:pt x="968637" y="528987"/>
                  </a:lnTo>
                  <a:lnTo>
                    <a:pt x="975609" y="524849"/>
                  </a:lnTo>
                  <a:lnTo>
                    <a:pt x="983345" y="522059"/>
                  </a:lnTo>
                  <a:lnTo>
                    <a:pt x="991692" y="520776"/>
                  </a:lnTo>
                  <a:lnTo>
                    <a:pt x="1300746" y="9258"/>
                  </a:lnTo>
                  <a:lnTo>
                    <a:pt x="1294980" y="7251"/>
                  </a:lnTo>
                  <a:lnTo>
                    <a:pt x="1289773" y="4076"/>
                  </a:lnTo>
                  <a:lnTo>
                    <a:pt x="1285405" y="0"/>
                  </a:lnTo>
                  <a:close/>
                </a:path>
              </a:pathLst>
            </a:custGeom>
            <a:solidFill>
              <a:srgbClr val="EF3D60">
                <a:alpha val="50999"/>
              </a:srgbClr>
            </a:solidFill>
          </p:spPr>
          <p:txBody>
            <a:bodyPr wrap="square" lIns="0" tIns="0" rIns="0" bIns="0" rtlCol="0"/>
            <a:lstStyle/>
            <a:p>
              <a:endParaRPr sz="2968"/>
            </a:p>
          </p:txBody>
        </p:sp>
        <p:sp>
          <p:nvSpPr>
            <p:cNvPr id="21" name="object 19">
              <a:extLst>
                <a:ext uri="{FF2B5EF4-FFF2-40B4-BE49-F238E27FC236}">
                  <a16:creationId xmlns:a16="http://schemas.microsoft.com/office/drawing/2014/main" id="{9E0E4177-217B-5F4C-BB6A-235CB94506B7}"/>
                </a:ext>
              </a:extLst>
            </p:cNvPr>
            <p:cNvSpPr/>
            <p:nvPr/>
          </p:nvSpPr>
          <p:spPr>
            <a:xfrm>
              <a:off x="3364591" y="4359318"/>
              <a:ext cx="1094105" cy="1229360"/>
            </a:xfrm>
            <a:custGeom>
              <a:avLst/>
              <a:gdLst/>
              <a:ahLst/>
              <a:cxnLst/>
              <a:rect l="l" t="t" r="r" b="b"/>
              <a:pathLst>
                <a:path w="1094104" h="1229360">
                  <a:moveTo>
                    <a:pt x="352018" y="819048"/>
                  </a:moveTo>
                  <a:lnTo>
                    <a:pt x="22390" y="1188250"/>
                  </a:lnTo>
                  <a:lnTo>
                    <a:pt x="0" y="1223860"/>
                  </a:lnTo>
                  <a:lnTo>
                    <a:pt x="1714" y="1225397"/>
                  </a:lnTo>
                  <a:lnTo>
                    <a:pt x="3302" y="1227061"/>
                  </a:lnTo>
                  <a:lnTo>
                    <a:pt x="4749" y="1228839"/>
                  </a:lnTo>
                  <a:lnTo>
                    <a:pt x="365099" y="825220"/>
                  </a:lnTo>
                  <a:lnTo>
                    <a:pt x="352018" y="819048"/>
                  </a:lnTo>
                  <a:close/>
                </a:path>
                <a:path w="1094104" h="1229360">
                  <a:moveTo>
                    <a:pt x="563003" y="582739"/>
                  </a:moveTo>
                  <a:lnTo>
                    <a:pt x="364858" y="804672"/>
                  </a:lnTo>
                  <a:lnTo>
                    <a:pt x="377952" y="810844"/>
                  </a:lnTo>
                  <a:lnTo>
                    <a:pt x="573176" y="592162"/>
                  </a:lnTo>
                  <a:lnTo>
                    <a:pt x="563003" y="582739"/>
                  </a:lnTo>
                  <a:close/>
                </a:path>
                <a:path w="1094104" h="1229360">
                  <a:moveTo>
                    <a:pt x="1049794" y="37515"/>
                  </a:moveTo>
                  <a:lnTo>
                    <a:pt x="572135" y="572516"/>
                  </a:lnTo>
                  <a:lnTo>
                    <a:pt x="582307" y="581939"/>
                  </a:lnTo>
                  <a:lnTo>
                    <a:pt x="1053198" y="54533"/>
                  </a:lnTo>
                  <a:lnTo>
                    <a:pt x="1049794" y="37515"/>
                  </a:lnTo>
                  <a:close/>
                </a:path>
                <a:path w="1094104" h="1229360">
                  <a:moveTo>
                    <a:pt x="1083271" y="0"/>
                  </a:moveTo>
                  <a:lnTo>
                    <a:pt x="1061008" y="24955"/>
                  </a:lnTo>
                  <a:lnTo>
                    <a:pt x="1064412" y="41973"/>
                  </a:lnTo>
                  <a:lnTo>
                    <a:pt x="1093622" y="9245"/>
                  </a:lnTo>
                  <a:lnTo>
                    <a:pt x="1089685" y="6743"/>
                  </a:lnTo>
                  <a:lnTo>
                    <a:pt x="1086205" y="3606"/>
                  </a:lnTo>
                  <a:lnTo>
                    <a:pt x="1083271" y="0"/>
                  </a:lnTo>
                  <a:close/>
                </a:path>
              </a:pathLst>
            </a:custGeom>
            <a:solidFill>
              <a:srgbClr val="EF3D60">
                <a:alpha val="50999"/>
              </a:srgbClr>
            </a:solidFill>
          </p:spPr>
          <p:txBody>
            <a:bodyPr wrap="square" lIns="0" tIns="0" rIns="0" bIns="0" rtlCol="0"/>
            <a:lstStyle/>
            <a:p>
              <a:endParaRPr sz="2968"/>
            </a:p>
          </p:txBody>
        </p:sp>
        <p:sp>
          <p:nvSpPr>
            <p:cNvPr id="22" name="object 20">
              <a:extLst>
                <a:ext uri="{FF2B5EF4-FFF2-40B4-BE49-F238E27FC236}">
                  <a16:creationId xmlns:a16="http://schemas.microsoft.com/office/drawing/2014/main" id="{44DAF7A3-E342-024D-A57E-79885248A44D}"/>
                </a:ext>
              </a:extLst>
            </p:cNvPr>
            <p:cNvSpPr/>
            <p:nvPr/>
          </p:nvSpPr>
          <p:spPr>
            <a:xfrm>
              <a:off x="3333543" y="4511992"/>
              <a:ext cx="95885" cy="1061085"/>
            </a:xfrm>
            <a:custGeom>
              <a:avLst/>
              <a:gdLst/>
              <a:ahLst/>
              <a:cxnLst/>
              <a:rect l="l" t="t" r="r" b="b"/>
              <a:pathLst>
                <a:path w="95885" h="1061085">
                  <a:moveTo>
                    <a:pt x="11136" y="1060068"/>
                  </a:moveTo>
                  <a:lnTo>
                    <a:pt x="5143" y="1060068"/>
                  </a:lnTo>
                  <a:lnTo>
                    <a:pt x="8166" y="1060399"/>
                  </a:lnTo>
                  <a:lnTo>
                    <a:pt x="11061" y="1061008"/>
                  </a:lnTo>
                  <a:lnTo>
                    <a:pt x="11136" y="1060068"/>
                  </a:lnTo>
                  <a:close/>
                </a:path>
                <a:path w="95885" h="1061085">
                  <a:moveTo>
                    <a:pt x="44272" y="506564"/>
                  </a:moveTo>
                  <a:lnTo>
                    <a:pt x="0" y="1060119"/>
                  </a:lnTo>
                  <a:lnTo>
                    <a:pt x="1358" y="1060068"/>
                  </a:lnTo>
                  <a:lnTo>
                    <a:pt x="11136" y="1060068"/>
                  </a:lnTo>
                  <a:lnTo>
                    <a:pt x="55016" y="511632"/>
                  </a:lnTo>
                  <a:lnTo>
                    <a:pt x="44272" y="506564"/>
                  </a:lnTo>
                  <a:close/>
                </a:path>
                <a:path w="95885" h="1061085">
                  <a:moveTo>
                    <a:pt x="84797" y="0"/>
                  </a:moveTo>
                  <a:lnTo>
                    <a:pt x="45846" y="486879"/>
                  </a:lnTo>
                  <a:lnTo>
                    <a:pt x="56591" y="491947"/>
                  </a:lnTo>
                  <a:lnTo>
                    <a:pt x="95868" y="927"/>
                  </a:lnTo>
                  <a:lnTo>
                    <a:pt x="90665" y="927"/>
                  </a:lnTo>
                  <a:lnTo>
                    <a:pt x="87680" y="609"/>
                  </a:lnTo>
                  <a:lnTo>
                    <a:pt x="84797" y="0"/>
                  </a:lnTo>
                  <a:close/>
                </a:path>
                <a:path w="95885" h="1061085">
                  <a:moveTo>
                    <a:pt x="95872" y="876"/>
                  </a:moveTo>
                  <a:lnTo>
                    <a:pt x="94449" y="927"/>
                  </a:lnTo>
                  <a:lnTo>
                    <a:pt x="95868" y="927"/>
                  </a:lnTo>
                  <a:close/>
                </a:path>
              </a:pathLst>
            </a:custGeom>
            <a:solidFill>
              <a:srgbClr val="EF3D60">
                <a:alpha val="50999"/>
              </a:srgbClr>
            </a:solidFill>
          </p:spPr>
          <p:txBody>
            <a:bodyPr wrap="square" lIns="0" tIns="0" rIns="0" bIns="0" rtlCol="0"/>
            <a:lstStyle/>
            <a:p>
              <a:endParaRPr sz="2968"/>
            </a:p>
          </p:txBody>
        </p:sp>
        <p:sp>
          <p:nvSpPr>
            <p:cNvPr id="23" name="object 21">
              <a:extLst>
                <a:ext uri="{FF2B5EF4-FFF2-40B4-BE49-F238E27FC236}">
                  <a16:creationId xmlns:a16="http://schemas.microsoft.com/office/drawing/2014/main" id="{B983349E-928F-0F4F-9343-DF714075B715}"/>
                </a:ext>
              </a:extLst>
            </p:cNvPr>
            <p:cNvSpPr/>
            <p:nvPr/>
          </p:nvSpPr>
          <p:spPr>
            <a:xfrm>
              <a:off x="2260459" y="4495961"/>
              <a:ext cx="1050290" cy="1093470"/>
            </a:xfrm>
            <a:custGeom>
              <a:avLst/>
              <a:gdLst/>
              <a:ahLst/>
              <a:cxnLst/>
              <a:rect l="l" t="t" r="r" b="b"/>
              <a:pathLst>
                <a:path w="1050289" h="1093470">
                  <a:moveTo>
                    <a:pt x="9474" y="0"/>
                  </a:moveTo>
                  <a:lnTo>
                    <a:pt x="6794" y="3479"/>
                  </a:lnTo>
                  <a:lnTo>
                    <a:pt x="3594" y="6540"/>
                  </a:lnTo>
                  <a:lnTo>
                    <a:pt x="0" y="9080"/>
                  </a:lnTo>
                  <a:lnTo>
                    <a:pt x="1040650" y="1093127"/>
                  </a:lnTo>
                  <a:lnTo>
                    <a:pt x="1043343" y="1089621"/>
                  </a:lnTo>
                  <a:lnTo>
                    <a:pt x="1046568" y="1086535"/>
                  </a:lnTo>
                  <a:lnTo>
                    <a:pt x="1050188" y="1083983"/>
                  </a:lnTo>
                  <a:lnTo>
                    <a:pt x="9740" y="126"/>
                  </a:lnTo>
                  <a:lnTo>
                    <a:pt x="9474" y="0"/>
                  </a:lnTo>
                  <a:close/>
                </a:path>
              </a:pathLst>
            </a:custGeom>
            <a:solidFill>
              <a:srgbClr val="EF3D60">
                <a:alpha val="50999"/>
              </a:srgbClr>
            </a:solidFill>
          </p:spPr>
          <p:txBody>
            <a:bodyPr wrap="square" lIns="0" tIns="0" rIns="0" bIns="0" rtlCol="0"/>
            <a:lstStyle/>
            <a:p>
              <a:endParaRPr sz="2968"/>
            </a:p>
          </p:txBody>
        </p:sp>
        <p:sp>
          <p:nvSpPr>
            <p:cNvPr id="24" name="object 22">
              <a:extLst>
                <a:ext uri="{FF2B5EF4-FFF2-40B4-BE49-F238E27FC236}">
                  <a16:creationId xmlns:a16="http://schemas.microsoft.com/office/drawing/2014/main" id="{0CA452B0-255F-C149-99E2-7702590D7910}"/>
                </a:ext>
              </a:extLst>
            </p:cNvPr>
            <p:cNvSpPr/>
            <p:nvPr/>
          </p:nvSpPr>
          <p:spPr>
            <a:xfrm>
              <a:off x="850403" y="4614142"/>
              <a:ext cx="2449830" cy="994410"/>
            </a:xfrm>
            <a:custGeom>
              <a:avLst/>
              <a:gdLst/>
              <a:ahLst/>
              <a:cxnLst/>
              <a:rect l="l" t="t" r="r" b="b"/>
              <a:pathLst>
                <a:path w="2449829" h="994410">
                  <a:moveTo>
                    <a:pt x="6908" y="0"/>
                  </a:moveTo>
                  <a:lnTo>
                    <a:pt x="5867" y="6324"/>
                  </a:lnTo>
                  <a:lnTo>
                    <a:pt x="3467" y="12179"/>
                  </a:lnTo>
                  <a:lnTo>
                    <a:pt x="0" y="17271"/>
                  </a:lnTo>
                  <a:lnTo>
                    <a:pt x="2442349" y="994232"/>
                  </a:lnTo>
                  <a:lnTo>
                    <a:pt x="2443391" y="987907"/>
                  </a:lnTo>
                  <a:lnTo>
                    <a:pt x="2445804" y="982052"/>
                  </a:lnTo>
                  <a:lnTo>
                    <a:pt x="2449258" y="976960"/>
                  </a:lnTo>
                  <a:lnTo>
                    <a:pt x="6908" y="0"/>
                  </a:lnTo>
                  <a:close/>
                </a:path>
              </a:pathLst>
            </a:custGeom>
            <a:solidFill>
              <a:srgbClr val="EF3D60">
                <a:alpha val="50999"/>
              </a:srgbClr>
            </a:solidFill>
          </p:spPr>
          <p:txBody>
            <a:bodyPr wrap="square" lIns="0" tIns="0" rIns="0" bIns="0" rtlCol="0"/>
            <a:lstStyle/>
            <a:p>
              <a:endParaRPr sz="2968"/>
            </a:p>
          </p:txBody>
        </p:sp>
        <p:sp>
          <p:nvSpPr>
            <p:cNvPr id="25" name="object 23">
              <a:extLst>
                <a:ext uri="{FF2B5EF4-FFF2-40B4-BE49-F238E27FC236}">
                  <a16:creationId xmlns:a16="http://schemas.microsoft.com/office/drawing/2014/main" id="{F5603647-A314-E04C-AAB0-ADDF1FA1C2CF}"/>
                </a:ext>
              </a:extLst>
            </p:cNvPr>
            <p:cNvSpPr/>
            <p:nvPr/>
          </p:nvSpPr>
          <p:spPr>
            <a:xfrm>
              <a:off x="3352165" y="4043403"/>
              <a:ext cx="975360" cy="1539875"/>
            </a:xfrm>
            <a:custGeom>
              <a:avLst/>
              <a:gdLst/>
              <a:ahLst/>
              <a:cxnLst/>
              <a:rect l="l" t="t" r="r" b="b"/>
              <a:pathLst>
                <a:path w="975360" h="1539875">
                  <a:moveTo>
                    <a:pt x="275805" y="1093152"/>
                  </a:moveTo>
                  <a:lnTo>
                    <a:pt x="0" y="1531937"/>
                  </a:lnTo>
                  <a:lnTo>
                    <a:pt x="4597" y="1533842"/>
                  </a:lnTo>
                  <a:lnTo>
                    <a:pt x="8788" y="1536496"/>
                  </a:lnTo>
                  <a:lnTo>
                    <a:pt x="12433" y="1539773"/>
                  </a:lnTo>
                  <a:lnTo>
                    <a:pt x="289191" y="1099464"/>
                  </a:lnTo>
                  <a:lnTo>
                    <a:pt x="275805" y="1093152"/>
                  </a:lnTo>
                  <a:close/>
                </a:path>
                <a:path w="975360" h="1539875">
                  <a:moveTo>
                    <a:pt x="463308" y="794842"/>
                  </a:moveTo>
                  <a:lnTo>
                    <a:pt x="285711" y="1077391"/>
                  </a:lnTo>
                  <a:lnTo>
                    <a:pt x="299084" y="1083703"/>
                  </a:lnTo>
                  <a:lnTo>
                    <a:pt x="474268" y="805002"/>
                  </a:lnTo>
                  <a:lnTo>
                    <a:pt x="463308" y="794842"/>
                  </a:lnTo>
                  <a:close/>
                </a:path>
                <a:path w="975360" h="1539875">
                  <a:moveTo>
                    <a:pt x="962939" y="0"/>
                  </a:moveTo>
                  <a:lnTo>
                    <a:pt x="470738" y="783043"/>
                  </a:lnTo>
                  <a:lnTo>
                    <a:pt x="481685" y="793191"/>
                  </a:lnTo>
                  <a:lnTo>
                    <a:pt x="975334" y="7810"/>
                  </a:lnTo>
                  <a:lnTo>
                    <a:pt x="970749" y="5918"/>
                  </a:lnTo>
                  <a:lnTo>
                    <a:pt x="966571" y="3251"/>
                  </a:lnTo>
                  <a:lnTo>
                    <a:pt x="962939" y="0"/>
                  </a:lnTo>
                  <a:close/>
                </a:path>
              </a:pathLst>
            </a:custGeom>
            <a:solidFill>
              <a:srgbClr val="EF3D60">
                <a:alpha val="50999"/>
              </a:srgbClr>
            </a:solidFill>
          </p:spPr>
          <p:txBody>
            <a:bodyPr wrap="square" lIns="0" tIns="0" rIns="0" bIns="0" rtlCol="0"/>
            <a:lstStyle/>
            <a:p>
              <a:endParaRPr sz="2968"/>
            </a:p>
          </p:txBody>
        </p:sp>
        <p:sp>
          <p:nvSpPr>
            <p:cNvPr id="26" name="object 24">
              <a:extLst>
                <a:ext uri="{FF2B5EF4-FFF2-40B4-BE49-F238E27FC236}">
                  <a16:creationId xmlns:a16="http://schemas.microsoft.com/office/drawing/2014/main" id="{787CE57B-0BD3-8547-9A4E-554F9E788CBE}"/>
                </a:ext>
              </a:extLst>
            </p:cNvPr>
            <p:cNvSpPr/>
            <p:nvPr/>
          </p:nvSpPr>
          <p:spPr>
            <a:xfrm>
              <a:off x="3378762" y="5620301"/>
              <a:ext cx="1243330" cy="0"/>
            </a:xfrm>
            <a:custGeom>
              <a:avLst/>
              <a:gdLst/>
              <a:ahLst/>
              <a:cxnLst/>
              <a:rect l="l" t="t" r="r" b="b"/>
              <a:pathLst>
                <a:path w="1243329">
                  <a:moveTo>
                    <a:pt x="0" y="0"/>
                  </a:moveTo>
                  <a:lnTo>
                    <a:pt x="1243030" y="0"/>
                  </a:lnTo>
                </a:path>
              </a:pathLst>
            </a:custGeom>
            <a:ln w="3175">
              <a:solidFill>
                <a:srgbClr val="EF3D60"/>
              </a:solidFill>
            </a:ln>
          </p:spPr>
          <p:txBody>
            <a:bodyPr wrap="square" lIns="0" tIns="0" rIns="0" bIns="0" rtlCol="0"/>
            <a:lstStyle/>
            <a:p>
              <a:endParaRPr sz="2968"/>
            </a:p>
          </p:txBody>
        </p:sp>
        <p:sp>
          <p:nvSpPr>
            <p:cNvPr id="27" name="object 25">
              <a:extLst>
                <a:ext uri="{FF2B5EF4-FFF2-40B4-BE49-F238E27FC236}">
                  <a16:creationId xmlns:a16="http://schemas.microsoft.com/office/drawing/2014/main" id="{3A442346-9B87-584F-A3BE-45057A453C00}"/>
                </a:ext>
              </a:extLst>
            </p:cNvPr>
            <p:cNvSpPr/>
            <p:nvPr/>
          </p:nvSpPr>
          <p:spPr>
            <a:xfrm>
              <a:off x="3378951" y="5618396"/>
              <a:ext cx="1242695" cy="0"/>
            </a:xfrm>
            <a:custGeom>
              <a:avLst/>
              <a:gdLst/>
              <a:ahLst/>
              <a:cxnLst/>
              <a:rect l="l" t="t" r="r" b="b"/>
              <a:pathLst>
                <a:path w="1242695">
                  <a:moveTo>
                    <a:pt x="0" y="0"/>
                  </a:moveTo>
                  <a:lnTo>
                    <a:pt x="1242651" y="0"/>
                  </a:lnTo>
                </a:path>
              </a:pathLst>
            </a:custGeom>
            <a:ln w="3175">
              <a:solidFill>
                <a:srgbClr val="EF3D60"/>
              </a:solidFill>
            </a:ln>
          </p:spPr>
          <p:txBody>
            <a:bodyPr wrap="square" lIns="0" tIns="0" rIns="0" bIns="0" rtlCol="0"/>
            <a:lstStyle/>
            <a:p>
              <a:endParaRPr sz="2968"/>
            </a:p>
          </p:txBody>
        </p:sp>
        <p:sp>
          <p:nvSpPr>
            <p:cNvPr id="28" name="object 26">
              <a:extLst>
                <a:ext uri="{FF2B5EF4-FFF2-40B4-BE49-F238E27FC236}">
                  <a16:creationId xmlns:a16="http://schemas.microsoft.com/office/drawing/2014/main" id="{E1FD870E-2F9D-9F4A-9764-EB89EA587018}"/>
                </a:ext>
              </a:extLst>
            </p:cNvPr>
            <p:cNvSpPr/>
            <p:nvPr/>
          </p:nvSpPr>
          <p:spPr>
            <a:xfrm>
              <a:off x="3379012" y="5615221"/>
              <a:ext cx="1242695" cy="0"/>
            </a:xfrm>
            <a:custGeom>
              <a:avLst/>
              <a:gdLst/>
              <a:ahLst/>
              <a:cxnLst/>
              <a:rect l="l" t="t" r="r" b="b"/>
              <a:pathLst>
                <a:path w="1242695">
                  <a:moveTo>
                    <a:pt x="0" y="0"/>
                  </a:moveTo>
                  <a:lnTo>
                    <a:pt x="1242529" y="0"/>
                  </a:lnTo>
                </a:path>
              </a:pathLst>
            </a:custGeom>
            <a:ln w="3809">
              <a:solidFill>
                <a:srgbClr val="EF3D60"/>
              </a:solidFill>
            </a:ln>
          </p:spPr>
          <p:txBody>
            <a:bodyPr wrap="square" lIns="0" tIns="0" rIns="0" bIns="0" rtlCol="0"/>
            <a:lstStyle/>
            <a:p>
              <a:endParaRPr sz="2968"/>
            </a:p>
          </p:txBody>
        </p:sp>
        <p:sp>
          <p:nvSpPr>
            <p:cNvPr id="29" name="object 27">
              <a:extLst>
                <a:ext uri="{FF2B5EF4-FFF2-40B4-BE49-F238E27FC236}">
                  <a16:creationId xmlns:a16="http://schemas.microsoft.com/office/drawing/2014/main" id="{2A7277FE-F592-654E-939D-852597E7DDFC}"/>
                </a:ext>
              </a:extLst>
            </p:cNvPr>
            <p:cNvSpPr/>
            <p:nvPr/>
          </p:nvSpPr>
          <p:spPr>
            <a:xfrm>
              <a:off x="3378958" y="5612681"/>
              <a:ext cx="1242695" cy="0"/>
            </a:xfrm>
            <a:custGeom>
              <a:avLst/>
              <a:gdLst/>
              <a:ahLst/>
              <a:cxnLst/>
              <a:rect l="l" t="t" r="r" b="b"/>
              <a:pathLst>
                <a:path w="1242695">
                  <a:moveTo>
                    <a:pt x="0" y="0"/>
                  </a:moveTo>
                  <a:lnTo>
                    <a:pt x="1242638" y="0"/>
                  </a:lnTo>
                </a:path>
              </a:pathLst>
            </a:custGeom>
            <a:ln w="3175">
              <a:solidFill>
                <a:srgbClr val="EF3D60"/>
              </a:solidFill>
            </a:ln>
          </p:spPr>
          <p:txBody>
            <a:bodyPr wrap="square" lIns="0" tIns="0" rIns="0" bIns="0" rtlCol="0"/>
            <a:lstStyle/>
            <a:p>
              <a:endParaRPr sz="2968"/>
            </a:p>
          </p:txBody>
        </p:sp>
        <p:sp>
          <p:nvSpPr>
            <p:cNvPr id="30" name="object 28">
              <a:extLst>
                <a:ext uri="{FF2B5EF4-FFF2-40B4-BE49-F238E27FC236}">
                  <a16:creationId xmlns:a16="http://schemas.microsoft.com/office/drawing/2014/main" id="{B64CE7CF-D16E-094F-ADBD-209E3DF619EB}"/>
                </a:ext>
              </a:extLst>
            </p:cNvPr>
            <p:cNvSpPr/>
            <p:nvPr/>
          </p:nvSpPr>
          <p:spPr>
            <a:xfrm>
              <a:off x="3378779" y="5610776"/>
              <a:ext cx="1243330" cy="0"/>
            </a:xfrm>
            <a:custGeom>
              <a:avLst/>
              <a:gdLst/>
              <a:ahLst/>
              <a:cxnLst/>
              <a:rect l="l" t="t" r="r" b="b"/>
              <a:pathLst>
                <a:path w="1243329">
                  <a:moveTo>
                    <a:pt x="0" y="0"/>
                  </a:moveTo>
                  <a:lnTo>
                    <a:pt x="1242996" y="0"/>
                  </a:lnTo>
                </a:path>
              </a:pathLst>
            </a:custGeom>
            <a:ln w="3175">
              <a:solidFill>
                <a:srgbClr val="EF3D60"/>
              </a:solidFill>
            </a:ln>
          </p:spPr>
          <p:txBody>
            <a:bodyPr wrap="square" lIns="0" tIns="0" rIns="0" bIns="0" rtlCol="0"/>
            <a:lstStyle/>
            <a:p>
              <a:endParaRPr sz="2968"/>
            </a:p>
          </p:txBody>
        </p:sp>
        <p:sp>
          <p:nvSpPr>
            <p:cNvPr id="31" name="object 29">
              <a:extLst>
                <a:ext uri="{FF2B5EF4-FFF2-40B4-BE49-F238E27FC236}">
                  <a16:creationId xmlns:a16="http://schemas.microsoft.com/office/drawing/2014/main" id="{838D775B-8DF3-8B43-A672-D01AD30B1AC3}"/>
                </a:ext>
              </a:extLst>
            </p:cNvPr>
            <p:cNvSpPr/>
            <p:nvPr/>
          </p:nvSpPr>
          <p:spPr>
            <a:xfrm>
              <a:off x="4705336" y="5158054"/>
              <a:ext cx="2074545" cy="450850"/>
            </a:xfrm>
            <a:custGeom>
              <a:avLst/>
              <a:gdLst/>
              <a:ahLst/>
              <a:cxnLst/>
              <a:rect l="l" t="t" r="r" b="b"/>
              <a:pathLst>
                <a:path w="2074545" h="450850">
                  <a:moveTo>
                    <a:pt x="1312125" y="161404"/>
                  </a:moveTo>
                  <a:lnTo>
                    <a:pt x="1854" y="440194"/>
                  </a:lnTo>
                  <a:lnTo>
                    <a:pt x="0" y="441439"/>
                  </a:lnTo>
                  <a:lnTo>
                    <a:pt x="1104" y="444233"/>
                  </a:lnTo>
                  <a:lnTo>
                    <a:pt x="1943" y="447192"/>
                  </a:lnTo>
                  <a:lnTo>
                    <a:pt x="2451" y="450240"/>
                  </a:lnTo>
                  <a:lnTo>
                    <a:pt x="32321" y="450240"/>
                  </a:lnTo>
                  <a:lnTo>
                    <a:pt x="1331595" y="173799"/>
                  </a:lnTo>
                  <a:lnTo>
                    <a:pt x="1312125" y="161404"/>
                  </a:lnTo>
                  <a:close/>
                </a:path>
                <a:path w="2074545" h="450850">
                  <a:moveTo>
                    <a:pt x="1365097" y="150139"/>
                  </a:moveTo>
                  <a:lnTo>
                    <a:pt x="1335951" y="156337"/>
                  </a:lnTo>
                  <a:lnTo>
                    <a:pt x="1355420" y="168732"/>
                  </a:lnTo>
                  <a:lnTo>
                    <a:pt x="1382369" y="162991"/>
                  </a:lnTo>
                  <a:lnTo>
                    <a:pt x="1365097" y="150139"/>
                  </a:lnTo>
                  <a:close/>
                </a:path>
                <a:path w="2074545" h="450850">
                  <a:moveTo>
                    <a:pt x="1540179" y="112877"/>
                  </a:moveTo>
                  <a:lnTo>
                    <a:pt x="1389138" y="145021"/>
                  </a:lnTo>
                  <a:lnTo>
                    <a:pt x="1406398" y="157873"/>
                  </a:lnTo>
                  <a:lnTo>
                    <a:pt x="1550377" y="127254"/>
                  </a:lnTo>
                  <a:lnTo>
                    <a:pt x="1540179" y="112877"/>
                  </a:lnTo>
                  <a:close/>
                </a:path>
                <a:path w="2074545" h="450850">
                  <a:moveTo>
                    <a:pt x="1584972" y="103352"/>
                  </a:moveTo>
                  <a:lnTo>
                    <a:pt x="1555013" y="109728"/>
                  </a:lnTo>
                  <a:lnTo>
                    <a:pt x="1565198" y="124091"/>
                  </a:lnTo>
                  <a:lnTo>
                    <a:pt x="1593329" y="118110"/>
                  </a:lnTo>
                  <a:lnTo>
                    <a:pt x="1584972" y="103352"/>
                  </a:lnTo>
                  <a:close/>
                </a:path>
                <a:path w="2074545" h="450850">
                  <a:moveTo>
                    <a:pt x="1901342" y="36042"/>
                  </a:moveTo>
                  <a:lnTo>
                    <a:pt x="1598485" y="100469"/>
                  </a:lnTo>
                  <a:lnTo>
                    <a:pt x="1606842" y="115227"/>
                  </a:lnTo>
                  <a:lnTo>
                    <a:pt x="1896554" y="53594"/>
                  </a:lnTo>
                  <a:lnTo>
                    <a:pt x="1901342" y="36042"/>
                  </a:lnTo>
                  <a:close/>
                </a:path>
                <a:path w="2074545" h="450850">
                  <a:moveTo>
                    <a:pt x="2070722" y="0"/>
                  </a:moveTo>
                  <a:lnTo>
                    <a:pt x="1915756" y="32969"/>
                  </a:lnTo>
                  <a:lnTo>
                    <a:pt x="1910969" y="50520"/>
                  </a:lnTo>
                  <a:lnTo>
                    <a:pt x="2074062" y="15824"/>
                  </a:lnTo>
                  <a:lnTo>
                    <a:pt x="2072017" y="10934"/>
                  </a:lnTo>
                  <a:lnTo>
                    <a:pt x="2070836" y="5600"/>
                  </a:lnTo>
                  <a:lnTo>
                    <a:pt x="2070722" y="0"/>
                  </a:lnTo>
                  <a:close/>
                </a:path>
              </a:pathLst>
            </a:custGeom>
            <a:solidFill>
              <a:srgbClr val="EF3D60">
                <a:alpha val="50999"/>
              </a:srgbClr>
            </a:solidFill>
          </p:spPr>
          <p:txBody>
            <a:bodyPr wrap="square" lIns="0" tIns="0" rIns="0" bIns="0" rtlCol="0"/>
            <a:lstStyle/>
            <a:p>
              <a:endParaRPr sz="2968"/>
            </a:p>
          </p:txBody>
        </p:sp>
        <p:sp>
          <p:nvSpPr>
            <p:cNvPr id="32" name="object 30">
              <a:extLst>
                <a:ext uri="{FF2B5EF4-FFF2-40B4-BE49-F238E27FC236}">
                  <a16:creationId xmlns:a16="http://schemas.microsoft.com/office/drawing/2014/main" id="{270BB310-9FEF-274C-BA5D-9B50E578B419}"/>
                </a:ext>
              </a:extLst>
            </p:cNvPr>
            <p:cNvSpPr/>
            <p:nvPr/>
          </p:nvSpPr>
          <p:spPr>
            <a:xfrm>
              <a:off x="4680717" y="4228129"/>
              <a:ext cx="793750" cy="1349375"/>
            </a:xfrm>
            <a:custGeom>
              <a:avLst/>
              <a:gdLst/>
              <a:ahLst/>
              <a:cxnLst/>
              <a:rect l="l" t="t" r="r" b="b"/>
              <a:pathLst>
                <a:path w="793750" h="1349375">
                  <a:moveTo>
                    <a:pt x="468985" y="539127"/>
                  </a:moveTo>
                  <a:lnTo>
                    <a:pt x="0" y="1346885"/>
                  </a:lnTo>
                  <a:lnTo>
                    <a:pt x="1663" y="1347533"/>
                  </a:lnTo>
                  <a:lnTo>
                    <a:pt x="3263" y="1348270"/>
                  </a:lnTo>
                  <a:lnTo>
                    <a:pt x="4825" y="1349108"/>
                  </a:lnTo>
                  <a:lnTo>
                    <a:pt x="43865" y="1298194"/>
                  </a:lnTo>
                  <a:lnTo>
                    <a:pt x="480377" y="546379"/>
                  </a:lnTo>
                  <a:lnTo>
                    <a:pt x="468985" y="539127"/>
                  </a:lnTo>
                  <a:close/>
                </a:path>
                <a:path w="793750" h="1349375">
                  <a:moveTo>
                    <a:pt x="527634" y="438099"/>
                  </a:moveTo>
                  <a:lnTo>
                    <a:pt x="477558" y="524357"/>
                  </a:lnTo>
                  <a:lnTo>
                    <a:pt x="488950" y="531609"/>
                  </a:lnTo>
                  <a:lnTo>
                    <a:pt x="538530" y="446214"/>
                  </a:lnTo>
                  <a:lnTo>
                    <a:pt x="527634" y="438099"/>
                  </a:lnTo>
                  <a:close/>
                </a:path>
                <a:path w="793750" h="1349375">
                  <a:moveTo>
                    <a:pt x="782002" y="0"/>
                  </a:moveTo>
                  <a:lnTo>
                    <a:pt x="536981" y="422020"/>
                  </a:lnTo>
                  <a:lnTo>
                    <a:pt x="547878" y="430123"/>
                  </a:lnTo>
                  <a:lnTo>
                    <a:pt x="793648" y="6794"/>
                  </a:lnTo>
                  <a:lnTo>
                    <a:pt x="789406" y="5143"/>
                  </a:lnTo>
                  <a:lnTo>
                    <a:pt x="785482" y="2832"/>
                  </a:lnTo>
                  <a:lnTo>
                    <a:pt x="782002" y="0"/>
                  </a:lnTo>
                  <a:close/>
                </a:path>
              </a:pathLst>
            </a:custGeom>
            <a:solidFill>
              <a:srgbClr val="EF3D60">
                <a:alpha val="50999"/>
              </a:srgbClr>
            </a:solidFill>
          </p:spPr>
          <p:txBody>
            <a:bodyPr wrap="square" lIns="0" tIns="0" rIns="0" bIns="0" rtlCol="0"/>
            <a:lstStyle/>
            <a:p>
              <a:endParaRPr sz="2968"/>
            </a:p>
          </p:txBody>
        </p:sp>
        <p:sp>
          <p:nvSpPr>
            <p:cNvPr id="33" name="object 31">
              <a:extLst>
                <a:ext uri="{FF2B5EF4-FFF2-40B4-BE49-F238E27FC236}">
                  <a16:creationId xmlns:a16="http://schemas.microsoft.com/office/drawing/2014/main" id="{E9149877-0396-294D-8C7E-062C09DEC4A9}"/>
                </a:ext>
              </a:extLst>
            </p:cNvPr>
            <p:cNvSpPr/>
            <p:nvPr/>
          </p:nvSpPr>
          <p:spPr>
            <a:xfrm>
              <a:off x="4656894" y="3457871"/>
              <a:ext cx="16510" cy="2115185"/>
            </a:xfrm>
            <a:custGeom>
              <a:avLst/>
              <a:gdLst/>
              <a:ahLst/>
              <a:cxnLst/>
              <a:rect l="l" t="t" r="r" b="b"/>
              <a:pathLst>
                <a:path w="16510" h="2115185">
                  <a:moveTo>
                    <a:pt x="0" y="995794"/>
                  </a:moveTo>
                  <a:lnTo>
                    <a:pt x="0" y="2059177"/>
                  </a:lnTo>
                  <a:lnTo>
                    <a:pt x="7861" y="2114194"/>
                  </a:lnTo>
                  <a:lnTo>
                    <a:pt x="10820" y="2114194"/>
                  </a:lnTo>
                  <a:lnTo>
                    <a:pt x="13525" y="2114448"/>
                  </a:lnTo>
                  <a:lnTo>
                    <a:pt x="16141" y="2114943"/>
                  </a:lnTo>
                  <a:lnTo>
                    <a:pt x="16141" y="1006055"/>
                  </a:lnTo>
                  <a:lnTo>
                    <a:pt x="0" y="995794"/>
                  </a:lnTo>
                  <a:close/>
                </a:path>
                <a:path w="16510" h="2115185">
                  <a:moveTo>
                    <a:pt x="0" y="797699"/>
                  </a:moveTo>
                  <a:lnTo>
                    <a:pt x="0" y="975563"/>
                  </a:lnTo>
                  <a:lnTo>
                    <a:pt x="16141" y="985824"/>
                  </a:lnTo>
                  <a:lnTo>
                    <a:pt x="16141" y="809713"/>
                  </a:lnTo>
                  <a:lnTo>
                    <a:pt x="0" y="797699"/>
                  </a:lnTo>
                  <a:close/>
                </a:path>
                <a:path w="16510" h="2115185">
                  <a:moveTo>
                    <a:pt x="0" y="0"/>
                  </a:moveTo>
                  <a:lnTo>
                    <a:pt x="0" y="774649"/>
                  </a:lnTo>
                  <a:lnTo>
                    <a:pt x="16141" y="786663"/>
                  </a:lnTo>
                  <a:lnTo>
                    <a:pt x="16141" y="749"/>
                  </a:lnTo>
                  <a:lnTo>
                    <a:pt x="5308" y="749"/>
                  </a:lnTo>
                  <a:lnTo>
                    <a:pt x="2616" y="495"/>
                  </a:lnTo>
                  <a:lnTo>
                    <a:pt x="0" y="0"/>
                  </a:lnTo>
                  <a:close/>
                </a:path>
                <a:path w="16510" h="2115185">
                  <a:moveTo>
                    <a:pt x="16141" y="0"/>
                  </a:moveTo>
                  <a:lnTo>
                    <a:pt x="13525" y="495"/>
                  </a:lnTo>
                  <a:lnTo>
                    <a:pt x="10820" y="749"/>
                  </a:lnTo>
                  <a:lnTo>
                    <a:pt x="16141" y="749"/>
                  </a:lnTo>
                  <a:lnTo>
                    <a:pt x="16141" y="0"/>
                  </a:lnTo>
                  <a:close/>
                </a:path>
              </a:pathLst>
            </a:custGeom>
            <a:solidFill>
              <a:srgbClr val="EF3D60">
                <a:alpha val="50999"/>
              </a:srgbClr>
            </a:solidFill>
          </p:spPr>
          <p:txBody>
            <a:bodyPr wrap="square" lIns="0" tIns="0" rIns="0" bIns="0" rtlCol="0"/>
            <a:lstStyle/>
            <a:p>
              <a:endParaRPr sz="2968"/>
            </a:p>
          </p:txBody>
        </p:sp>
        <p:sp>
          <p:nvSpPr>
            <p:cNvPr id="34" name="object 32">
              <a:extLst>
                <a:ext uri="{FF2B5EF4-FFF2-40B4-BE49-F238E27FC236}">
                  <a16:creationId xmlns:a16="http://schemas.microsoft.com/office/drawing/2014/main" id="{B6ED3130-5078-5849-B5CB-6E37ACFC5F3A}"/>
                </a:ext>
              </a:extLst>
            </p:cNvPr>
            <p:cNvSpPr/>
            <p:nvPr/>
          </p:nvSpPr>
          <p:spPr>
            <a:xfrm>
              <a:off x="4696546" y="4118774"/>
              <a:ext cx="2185035" cy="1480820"/>
            </a:xfrm>
            <a:custGeom>
              <a:avLst/>
              <a:gdLst/>
              <a:ahLst/>
              <a:cxnLst/>
              <a:rect l="l" t="t" r="r" b="b"/>
              <a:pathLst>
                <a:path w="2185034" h="1480820">
                  <a:moveTo>
                    <a:pt x="842949" y="896531"/>
                  </a:moveTo>
                  <a:lnTo>
                    <a:pt x="4267" y="1461363"/>
                  </a:lnTo>
                  <a:lnTo>
                    <a:pt x="0" y="1466926"/>
                  </a:lnTo>
                  <a:lnTo>
                    <a:pt x="3746" y="1470888"/>
                  </a:lnTo>
                  <a:lnTo>
                    <a:pt x="6743" y="1475562"/>
                  </a:lnTo>
                  <a:lnTo>
                    <a:pt x="8788" y="1480718"/>
                  </a:lnTo>
                  <a:lnTo>
                    <a:pt x="860044" y="907415"/>
                  </a:lnTo>
                  <a:lnTo>
                    <a:pt x="842949" y="896531"/>
                  </a:lnTo>
                  <a:close/>
                </a:path>
                <a:path w="2185034" h="1480820">
                  <a:moveTo>
                    <a:pt x="915212" y="847864"/>
                  </a:moveTo>
                  <a:lnTo>
                    <a:pt x="858393" y="886129"/>
                  </a:lnTo>
                  <a:lnTo>
                    <a:pt x="875499" y="897013"/>
                  </a:lnTo>
                  <a:lnTo>
                    <a:pt x="931011" y="859624"/>
                  </a:lnTo>
                  <a:lnTo>
                    <a:pt x="915212" y="847864"/>
                  </a:lnTo>
                  <a:close/>
                </a:path>
                <a:path w="2185034" h="1480820">
                  <a:moveTo>
                    <a:pt x="1197889" y="657491"/>
                  </a:moveTo>
                  <a:lnTo>
                    <a:pt x="931456" y="836930"/>
                  </a:lnTo>
                  <a:lnTo>
                    <a:pt x="947254" y="848677"/>
                  </a:lnTo>
                  <a:lnTo>
                    <a:pt x="1208646" y="672630"/>
                  </a:lnTo>
                  <a:lnTo>
                    <a:pt x="1197889" y="657491"/>
                  </a:lnTo>
                  <a:close/>
                </a:path>
                <a:path w="2185034" h="1480820">
                  <a:moveTo>
                    <a:pt x="1285430" y="598538"/>
                  </a:moveTo>
                  <a:lnTo>
                    <a:pt x="1209446" y="649706"/>
                  </a:lnTo>
                  <a:lnTo>
                    <a:pt x="1220203" y="664845"/>
                  </a:lnTo>
                  <a:lnTo>
                    <a:pt x="1294612" y="614730"/>
                  </a:lnTo>
                  <a:lnTo>
                    <a:pt x="1285430" y="598538"/>
                  </a:lnTo>
                  <a:close/>
                </a:path>
                <a:path w="2185034" h="1480820">
                  <a:moveTo>
                    <a:pt x="1483626" y="465048"/>
                  </a:moveTo>
                  <a:lnTo>
                    <a:pt x="1296416" y="591134"/>
                  </a:lnTo>
                  <a:lnTo>
                    <a:pt x="1305585" y="607339"/>
                  </a:lnTo>
                  <a:lnTo>
                    <a:pt x="1501952" y="475107"/>
                  </a:lnTo>
                  <a:lnTo>
                    <a:pt x="1483626" y="465048"/>
                  </a:lnTo>
                  <a:close/>
                </a:path>
                <a:path w="2185034" h="1480820">
                  <a:moveTo>
                    <a:pt x="1533601" y="431393"/>
                  </a:moveTo>
                  <a:lnTo>
                    <a:pt x="1500784" y="453504"/>
                  </a:lnTo>
                  <a:lnTo>
                    <a:pt x="1519085" y="463550"/>
                  </a:lnTo>
                  <a:lnTo>
                    <a:pt x="1551355" y="441820"/>
                  </a:lnTo>
                  <a:lnTo>
                    <a:pt x="1533601" y="431393"/>
                  </a:lnTo>
                  <a:close/>
                </a:path>
                <a:path w="2185034" h="1480820">
                  <a:moveTo>
                    <a:pt x="2174163" y="0"/>
                  </a:moveTo>
                  <a:lnTo>
                    <a:pt x="1549514" y="420687"/>
                  </a:lnTo>
                  <a:lnTo>
                    <a:pt x="1567268" y="431101"/>
                  </a:lnTo>
                  <a:lnTo>
                    <a:pt x="2184552" y="15379"/>
                  </a:lnTo>
                  <a:lnTo>
                    <a:pt x="2180069" y="11099"/>
                  </a:lnTo>
                  <a:lnTo>
                    <a:pt x="2176487" y="5854"/>
                  </a:lnTo>
                  <a:lnTo>
                    <a:pt x="2174163" y="0"/>
                  </a:lnTo>
                  <a:close/>
                </a:path>
              </a:pathLst>
            </a:custGeom>
            <a:solidFill>
              <a:srgbClr val="EF3D60">
                <a:alpha val="50999"/>
              </a:srgbClr>
            </a:solidFill>
          </p:spPr>
          <p:txBody>
            <a:bodyPr wrap="square" lIns="0" tIns="0" rIns="0" bIns="0" rtlCol="0"/>
            <a:lstStyle/>
            <a:p>
              <a:endParaRPr sz="2968"/>
            </a:p>
          </p:txBody>
        </p:sp>
        <p:sp>
          <p:nvSpPr>
            <p:cNvPr id="35" name="object 33">
              <a:extLst>
                <a:ext uri="{FF2B5EF4-FFF2-40B4-BE49-F238E27FC236}">
                  <a16:creationId xmlns:a16="http://schemas.microsoft.com/office/drawing/2014/main" id="{AF59DD0E-0568-0443-BFE5-48CAAB4841A9}"/>
                </a:ext>
              </a:extLst>
            </p:cNvPr>
            <p:cNvSpPr/>
            <p:nvPr/>
          </p:nvSpPr>
          <p:spPr>
            <a:xfrm>
              <a:off x="4685539" y="4270073"/>
              <a:ext cx="1013460" cy="1315720"/>
            </a:xfrm>
            <a:custGeom>
              <a:avLst/>
              <a:gdLst/>
              <a:ahLst/>
              <a:cxnLst/>
              <a:rect l="l" t="t" r="r" b="b"/>
              <a:pathLst>
                <a:path w="1013460" h="1315720">
                  <a:moveTo>
                    <a:pt x="569544" y="564248"/>
                  </a:moveTo>
                  <a:lnTo>
                    <a:pt x="0" y="1307172"/>
                  </a:lnTo>
                  <a:lnTo>
                    <a:pt x="4114" y="1309382"/>
                  </a:lnTo>
                  <a:lnTo>
                    <a:pt x="7835" y="1312252"/>
                  </a:lnTo>
                  <a:lnTo>
                    <a:pt x="11010" y="1315618"/>
                  </a:lnTo>
                  <a:lnTo>
                    <a:pt x="581329" y="571741"/>
                  </a:lnTo>
                  <a:lnTo>
                    <a:pt x="569544" y="564248"/>
                  </a:lnTo>
                  <a:close/>
                </a:path>
                <a:path w="1013460" h="1315720">
                  <a:moveTo>
                    <a:pt x="634593" y="479386"/>
                  </a:moveTo>
                  <a:lnTo>
                    <a:pt x="579970" y="550646"/>
                  </a:lnTo>
                  <a:lnTo>
                    <a:pt x="591743" y="558139"/>
                  </a:lnTo>
                  <a:lnTo>
                    <a:pt x="645756" y="487705"/>
                  </a:lnTo>
                  <a:lnTo>
                    <a:pt x="634593" y="479386"/>
                  </a:lnTo>
                  <a:close/>
                </a:path>
                <a:path w="1013460" h="1315720">
                  <a:moveTo>
                    <a:pt x="922947" y="103263"/>
                  </a:moveTo>
                  <a:lnTo>
                    <a:pt x="645833" y="464731"/>
                  </a:lnTo>
                  <a:lnTo>
                    <a:pt x="656996" y="473036"/>
                  </a:lnTo>
                  <a:lnTo>
                    <a:pt x="931379" y="115150"/>
                  </a:lnTo>
                  <a:lnTo>
                    <a:pt x="922947" y="103263"/>
                  </a:lnTo>
                  <a:close/>
                </a:path>
                <a:path w="1013460" h="1315720">
                  <a:moveTo>
                    <a:pt x="978725" y="30505"/>
                  </a:moveTo>
                  <a:lnTo>
                    <a:pt x="931811" y="91681"/>
                  </a:lnTo>
                  <a:lnTo>
                    <a:pt x="940244" y="103568"/>
                  </a:lnTo>
                  <a:lnTo>
                    <a:pt x="991069" y="37287"/>
                  </a:lnTo>
                  <a:lnTo>
                    <a:pt x="978725" y="30505"/>
                  </a:lnTo>
                  <a:close/>
                </a:path>
                <a:path w="1013460" h="1315720">
                  <a:moveTo>
                    <a:pt x="1002118" y="0"/>
                  </a:moveTo>
                  <a:lnTo>
                    <a:pt x="990041" y="15748"/>
                  </a:lnTo>
                  <a:lnTo>
                    <a:pt x="1002385" y="22517"/>
                  </a:lnTo>
                  <a:lnTo>
                    <a:pt x="1013167" y="8470"/>
                  </a:lnTo>
                  <a:lnTo>
                    <a:pt x="1009027" y="6248"/>
                  </a:lnTo>
                  <a:lnTo>
                    <a:pt x="1005306" y="3378"/>
                  </a:lnTo>
                  <a:lnTo>
                    <a:pt x="1002118" y="0"/>
                  </a:lnTo>
                  <a:close/>
                </a:path>
              </a:pathLst>
            </a:custGeom>
            <a:solidFill>
              <a:srgbClr val="EF3D60">
                <a:alpha val="50999"/>
              </a:srgbClr>
            </a:solidFill>
          </p:spPr>
          <p:txBody>
            <a:bodyPr wrap="square" lIns="0" tIns="0" rIns="0" bIns="0" rtlCol="0"/>
            <a:lstStyle/>
            <a:p>
              <a:endParaRPr sz="2968"/>
            </a:p>
          </p:txBody>
        </p:sp>
        <p:sp>
          <p:nvSpPr>
            <p:cNvPr id="36" name="object 34">
              <a:extLst>
                <a:ext uri="{FF2B5EF4-FFF2-40B4-BE49-F238E27FC236}">
                  <a16:creationId xmlns:a16="http://schemas.microsoft.com/office/drawing/2014/main" id="{840821E1-1369-1546-8AB6-AE85216924E2}"/>
                </a:ext>
              </a:extLst>
            </p:cNvPr>
            <p:cNvSpPr/>
            <p:nvPr/>
          </p:nvSpPr>
          <p:spPr>
            <a:xfrm>
              <a:off x="4481818" y="4373754"/>
              <a:ext cx="183515" cy="1198880"/>
            </a:xfrm>
            <a:custGeom>
              <a:avLst/>
              <a:gdLst/>
              <a:ahLst/>
              <a:cxnLst/>
              <a:rect l="l" t="t" r="r" b="b"/>
              <a:pathLst>
                <a:path w="183514" h="1198879">
                  <a:moveTo>
                    <a:pt x="11684" y="0"/>
                  </a:moveTo>
                  <a:lnTo>
                    <a:pt x="7975" y="1054"/>
                  </a:lnTo>
                  <a:lnTo>
                    <a:pt x="4051" y="1625"/>
                  </a:lnTo>
                  <a:lnTo>
                    <a:pt x="0" y="1638"/>
                  </a:lnTo>
                  <a:lnTo>
                    <a:pt x="145046" y="1016850"/>
                  </a:lnTo>
                  <a:lnTo>
                    <a:pt x="181343" y="1198346"/>
                  </a:lnTo>
                  <a:lnTo>
                    <a:pt x="182397" y="1198308"/>
                  </a:lnTo>
                  <a:lnTo>
                    <a:pt x="182943" y="1198308"/>
                  </a:lnTo>
                  <a:lnTo>
                    <a:pt x="175069" y="1143304"/>
                  </a:lnTo>
                  <a:lnTo>
                    <a:pt x="11684" y="0"/>
                  </a:lnTo>
                  <a:close/>
                </a:path>
              </a:pathLst>
            </a:custGeom>
            <a:solidFill>
              <a:srgbClr val="EF3D60">
                <a:alpha val="50999"/>
              </a:srgbClr>
            </a:solidFill>
          </p:spPr>
          <p:txBody>
            <a:bodyPr wrap="square" lIns="0" tIns="0" rIns="0" bIns="0" rtlCol="0"/>
            <a:lstStyle/>
            <a:p>
              <a:endParaRPr sz="2968"/>
            </a:p>
          </p:txBody>
        </p:sp>
        <p:sp>
          <p:nvSpPr>
            <p:cNvPr id="37" name="object 35">
              <a:extLst>
                <a:ext uri="{FF2B5EF4-FFF2-40B4-BE49-F238E27FC236}">
                  <a16:creationId xmlns:a16="http://schemas.microsoft.com/office/drawing/2014/main" id="{66B17ED2-7698-2E40-9A31-18EAE06E8609}"/>
                </a:ext>
              </a:extLst>
            </p:cNvPr>
            <p:cNvSpPr/>
            <p:nvPr/>
          </p:nvSpPr>
          <p:spPr>
            <a:xfrm>
              <a:off x="3454104" y="4493583"/>
              <a:ext cx="1184275" cy="1096010"/>
            </a:xfrm>
            <a:custGeom>
              <a:avLst/>
              <a:gdLst/>
              <a:ahLst/>
              <a:cxnLst/>
              <a:rect l="l" t="t" r="r" b="b"/>
              <a:pathLst>
                <a:path w="1184275" h="1096010">
                  <a:moveTo>
                    <a:pt x="9309" y="0"/>
                  </a:moveTo>
                  <a:lnTo>
                    <a:pt x="6756" y="3835"/>
                  </a:lnTo>
                  <a:lnTo>
                    <a:pt x="3606" y="7226"/>
                  </a:lnTo>
                  <a:lnTo>
                    <a:pt x="0" y="10071"/>
                  </a:lnTo>
                  <a:lnTo>
                    <a:pt x="1167866" y="1091387"/>
                  </a:lnTo>
                  <a:lnTo>
                    <a:pt x="1176439" y="1095438"/>
                  </a:lnTo>
                  <a:lnTo>
                    <a:pt x="1178636" y="1092568"/>
                  </a:lnTo>
                  <a:lnTo>
                    <a:pt x="1181214" y="1089977"/>
                  </a:lnTo>
                  <a:lnTo>
                    <a:pt x="1184059" y="1087742"/>
                  </a:lnTo>
                  <a:lnTo>
                    <a:pt x="9309" y="0"/>
                  </a:lnTo>
                  <a:close/>
                </a:path>
              </a:pathLst>
            </a:custGeom>
            <a:solidFill>
              <a:srgbClr val="EF3D60">
                <a:alpha val="50999"/>
              </a:srgbClr>
            </a:solidFill>
          </p:spPr>
          <p:txBody>
            <a:bodyPr wrap="square" lIns="0" tIns="0" rIns="0" bIns="0" rtlCol="0"/>
            <a:lstStyle/>
            <a:p>
              <a:endParaRPr sz="2968"/>
            </a:p>
          </p:txBody>
        </p:sp>
        <p:sp>
          <p:nvSpPr>
            <p:cNvPr id="38" name="object 36">
              <a:extLst>
                <a:ext uri="{FF2B5EF4-FFF2-40B4-BE49-F238E27FC236}">
                  <a16:creationId xmlns:a16="http://schemas.microsoft.com/office/drawing/2014/main" id="{C719EFF4-B23B-F641-9652-6449659406B8}"/>
                </a:ext>
              </a:extLst>
            </p:cNvPr>
            <p:cNvSpPr/>
            <p:nvPr/>
          </p:nvSpPr>
          <p:spPr>
            <a:xfrm>
              <a:off x="2269930" y="4479267"/>
              <a:ext cx="2360930" cy="1126490"/>
            </a:xfrm>
            <a:custGeom>
              <a:avLst/>
              <a:gdLst/>
              <a:ahLst/>
              <a:cxnLst/>
              <a:rect l="l" t="t" r="r" b="b"/>
              <a:pathLst>
                <a:path w="2360929" h="1126489">
                  <a:moveTo>
                    <a:pt x="7886" y="0"/>
                  </a:moveTo>
                  <a:lnTo>
                    <a:pt x="6464" y="6172"/>
                  </a:lnTo>
                  <a:lnTo>
                    <a:pt x="3733" y="11836"/>
                  </a:lnTo>
                  <a:lnTo>
                    <a:pt x="0" y="16687"/>
                  </a:lnTo>
                  <a:lnTo>
                    <a:pt x="2352713" y="1126477"/>
                  </a:lnTo>
                  <a:lnTo>
                    <a:pt x="2354122" y="1120292"/>
                  </a:lnTo>
                  <a:lnTo>
                    <a:pt x="2356853" y="1114615"/>
                  </a:lnTo>
                  <a:lnTo>
                    <a:pt x="2360612" y="1109751"/>
                  </a:lnTo>
                  <a:lnTo>
                    <a:pt x="7886" y="0"/>
                  </a:lnTo>
                  <a:close/>
                </a:path>
              </a:pathLst>
            </a:custGeom>
            <a:solidFill>
              <a:srgbClr val="EF3D60">
                <a:alpha val="50999"/>
              </a:srgbClr>
            </a:solidFill>
          </p:spPr>
          <p:txBody>
            <a:bodyPr wrap="square" lIns="0" tIns="0" rIns="0" bIns="0" rtlCol="0"/>
            <a:lstStyle/>
            <a:p>
              <a:endParaRPr sz="2968"/>
            </a:p>
          </p:txBody>
        </p:sp>
        <p:sp>
          <p:nvSpPr>
            <p:cNvPr id="39" name="object 37">
              <a:extLst>
                <a:ext uri="{FF2B5EF4-FFF2-40B4-BE49-F238E27FC236}">
                  <a16:creationId xmlns:a16="http://schemas.microsoft.com/office/drawing/2014/main" id="{DD6A556F-3F76-7046-B735-88F100BBF42C}"/>
                </a:ext>
              </a:extLst>
            </p:cNvPr>
            <p:cNvSpPr/>
            <p:nvPr/>
          </p:nvSpPr>
          <p:spPr>
            <a:xfrm>
              <a:off x="4345912" y="4051844"/>
              <a:ext cx="317500" cy="1523365"/>
            </a:xfrm>
            <a:custGeom>
              <a:avLst/>
              <a:gdLst/>
              <a:ahLst/>
              <a:cxnLst/>
              <a:rect l="l" t="t" r="r" b="b"/>
              <a:pathLst>
                <a:path w="317500" h="1523364">
                  <a:moveTo>
                    <a:pt x="13195" y="0"/>
                  </a:moveTo>
                  <a:lnTo>
                    <a:pt x="9055" y="1524"/>
                  </a:lnTo>
                  <a:lnTo>
                    <a:pt x="4622" y="2438"/>
                  </a:lnTo>
                  <a:lnTo>
                    <a:pt x="0" y="2616"/>
                  </a:lnTo>
                  <a:lnTo>
                    <a:pt x="304025" y="1522895"/>
                  </a:lnTo>
                  <a:lnTo>
                    <a:pt x="308178" y="1521358"/>
                  </a:lnTo>
                  <a:lnTo>
                    <a:pt x="312610" y="1520444"/>
                  </a:lnTo>
                  <a:lnTo>
                    <a:pt x="317245" y="1520253"/>
                  </a:lnTo>
                  <a:lnTo>
                    <a:pt x="13195" y="0"/>
                  </a:lnTo>
                  <a:close/>
                </a:path>
              </a:pathLst>
            </a:custGeom>
            <a:solidFill>
              <a:srgbClr val="EF3D60">
                <a:alpha val="50999"/>
              </a:srgbClr>
            </a:solidFill>
          </p:spPr>
          <p:txBody>
            <a:bodyPr wrap="square" lIns="0" tIns="0" rIns="0" bIns="0" rtlCol="0"/>
            <a:lstStyle/>
            <a:p>
              <a:endParaRPr sz="2968"/>
            </a:p>
          </p:txBody>
        </p:sp>
        <p:sp>
          <p:nvSpPr>
            <p:cNvPr id="40" name="object 38">
              <a:extLst>
                <a:ext uri="{FF2B5EF4-FFF2-40B4-BE49-F238E27FC236}">
                  <a16:creationId xmlns:a16="http://schemas.microsoft.com/office/drawing/2014/main" id="{2DC8E1BF-CF23-804B-AF20-C2662B1A9F12}"/>
                </a:ext>
              </a:extLst>
            </p:cNvPr>
            <p:cNvSpPr/>
            <p:nvPr/>
          </p:nvSpPr>
          <p:spPr>
            <a:xfrm>
              <a:off x="4708062" y="5620989"/>
              <a:ext cx="1747520" cy="0"/>
            </a:xfrm>
            <a:custGeom>
              <a:avLst/>
              <a:gdLst/>
              <a:ahLst/>
              <a:cxnLst/>
              <a:rect l="l" t="t" r="r" b="b"/>
              <a:pathLst>
                <a:path w="1747520">
                  <a:moveTo>
                    <a:pt x="0" y="0"/>
                  </a:moveTo>
                  <a:lnTo>
                    <a:pt x="1747371" y="0"/>
                  </a:lnTo>
                </a:path>
              </a:pathLst>
            </a:custGeom>
            <a:ln w="3175">
              <a:solidFill>
                <a:srgbClr val="EF3D60"/>
              </a:solidFill>
            </a:ln>
          </p:spPr>
          <p:txBody>
            <a:bodyPr wrap="square" lIns="0" tIns="0" rIns="0" bIns="0" rtlCol="0"/>
            <a:lstStyle/>
            <a:p>
              <a:endParaRPr sz="2968"/>
            </a:p>
          </p:txBody>
        </p:sp>
        <p:sp>
          <p:nvSpPr>
            <p:cNvPr id="41" name="object 39">
              <a:extLst>
                <a:ext uri="{FF2B5EF4-FFF2-40B4-BE49-F238E27FC236}">
                  <a16:creationId xmlns:a16="http://schemas.microsoft.com/office/drawing/2014/main" id="{128930FB-9FE2-6E4F-B703-D4D82C111D10}"/>
                </a:ext>
              </a:extLst>
            </p:cNvPr>
            <p:cNvSpPr/>
            <p:nvPr/>
          </p:nvSpPr>
          <p:spPr>
            <a:xfrm>
              <a:off x="4708279" y="5619084"/>
              <a:ext cx="1747520" cy="0"/>
            </a:xfrm>
            <a:custGeom>
              <a:avLst/>
              <a:gdLst/>
              <a:ahLst/>
              <a:cxnLst/>
              <a:rect l="l" t="t" r="r" b="b"/>
              <a:pathLst>
                <a:path w="1747520">
                  <a:moveTo>
                    <a:pt x="0" y="0"/>
                  </a:moveTo>
                  <a:lnTo>
                    <a:pt x="1746937" y="0"/>
                  </a:lnTo>
                </a:path>
              </a:pathLst>
            </a:custGeom>
            <a:ln w="3175">
              <a:solidFill>
                <a:srgbClr val="EF3D60"/>
              </a:solidFill>
            </a:ln>
          </p:spPr>
          <p:txBody>
            <a:bodyPr wrap="square" lIns="0" tIns="0" rIns="0" bIns="0" rtlCol="0"/>
            <a:lstStyle/>
            <a:p>
              <a:endParaRPr sz="2968"/>
            </a:p>
          </p:txBody>
        </p:sp>
        <p:sp>
          <p:nvSpPr>
            <p:cNvPr id="42" name="object 40">
              <a:extLst>
                <a:ext uri="{FF2B5EF4-FFF2-40B4-BE49-F238E27FC236}">
                  <a16:creationId xmlns:a16="http://schemas.microsoft.com/office/drawing/2014/main" id="{24286FF1-2BFC-674C-89DD-1D204912CF91}"/>
                </a:ext>
              </a:extLst>
            </p:cNvPr>
            <p:cNvSpPr/>
            <p:nvPr/>
          </p:nvSpPr>
          <p:spPr>
            <a:xfrm>
              <a:off x="4708381" y="5615909"/>
              <a:ext cx="1746885" cy="0"/>
            </a:xfrm>
            <a:custGeom>
              <a:avLst/>
              <a:gdLst/>
              <a:ahLst/>
              <a:cxnLst/>
              <a:rect l="l" t="t" r="r" b="b"/>
              <a:pathLst>
                <a:path w="1746885">
                  <a:moveTo>
                    <a:pt x="0" y="0"/>
                  </a:moveTo>
                  <a:lnTo>
                    <a:pt x="1746732" y="0"/>
                  </a:lnTo>
                </a:path>
              </a:pathLst>
            </a:custGeom>
            <a:ln w="5080">
              <a:solidFill>
                <a:srgbClr val="EF3D60"/>
              </a:solidFill>
            </a:ln>
          </p:spPr>
          <p:txBody>
            <a:bodyPr wrap="square" lIns="0" tIns="0" rIns="0" bIns="0" rtlCol="0"/>
            <a:lstStyle/>
            <a:p>
              <a:endParaRPr sz="2968"/>
            </a:p>
          </p:txBody>
        </p:sp>
        <p:sp>
          <p:nvSpPr>
            <p:cNvPr id="43" name="object 41">
              <a:extLst>
                <a:ext uri="{FF2B5EF4-FFF2-40B4-BE49-F238E27FC236}">
                  <a16:creationId xmlns:a16="http://schemas.microsoft.com/office/drawing/2014/main" id="{80002E16-0D84-0C46-8927-864BD91AE723}"/>
                </a:ext>
              </a:extLst>
            </p:cNvPr>
            <p:cNvSpPr/>
            <p:nvPr/>
          </p:nvSpPr>
          <p:spPr>
            <a:xfrm>
              <a:off x="4708302" y="5612099"/>
              <a:ext cx="1746885" cy="0"/>
            </a:xfrm>
            <a:custGeom>
              <a:avLst/>
              <a:gdLst/>
              <a:ahLst/>
              <a:cxnLst/>
              <a:rect l="l" t="t" r="r" b="b"/>
              <a:pathLst>
                <a:path w="1746885">
                  <a:moveTo>
                    <a:pt x="0" y="0"/>
                  </a:moveTo>
                  <a:lnTo>
                    <a:pt x="1746889" y="0"/>
                  </a:lnTo>
                </a:path>
              </a:pathLst>
            </a:custGeom>
            <a:ln w="3175">
              <a:solidFill>
                <a:srgbClr val="EF3D60"/>
              </a:solidFill>
            </a:ln>
          </p:spPr>
          <p:txBody>
            <a:bodyPr wrap="square" lIns="0" tIns="0" rIns="0" bIns="0" rtlCol="0"/>
            <a:lstStyle/>
            <a:p>
              <a:endParaRPr sz="2968"/>
            </a:p>
          </p:txBody>
        </p:sp>
        <p:sp>
          <p:nvSpPr>
            <p:cNvPr id="44" name="object 42">
              <a:extLst>
                <a:ext uri="{FF2B5EF4-FFF2-40B4-BE49-F238E27FC236}">
                  <a16:creationId xmlns:a16="http://schemas.microsoft.com/office/drawing/2014/main" id="{3C455AF0-4C46-A949-BA93-138442B2BDA1}"/>
                </a:ext>
              </a:extLst>
            </p:cNvPr>
            <p:cNvSpPr/>
            <p:nvPr/>
          </p:nvSpPr>
          <p:spPr>
            <a:xfrm>
              <a:off x="4707998" y="5609559"/>
              <a:ext cx="1747520" cy="0"/>
            </a:xfrm>
            <a:custGeom>
              <a:avLst/>
              <a:gdLst/>
              <a:ahLst/>
              <a:cxnLst/>
              <a:rect l="l" t="t" r="r" b="b"/>
              <a:pathLst>
                <a:path w="1747520">
                  <a:moveTo>
                    <a:pt x="0" y="0"/>
                  </a:moveTo>
                  <a:lnTo>
                    <a:pt x="1747498" y="0"/>
                  </a:lnTo>
                </a:path>
              </a:pathLst>
            </a:custGeom>
            <a:ln w="3175">
              <a:solidFill>
                <a:srgbClr val="EF3D60"/>
              </a:solidFill>
            </a:ln>
          </p:spPr>
          <p:txBody>
            <a:bodyPr wrap="square" lIns="0" tIns="0" rIns="0" bIns="0" rtlCol="0"/>
            <a:lstStyle/>
            <a:p>
              <a:endParaRPr sz="2968"/>
            </a:p>
          </p:txBody>
        </p:sp>
        <p:sp>
          <p:nvSpPr>
            <p:cNvPr id="45" name="object 43">
              <a:extLst>
                <a:ext uri="{FF2B5EF4-FFF2-40B4-BE49-F238E27FC236}">
                  <a16:creationId xmlns:a16="http://schemas.microsoft.com/office/drawing/2014/main" id="{F96178FC-CCF4-3B4C-BB15-48D0F70492F5}"/>
                </a:ext>
              </a:extLst>
            </p:cNvPr>
            <p:cNvSpPr/>
            <p:nvPr/>
          </p:nvSpPr>
          <p:spPr>
            <a:xfrm>
              <a:off x="6541434" y="5617368"/>
              <a:ext cx="1520825" cy="317500"/>
            </a:xfrm>
            <a:custGeom>
              <a:avLst/>
              <a:gdLst/>
              <a:ahLst/>
              <a:cxnLst/>
              <a:rect l="l" t="t" r="r" b="b"/>
              <a:pathLst>
                <a:path w="1520825" h="317500">
                  <a:moveTo>
                    <a:pt x="647" y="0"/>
                  </a:moveTo>
                  <a:lnTo>
                    <a:pt x="469" y="25"/>
                  </a:lnTo>
                  <a:lnTo>
                    <a:pt x="406" y="1663"/>
                  </a:lnTo>
                  <a:lnTo>
                    <a:pt x="241" y="3276"/>
                  </a:lnTo>
                  <a:lnTo>
                    <a:pt x="0" y="4864"/>
                  </a:lnTo>
                  <a:lnTo>
                    <a:pt x="47929" y="23126"/>
                  </a:lnTo>
                  <a:lnTo>
                    <a:pt x="1518119" y="317182"/>
                  </a:lnTo>
                  <a:lnTo>
                    <a:pt x="1518310" y="312585"/>
                  </a:lnTo>
                  <a:lnTo>
                    <a:pt x="1519212" y="308165"/>
                  </a:lnTo>
                  <a:lnTo>
                    <a:pt x="1520736" y="304038"/>
                  </a:lnTo>
                  <a:lnTo>
                    <a:pt x="647" y="0"/>
                  </a:lnTo>
                  <a:close/>
                </a:path>
              </a:pathLst>
            </a:custGeom>
            <a:solidFill>
              <a:srgbClr val="EF3D60">
                <a:alpha val="50999"/>
              </a:srgbClr>
            </a:solidFill>
          </p:spPr>
          <p:txBody>
            <a:bodyPr wrap="square" lIns="0" tIns="0" rIns="0" bIns="0" rtlCol="0"/>
            <a:lstStyle/>
            <a:p>
              <a:endParaRPr sz="2968"/>
            </a:p>
          </p:txBody>
        </p:sp>
        <p:sp>
          <p:nvSpPr>
            <p:cNvPr id="46" name="object 44">
              <a:extLst>
                <a:ext uri="{FF2B5EF4-FFF2-40B4-BE49-F238E27FC236}">
                  <a16:creationId xmlns:a16="http://schemas.microsoft.com/office/drawing/2014/main" id="{515B2198-98DB-5D40-84BE-823DF4A3E368}"/>
                </a:ext>
              </a:extLst>
            </p:cNvPr>
            <p:cNvSpPr/>
            <p:nvPr/>
          </p:nvSpPr>
          <p:spPr>
            <a:xfrm>
              <a:off x="6519941" y="5190105"/>
              <a:ext cx="278130" cy="389255"/>
            </a:xfrm>
            <a:custGeom>
              <a:avLst/>
              <a:gdLst/>
              <a:ahLst/>
              <a:cxnLst/>
              <a:rect l="l" t="t" r="r" b="b"/>
              <a:pathLst>
                <a:path w="278129" h="389254">
                  <a:moveTo>
                    <a:pt x="271322" y="0"/>
                  </a:moveTo>
                  <a:lnTo>
                    <a:pt x="0" y="387591"/>
                  </a:lnTo>
                  <a:lnTo>
                    <a:pt x="1993" y="388797"/>
                  </a:lnTo>
                  <a:lnTo>
                    <a:pt x="30441" y="358609"/>
                  </a:lnTo>
                  <a:lnTo>
                    <a:pt x="278117" y="4775"/>
                  </a:lnTo>
                  <a:lnTo>
                    <a:pt x="275691" y="3403"/>
                  </a:lnTo>
                  <a:lnTo>
                    <a:pt x="273418" y="1803"/>
                  </a:lnTo>
                  <a:lnTo>
                    <a:pt x="271322" y="0"/>
                  </a:lnTo>
                  <a:close/>
                </a:path>
              </a:pathLst>
            </a:custGeom>
            <a:solidFill>
              <a:srgbClr val="EF3D60">
                <a:alpha val="50999"/>
              </a:srgbClr>
            </a:solidFill>
          </p:spPr>
          <p:txBody>
            <a:bodyPr wrap="square" lIns="0" tIns="0" rIns="0" bIns="0" rtlCol="0"/>
            <a:lstStyle/>
            <a:p>
              <a:endParaRPr sz="2968"/>
            </a:p>
          </p:txBody>
        </p:sp>
        <p:sp>
          <p:nvSpPr>
            <p:cNvPr id="47" name="object 45">
              <a:extLst>
                <a:ext uri="{FF2B5EF4-FFF2-40B4-BE49-F238E27FC236}">
                  <a16:creationId xmlns:a16="http://schemas.microsoft.com/office/drawing/2014/main" id="{76CDE6CD-0900-1241-9F22-BDD5318EC22A}"/>
                </a:ext>
              </a:extLst>
            </p:cNvPr>
            <p:cNvSpPr/>
            <p:nvPr/>
          </p:nvSpPr>
          <p:spPr>
            <a:xfrm>
              <a:off x="5509207" y="4225395"/>
              <a:ext cx="962660" cy="1357630"/>
            </a:xfrm>
            <a:custGeom>
              <a:avLst/>
              <a:gdLst/>
              <a:ahLst/>
              <a:cxnLst/>
              <a:rect l="l" t="t" r="r" b="b"/>
              <a:pathLst>
                <a:path w="962660" h="1357629">
                  <a:moveTo>
                    <a:pt x="11366" y="0"/>
                  </a:moveTo>
                  <a:lnTo>
                    <a:pt x="8051" y="3263"/>
                  </a:lnTo>
                  <a:lnTo>
                    <a:pt x="4216" y="5994"/>
                  </a:lnTo>
                  <a:lnTo>
                    <a:pt x="0" y="8064"/>
                  </a:lnTo>
                  <a:lnTo>
                    <a:pt x="953998" y="1352270"/>
                  </a:lnTo>
                  <a:lnTo>
                    <a:pt x="960805" y="1357350"/>
                  </a:lnTo>
                  <a:lnTo>
                    <a:pt x="962431" y="1356004"/>
                  </a:lnTo>
                  <a:lnTo>
                    <a:pt x="917752" y="1277150"/>
                  </a:lnTo>
                  <a:lnTo>
                    <a:pt x="11366" y="0"/>
                  </a:lnTo>
                  <a:close/>
                </a:path>
              </a:pathLst>
            </a:custGeom>
            <a:solidFill>
              <a:srgbClr val="EF3D60">
                <a:alpha val="50999"/>
              </a:srgbClr>
            </a:solidFill>
          </p:spPr>
          <p:txBody>
            <a:bodyPr wrap="square" lIns="0" tIns="0" rIns="0" bIns="0" rtlCol="0"/>
            <a:lstStyle/>
            <a:p>
              <a:endParaRPr sz="2968"/>
            </a:p>
          </p:txBody>
        </p:sp>
        <p:sp>
          <p:nvSpPr>
            <p:cNvPr id="48" name="object 46">
              <a:extLst>
                <a:ext uri="{FF2B5EF4-FFF2-40B4-BE49-F238E27FC236}">
                  <a16:creationId xmlns:a16="http://schemas.microsoft.com/office/drawing/2014/main" id="{12AD285B-401E-204C-B5FD-ADCE06C279A5}"/>
                </a:ext>
              </a:extLst>
            </p:cNvPr>
            <p:cNvSpPr/>
            <p:nvPr/>
          </p:nvSpPr>
          <p:spPr>
            <a:xfrm>
              <a:off x="6521936" y="4036605"/>
              <a:ext cx="1466215" cy="1553210"/>
            </a:xfrm>
            <a:custGeom>
              <a:avLst/>
              <a:gdLst/>
              <a:ahLst/>
              <a:cxnLst/>
              <a:rect l="l" t="t" r="r" b="b"/>
              <a:pathLst>
                <a:path w="1466215" h="1553210">
                  <a:moveTo>
                    <a:pt x="370509" y="1149324"/>
                  </a:moveTo>
                  <a:lnTo>
                    <a:pt x="0" y="1542288"/>
                  </a:lnTo>
                  <a:lnTo>
                    <a:pt x="4406" y="1545120"/>
                  </a:lnTo>
                  <a:lnTo>
                    <a:pt x="8280" y="1548726"/>
                  </a:lnTo>
                  <a:lnTo>
                    <a:pt x="11404" y="1552917"/>
                  </a:lnTo>
                  <a:lnTo>
                    <a:pt x="12826" y="1552206"/>
                  </a:lnTo>
                  <a:lnTo>
                    <a:pt x="387565" y="1154747"/>
                  </a:lnTo>
                  <a:lnTo>
                    <a:pt x="370509" y="1149324"/>
                  </a:lnTo>
                  <a:close/>
                </a:path>
                <a:path w="1466215" h="1553210">
                  <a:moveTo>
                    <a:pt x="501637" y="1010246"/>
                  </a:moveTo>
                  <a:lnTo>
                    <a:pt x="378663" y="1140688"/>
                  </a:lnTo>
                  <a:lnTo>
                    <a:pt x="395719" y="1146111"/>
                  </a:lnTo>
                  <a:lnTo>
                    <a:pt x="516254" y="1018273"/>
                  </a:lnTo>
                  <a:lnTo>
                    <a:pt x="501637" y="1010246"/>
                  </a:lnTo>
                  <a:close/>
                </a:path>
                <a:path w="1466215" h="1553210">
                  <a:moveTo>
                    <a:pt x="520420" y="990320"/>
                  </a:moveTo>
                  <a:lnTo>
                    <a:pt x="514654" y="996441"/>
                  </a:lnTo>
                  <a:lnTo>
                    <a:pt x="529259" y="1004468"/>
                  </a:lnTo>
                  <a:lnTo>
                    <a:pt x="534695" y="998702"/>
                  </a:lnTo>
                  <a:lnTo>
                    <a:pt x="520420" y="990320"/>
                  </a:lnTo>
                  <a:close/>
                </a:path>
                <a:path w="1466215" h="1553210">
                  <a:moveTo>
                    <a:pt x="799680" y="694131"/>
                  </a:moveTo>
                  <a:lnTo>
                    <a:pt x="532612" y="977391"/>
                  </a:lnTo>
                  <a:lnTo>
                    <a:pt x="546887" y="985773"/>
                  </a:lnTo>
                  <a:lnTo>
                    <a:pt x="808875" y="707923"/>
                  </a:lnTo>
                  <a:lnTo>
                    <a:pt x="799680" y="694131"/>
                  </a:lnTo>
                  <a:close/>
                </a:path>
                <a:path w="1466215" h="1553210">
                  <a:moveTo>
                    <a:pt x="1454175" y="0"/>
                  </a:moveTo>
                  <a:lnTo>
                    <a:pt x="809205" y="684034"/>
                  </a:lnTo>
                  <a:lnTo>
                    <a:pt x="818400" y="697814"/>
                  </a:lnTo>
                  <a:lnTo>
                    <a:pt x="1465922" y="11061"/>
                  </a:lnTo>
                  <a:lnTo>
                    <a:pt x="1461338" y="8140"/>
                  </a:lnTo>
                  <a:lnTo>
                    <a:pt x="1457350" y="4381"/>
                  </a:lnTo>
                  <a:lnTo>
                    <a:pt x="1454175" y="0"/>
                  </a:lnTo>
                  <a:close/>
                </a:path>
              </a:pathLst>
            </a:custGeom>
            <a:solidFill>
              <a:srgbClr val="EF3D60">
                <a:alpha val="50999"/>
              </a:srgbClr>
            </a:solidFill>
          </p:spPr>
          <p:txBody>
            <a:bodyPr wrap="square" lIns="0" tIns="0" rIns="0" bIns="0" rtlCol="0"/>
            <a:lstStyle/>
            <a:p>
              <a:endParaRPr sz="2968"/>
            </a:p>
          </p:txBody>
        </p:sp>
        <p:sp>
          <p:nvSpPr>
            <p:cNvPr id="49" name="object 47">
              <a:extLst>
                <a:ext uri="{FF2B5EF4-FFF2-40B4-BE49-F238E27FC236}">
                  <a16:creationId xmlns:a16="http://schemas.microsoft.com/office/drawing/2014/main" id="{7CDD81DC-0B15-424E-B24C-A89167B03843}"/>
                </a:ext>
              </a:extLst>
            </p:cNvPr>
            <p:cNvSpPr/>
            <p:nvPr/>
          </p:nvSpPr>
          <p:spPr>
            <a:xfrm>
              <a:off x="6503518" y="4142455"/>
              <a:ext cx="403225" cy="1433830"/>
            </a:xfrm>
            <a:custGeom>
              <a:avLst/>
              <a:gdLst/>
              <a:ahLst/>
              <a:cxnLst/>
              <a:rect l="l" t="t" r="r" b="b"/>
              <a:pathLst>
                <a:path w="403225" h="1433829">
                  <a:moveTo>
                    <a:pt x="192366" y="724496"/>
                  </a:moveTo>
                  <a:lnTo>
                    <a:pt x="0" y="1429892"/>
                  </a:lnTo>
                  <a:lnTo>
                    <a:pt x="4445" y="1430400"/>
                  </a:lnTo>
                  <a:lnTo>
                    <a:pt x="8699" y="1431582"/>
                  </a:lnTo>
                  <a:lnTo>
                    <a:pt x="12623" y="1433334"/>
                  </a:lnTo>
                  <a:lnTo>
                    <a:pt x="204190" y="730986"/>
                  </a:lnTo>
                  <a:lnTo>
                    <a:pt x="192366" y="724496"/>
                  </a:lnTo>
                  <a:close/>
                </a:path>
                <a:path w="403225" h="1433829">
                  <a:moveTo>
                    <a:pt x="202565" y="687082"/>
                  </a:moveTo>
                  <a:lnTo>
                    <a:pt x="197332" y="706272"/>
                  </a:lnTo>
                  <a:lnTo>
                    <a:pt x="209156" y="712762"/>
                  </a:lnTo>
                  <a:lnTo>
                    <a:pt x="214299" y="693966"/>
                  </a:lnTo>
                  <a:lnTo>
                    <a:pt x="202565" y="687082"/>
                  </a:lnTo>
                  <a:close/>
                </a:path>
                <a:path w="403225" h="1433829">
                  <a:moveTo>
                    <a:pt x="389940" y="0"/>
                  </a:moveTo>
                  <a:lnTo>
                    <a:pt x="207289" y="669785"/>
                  </a:lnTo>
                  <a:lnTo>
                    <a:pt x="219011" y="676668"/>
                  </a:lnTo>
                  <a:lnTo>
                    <a:pt x="402628" y="3441"/>
                  </a:lnTo>
                  <a:lnTo>
                    <a:pt x="398157" y="2933"/>
                  </a:lnTo>
                  <a:lnTo>
                    <a:pt x="393890" y="1752"/>
                  </a:lnTo>
                  <a:lnTo>
                    <a:pt x="389940" y="0"/>
                  </a:lnTo>
                  <a:close/>
                </a:path>
              </a:pathLst>
            </a:custGeom>
            <a:solidFill>
              <a:srgbClr val="EF3D60">
                <a:alpha val="50999"/>
              </a:srgbClr>
            </a:solidFill>
          </p:spPr>
          <p:txBody>
            <a:bodyPr wrap="square" lIns="0" tIns="0" rIns="0" bIns="0" rtlCol="0"/>
            <a:lstStyle/>
            <a:p>
              <a:endParaRPr sz="2968"/>
            </a:p>
          </p:txBody>
        </p:sp>
        <p:sp>
          <p:nvSpPr>
            <p:cNvPr id="50" name="object 48">
              <a:extLst>
                <a:ext uri="{FF2B5EF4-FFF2-40B4-BE49-F238E27FC236}">
                  <a16:creationId xmlns:a16="http://schemas.microsoft.com/office/drawing/2014/main" id="{3A6ED520-B656-4742-AB3E-52C8CFB135CA}"/>
                </a:ext>
              </a:extLst>
            </p:cNvPr>
            <p:cNvSpPr/>
            <p:nvPr/>
          </p:nvSpPr>
          <p:spPr>
            <a:xfrm>
              <a:off x="5734648" y="4274338"/>
              <a:ext cx="748665" cy="1307465"/>
            </a:xfrm>
            <a:custGeom>
              <a:avLst/>
              <a:gdLst/>
              <a:ahLst/>
              <a:cxnLst/>
              <a:rect l="l" t="t" r="r" b="b"/>
              <a:pathLst>
                <a:path w="748664" h="1307464">
                  <a:moveTo>
                    <a:pt x="48005" y="91236"/>
                  </a:moveTo>
                  <a:lnTo>
                    <a:pt x="736993" y="1307058"/>
                  </a:lnTo>
                  <a:lnTo>
                    <a:pt x="740422" y="1304340"/>
                  </a:lnTo>
                  <a:lnTo>
                    <a:pt x="744283" y="1302143"/>
                  </a:lnTo>
                  <a:lnTo>
                    <a:pt x="748436" y="1300556"/>
                  </a:lnTo>
                  <a:lnTo>
                    <a:pt x="70053" y="103339"/>
                  </a:lnTo>
                  <a:lnTo>
                    <a:pt x="48005" y="91236"/>
                  </a:lnTo>
                  <a:close/>
                </a:path>
                <a:path w="748664" h="1307464">
                  <a:moveTo>
                    <a:pt x="11493" y="0"/>
                  </a:moveTo>
                  <a:lnTo>
                    <a:pt x="8051" y="2717"/>
                  </a:lnTo>
                  <a:lnTo>
                    <a:pt x="4190" y="4940"/>
                  </a:lnTo>
                  <a:lnTo>
                    <a:pt x="0" y="6527"/>
                  </a:lnTo>
                  <a:lnTo>
                    <a:pt x="30746" y="60794"/>
                  </a:lnTo>
                  <a:lnTo>
                    <a:pt x="52806" y="72898"/>
                  </a:lnTo>
                  <a:lnTo>
                    <a:pt x="11493" y="0"/>
                  </a:lnTo>
                  <a:close/>
                </a:path>
              </a:pathLst>
            </a:custGeom>
            <a:solidFill>
              <a:srgbClr val="EF3D60">
                <a:alpha val="50999"/>
              </a:srgbClr>
            </a:solidFill>
          </p:spPr>
          <p:txBody>
            <a:bodyPr wrap="square" lIns="0" tIns="0" rIns="0" bIns="0" rtlCol="0"/>
            <a:lstStyle/>
            <a:p>
              <a:endParaRPr sz="2968"/>
            </a:p>
          </p:txBody>
        </p:sp>
        <p:sp>
          <p:nvSpPr>
            <p:cNvPr id="51" name="object 49">
              <a:extLst>
                <a:ext uri="{FF2B5EF4-FFF2-40B4-BE49-F238E27FC236}">
                  <a16:creationId xmlns:a16="http://schemas.microsoft.com/office/drawing/2014/main" id="{2F6A6086-ADB5-F34E-886E-8EC341ECAE85}"/>
                </a:ext>
              </a:extLst>
            </p:cNvPr>
            <p:cNvSpPr/>
            <p:nvPr/>
          </p:nvSpPr>
          <p:spPr>
            <a:xfrm>
              <a:off x="4512942" y="4347672"/>
              <a:ext cx="1946275" cy="1252220"/>
            </a:xfrm>
            <a:custGeom>
              <a:avLst/>
              <a:gdLst/>
              <a:ahLst/>
              <a:cxnLst/>
              <a:rect l="l" t="t" r="r" b="b"/>
              <a:pathLst>
                <a:path w="1946275" h="1252220">
                  <a:moveTo>
                    <a:pt x="9182" y="0"/>
                  </a:moveTo>
                  <a:lnTo>
                    <a:pt x="7086" y="5410"/>
                  </a:lnTo>
                  <a:lnTo>
                    <a:pt x="3937" y="10274"/>
                  </a:lnTo>
                  <a:lnTo>
                    <a:pt x="0" y="14389"/>
                  </a:lnTo>
                  <a:lnTo>
                    <a:pt x="1945093" y="1252143"/>
                  </a:lnTo>
                  <a:lnTo>
                    <a:pt x="1945703" y="1250607"/>
                  </a:lnTo>
                  <a:lnTo>
                    <a:pt x="1946059" y="1249857"/>
                  </a:lnTo>
                  <a:lnTo>
                    <a:pt x="1785924" y="1130617"/>
                  </a:lnTo>
                  <a:lnTo>
                    <a:pt x="9182" y="0"/>
                  </a:lnTo>
                  <a:close/>
                </a:path>
              </a:pathLst>
            </a:custGeom>
            <a:solidFill>
              <a:srgbClr val="EF3D60">
                <a:alpha val="50999"/>
              </a:srgbClr>
            </a:solidFill>
          </p:spPr>
          <p:txBody>
            <a:bodyPr wrap="square" lIns="0" tIns="0" rIns="0" bIns="0" rtlCol="0"/>
            <a:lstStyle/>
            <a:p>
              <a:endParaRPr sz="2968"/>
            </a:p>
          </p:txBody>
        </p:sp>
        <p:sp>
          <p:nvSpPr>
            <p:cNvPr id="52" name="object 50">
              <a:extLst>
                <a:ext uri="{FF2B5EF4-FFF2-40B4-BE49-F238E27FC236}">
                  <a16:creationId xmlns:a16="http://schemas.microsoft.com/office/drawing/2014/main" id="{6B1F75E1-DA17-C14F-8E50-630E8DE20CA7}"/>
                </a:ext>
              </a:extLst>
            </p:cNvPr>
            <p:cNvSpPr/>
            <p:nvPr/>
          </p:nvSpPr>
          <p:spPr>
            <a:xfrm>
              <a:off x="4372583" y="4029037"/>
              <a:ext cx="2098040" cy="1569085"/>
            </a:xfrm>
            <a:custGeom>
              <a:avLst/>
              <a:gdLst/>
              <a:ahLst/>
              <a:cxnLst/>
              <a:rect l="l" t="t" r="r" b="b"/>
              <a:pathLst>
                <a:path w="2098040" h="1569085">
                  <a:moveTo>
                    <a:pt x="11074" y="0"/>
                  </a:moveTo>
                  <a:lnTo>
                    <a:pt x="8483" y="5715"/>
                  </a:lnTo>
                  <a:lnTo>
                    <a:pt x="4673" y="10756"/>
                  </a:lnTo>
                  <a:lnTo>
                    <a:pt x="0" y="14820"/>
                  </a:lnTo>
                  <a:lnTo>
                    <a:pt x="2086419" y="1568500"/>
                  </a:lnTo>
                  <a:lnTo>
                    <a:pt x="2088997" y="1562798"/>
                  </a:lnTo>
                  <a:lnTo>
                    <a:pt x="2092769" y="1557769"/>
                  </a:lnTo>
                  <a:lnTo>
                    <a:pt x="2097430" y="1553705"/>
                  </a:lnTo>
                  <a:lnTo>
                    <a:pt x="11074" y="0"/>
                  </a:lnTo>
                  <a:close/>
                </a:path>
              </a:pathLst>
            </a:custGeom>
            <a:solidFill>
              <a:srgbClr val="EF3D60">
                <a:alpha val="50999"/>
              </a:srgbClr>
            </a:solidFill>
          </p:spPr>
          <p:txBody>
            <a:bodyPr wrap="square" lIns="0" tIns="0" rIns="0" bIns="0" rtlCol="0"/>
            <a:lstStyle/>
            <a:p>
              <a:endParaRPr sz="2968"/>
            </a:p>
          </p:txBody>
        </p:sp>
        <p:sp>
          <p:nvSpPr>
            <p:cNvPr id="53" name="object 51">
              <a:extLst>
                <a:ext uri="{FF2B5EF4-FFF2-40B4-BE49-F238E27FC236}">
                  <a16:creationId xmlns:a16="http://schemas.microsoft.com/office/drawing/2014/main" id="{6FCADF55-F3E5-E843-8388-01DE9D033EC2}"/>
                </a:ext>
              </a:extLst>
            </p:cNvPr>
            <p:cNvSpPr/>
            <p:nvPr/>
          </p:nvSpPr>
          <p:spPr>
            <a:xfrm>
              <a:off x="6535056" y="5622235"/>
              <a:ext cx="2333625" cy="903605"/>
            </a:xfrm>
            <a:custGeom>
              <a:avLst/>
              <a:gdLst/>
              <a:ahLst/>
              <a:cxnLst/>
              <a:rect l="l" t="t" r="r" b="b"/>
              <a:pathLst>
                <a:path w="2333625" h="903604">
                  <a:moveTo>
                    <a:pt x="6375" y="0"/>
                  </a:moveTo>
                  <a:lnTo>
                    <a:pt x="5422" y="6095"/>
                  </a:lnTo>
                  <a:lnTo>
                    <a:pt x="3200" y="11772"/>
                  </a:lnTo>
                  <a:lnTo>
                    <a:pt x="0" y="16738"/>
                  </a:lnTo>
                  <a:lnTo>
                    <a:pt x="2327147" y="903312"/>
                  </a:lnTo>
                  <a:lnTo>
                    <a:pt x="2328100" y="897204"/>
                  </a:lnTo>
                  <a:lnTo>
                    <a:pt x="2330310" y="891527"/>
                  </a:lnTo>
                  <a:lnTo>
                    <a:pt x="2333523" y="886548"/>
                  </a:lnTo>
                  <a:lnTo>
                    <a:pt x="6375" y="0"/>
                  </a:lnTo>
                  <a:close/>
                </a:path>
              </a:pathLst>
            </a:custGeom>
            <a:solidFill>
              <a:srgbClr val="EF3D60">
                <a:alpha val="50999"/>
              </a:srgbClr>
            </a:solidFill>
          </p:spPr>
          <p:txBody>
            <a:bodyPr wrap="square" lIns="0" tIns="0" rIns="0" bIns="0" rtlCol="0"/>
            <a:lstStyle/>
            <a:p>
              <a:endParaRPr sz="2968"/>
            </a:p>
          </p:txBody>
        </p:sp>
        <p:sp>
          <p:nvSpPr>
            <p:cNvPr id="54" name="object 52">
              <a:extLst>
                <a:ext uri="{FF2B5EF4-FFF2-40B4-BE49-F238E27FC236}">
                  <a16:creationId xmlns:a16="http://schemas.microsoft.com/office/drawing/2014/main" id="{D954D112-B03B-F945-8FCB-36D4ED432CBB}"/>
                </a:ext>
              </a:extLst>
            </p:cNvPr>
            <p:cNvSpPr/>
            <p:nvPr/>
          </p:nvSpPr>
          <p:spPr>
            <a:xfrm>
              <a:off x="6548594" y="5296577"/>
              <a:ext cx="1490980" cy="303530"/>
            </a:xfrm>
            <a:custGeom>
              <a:avLst/>
              <a:gdLst/>
              <a:ahLst/>
              <a:cxnLst/>
              <a:rect l="l" t="t" r="r" b="b"/>
              <a:pathLst>
                <a:path w="1490979" h="303529">
                  <a:moveTo>
                    <a:pt x="1001712" y="98679"/>
                  </a:moveTo>
                  <a:lnTo>
                    <a:pt x="5549" y="300824"/>
                  </a:lnTo>
                  <a:lnTo>
                    <a:pt x="0" y="303390"/>
                  </a:lnTo>
                  <a:lnTo>
                    <a:pt x="213487" y="272262"/>
                  </a:lnTo>
                  <a:lnTo>
                    <a:pt x="1027899" y="107010"/>
                  </a:lnTo>
                  <a:lnTo>
                    <a:pt x="1001712" y="98679"/>
                  </a:lnTo>
                  <a:close/>
                </a:path>
                <a:path w="1490979" h="303529">
                  <a:moveTo>
                    <a:pt x="1080465" y="82702"/>
                  </a:moveTo>
                  <a:lnTo>
                    <a:pt x="1023264" y="94310"/>
                  </a:lnTo>
                  <a:lnTo>
                    <a:pt x="1049451" y="102641"/>
                  </a:lnTo>
                  <a:lnTo>
                    <a:pt x="1098613" y="92671"/>
                  </a:lnTo>
                  <a:lnTo>
                    <a:pt x="1080465" y="82702"/>
                  </a:lnTo>
                  <a:close/>
                </a:path>
                <a:path w="1490979" h="303529">
                  <a:moveTo>
                    <a:pt x="1190472" y="60375"/>
                  </a:moveTo>
                  <a:lnTo>
                    <a:pt x="1115999" y="75488"/>
                  </a:lnTo>
                  <a:lnTo>
                    <a:pt x="1133271" y="85636"/>
                  </a:lnTo>
                  <a:lnTo>
                    <a:pt x="1198486" y="72402"/>
                  </a:lnTo>
                  <a:lnTo>
                    <a:pt x="1190472" y="60375"/>
                  </a:lnTo>
                  <a:close/>
                </a:path>
                <a:path w="1490979" h="303529">
                  <a:moveTo>
                    <a:pt x="1290561" y="40068"/>
                  </a:moveTo>
                  <a:lnTo>
                    <a:pt x="1204823" y="57467"/>
                  </a:lnTo>
                  <a:lnTo>
                    <a:pt x="1212837" y="69481"/>
                  </a:lnTo>
                  <a:lnTo>
                    <a:pt x="1288808" y="54076"/>
                  </a:lnTo>
                  <a:lnTo>
                    <a:pt x="1290561" y="40068"/>
                  </a:lnTo>
                  <a:close/>
                </a:path>
                <a:path w="1490979" h="303529">
                  <a:moveTo>
                    <a:pt x="1314869" y="35128"/>
                  </a:moveTo>
                  <a:lnTo>
                    <a:pt x="1303693" y="37401"/>
                  </a:lnTo>
                  <a:lnTo>
                    <a:pt x="1301953" y="51409"/>
                  </a:lnTo>
                  <a:lnTo>
                    <a:pt x="1310347" y="49707"/>
                  </a:lnTo>
                  <a:lnTo>
                    <a:pt x="1314869" y="35128"/>
                  </a:lnTo>
                  <a:close/>
                </a:path>
                <a:path w="1490979" h="303529">
                  <a:moveTo>
                    <a:pt x="1338465" y="30340"/>
                  </a:moveTo>
                  <a:lnTo>
                    <a:pt x="1335633" y="30924"/>
                  </a:lnTo>
                  <a:lnTo>
                    <a:pt x="1331125" y="45491"/>
                  </a:lnTo>
                  <a:lnTo>
                    <a:pt x="1332141" y="45275"/>
                  </a:lnTo>
                  <a:lnTo>
                    <a:pt x="1338465" y="30340"/>
                  </a:lnTo>
                  <a:close/>
                </a:path>
                <a:path w="1490979" h="303529">
                  <a:moveTo>
                    <a:pt x="1356004" y="26784"/>
                  </a:moveTo>
                  <a:lnTo>
                    <a:pt x="1348854" y="28232"/>
                  </a:lnTo>
                  <a:lnTo>
                    <a:pt x="1342542" y="43167"/>
                  </a:lnTo>
                  <a:lnTo>
                    <a:pt x="1347876" y="42087"/>
                  </a:lnTo>
                  <a:lnTo>
                    <a:pt x="1356004" y="26784"/>
                  </a:lnTo>
                  <a:close/>
                </a:path>
                <a:path w="1490979" h="303529">
                  <a:moveTo>
                    <a:pt x="1409192" y="15989"/>
                  </a:moveTo>
                  <a:lnTo>
                    <a:pt x="1368196" y="24307"/>
                  </a:lnTo>
                  <a:lnTo>
                    <a:pt x="1360068" y="39611"/>
                  </a:lnTo>
                  <a:lnTo>
                    <a:pt x="1395285" y="32473"/>
                  </a:lnTo>
                  <a:lnTo>
                    <a:pt x="1409192" y="15989"/>
                  </a:lnTo>
                  <a:close/>
                </a:path>
                <a:path w="1490979" h="303529">
                  <a:moveTo>
                    <a:pt x="1488008" y="0"/>
                  </a:moveTo>
                  <a:lnTo>
                    <a:pt x="1444205" y="8890"/>
                  </a:lnTo>
                  <a:lnTo>
                    <a:pt x="1429334" y="25565"/>
                  </a:lnTo>
                  <a:lnTo>
                    <a:pt x="1490662" y="13119"/>
                  </a:lnTo>
                  <a:lnTo>
                    <a:pt x="1489125" y="9004"/>
                  </a:lnTo>
                  <a:lnTo>
                    <a:pt x="1488211" y="4597"/>
                  </a:lnTo>
                  <a:lnTo>
                    <a:pt x="1488008" y="0"/>
                  </a:lnTo>
                  <a:close/>
                </a:path>
              </a:pathLst>
            </a:custGeom>
            <a:solidFill>
              <a:srgbClr val="EF3D60">
                <a:alpha val="50999"/>
              </a:srgbClr>
            </a:solidFill>
          </p:spPr>
          <p:txBody>
            <a:bodyPr wrap="square" lIns="0" tIns="0" rIns="0" bIns="0" rtlCol="0"/>
            <a:lstStyle/>
            <a:p>
              <a:endParaRPr sz="2968"/>
            </a:p>
          </p:txBody>
        </p:sp>
        <p:sp>
          <p:nvSpPr>
            <p:cNvPr id="55" name="object 53">
              <a:extLst>
                <a:ext uri="{FF2B5EF4-FFF2-40B4-BE49-F238E27FC236}">
                  <a16:creationId xmlns:a16="http://schemas.microsoft.com/office/drawing/2014/main" id="{F8F7ABDC-F8D8-AF42-BC95-2D9B417B33C7}"/>
                </a:ext>
              </a:extLst>
            </p:cNvPr>
            <p:cNvSpPr/>
            <p:nvPr/>
          </p:nvSpPr>
          <p:spPr>
            <a:xfrm>
              <a:off x="6544419" y="4893776"/>
              <a:ext cx="1499870" cy="707390"/>
            </a:xfrm>
            <a:custGeom>
              <a:avLst/>
              <a:gdLst/>
              <a:ahLst/>
              <a:cxnLst/>
              <a:rect l="l" t="t" r="r" b="b"/>
              <a:pathLst>
                <a:path w="1499870" h="707389">
                  <a:moveTo>
                    <a:pt x="653910" y="389483"/>
                  </a:moveTo>
                  <a:lnTo>
                    <a:pt x="327533" y="540842"/>
                  </a:lnTo>
                  <a:lnTo>
                    <a:pt x="0" y="706805"/>
                  </a:lnTo>
                  <a:lnTo>
                    <a:pt x="4178" y="706196"/>
                  </a:lnTo>
                  <a:lnTo>
                    <a:pt x="673582" y="395744"/>
                  </a:lnTo>
                  <a:lnTo>
                    <a:pt x="653910" y="389483"/>
                  </a:lnTo>
                  <a:close/>
                </a:path>
                <a:path w="1499870" h="707389">
                  <a:moveTo>
                    <a:pt x="792594" y="325170"/>
                  </a:moveTo>
                  <a:lnTo>
                    <a:pt x="668274" y="382816"/>
                  </a:lnTo>
                  <a:lnTo>
                    <a:pt x="687946" y="389089"/>
                  </a:lnTo>
                  <a:lnTo>
                    <a:pt x="807783" y="333502"/>
                  </a:lnTo>
                  <a:lnTo>
                    <a:pt x="792594" y="325170"/>
                  </a:lnTo>
                  <a:close/>
                </a:path>
                <a:path w="1499870" h="707389">
                  <a:moveTo>
                    <a:pt x="1029423" y="215328"/>
                  </a:moveTo>
                  <a:lnTo>
                    <a:pt x="829856" y="307886"/>
                  </a:lnTo>
                  <a:lnTo>
                    <a:pt x="844486" y="316484"/>
                  </a:lnTo>
                  <a:lnTo>
                    <a:pt x="1037259" y="227088"/>
                  </a:lnTo>
                  <a:lnTo>
                    <a:pt x="1029423" y="215328"/>
                  </a:lnTo>
                  <a:close/>
                </a:path>
                <a:path w="1499870" h="707389">
                  <a:moveTo>
                    <a:pt x="1341247" y="70726"/>
                  </a:moveTo>
                  <a:lnTo>
                    <a:pt x="1041869" y="209562"/>
                  </a:lnTo>
                  <a:lnTo>
                    <a:pt x="1049693" y="221322"/>
                  </a:lnTo>
                  <a:lnTo>
                    <a:pt x="1339215" y="87045"/>
                  </a:lnTo>
                  <a:lnTo>
                    <a:pt x="1341247" y="70726"/>
                  </a:lnTo>
                  <a:close/>
                </a:path>
                <a:path w="1499870" h="707389">
                  <a:moveTo>
                    <a:pt x="1448130" y="21145"/>
                  </a:moveTo>
                  <a:lnTo>
                    <a:pt x="1354848" y="64414"/>
                  </a:lnTo>
                  <a:lnTo>
                    <a:pt x="1352816" y="80746"/>
                  </a:lnTo>
                  <a:lnTo>
                    <a:pt x="1442567" y="39116"/>
                  </a:lnTo>
                  <a:lnTo>
                    <a:pt x="1448130" y="21145"/>
                  </a:lnTo>
                  <a:close/>
                </a:path>
                <a:path w="1499870" h="707389">
                  <a:moveTo>
                    <a:pt x="1493735" y="0"/>
                  </a:moveTo>
                  <a:lnTo>
                    <a:pt x="1470863" y="10604"/>
                  </a:lnTo>
                  <a:lnTo>
                    <a:pt x="1465300" y="28575"/>
                  </a:lnTo>
                  <a:lnTo>
                    <a:pt x="1499616" y="12661"/>
                  </a:lnTo>
                  <a:lnTo>
                    <a:pt x="1497012" y="8839"/>
                  </a:lnTo>
                  <a:lnTo>
                    <a:pt x="1495005" y="4572"/>
                  </a:lnTo>
                  <a:lnTo>
                    <a:pt x="1493735" y="0"/>
                  </a:lnTo>
                  <a:close/>
                </a:path>
              </a:pathLst>
            </a:custGeom>
            <a:solidFill>
              <a:srgbClr val="EF3D60">
                <a:alpha val="50999"/>
              </a:srgbClr>
            </a:solidFill>
          </p:spPr>
          <p:txBody>
            <a:bodyPr wrap="square" lIns="0" tIns="0" rIns="0" bIns="0" rtlCol="0"/>
            <a:lstStyle/>
            <a:p>
              <a:endParaRPr sz="2968"/>
            </a:p>
          </p:txBody>
        </p:sp>
        <p:sp>
          <p:nvSpPr>
            <p:cNvPr id="56" name="object 54">
              <a:extLst>
                <a:ext uri="{FF2B5EF4-FFF2-40B4-BE49-F238E27FC236}">
                  <a16:creationId xmlns:a16="http://schemas.microsoft.com/office/drawing/2014/main" id="{24B1C918-3F76-8F48-B097-FF331981D9B5}"/>
                </a:ext>
              </a:extLst>
            </p:cNvPr>
            <p:cNvSpPr/>
            <p:nvPr/>
          </p:nvSpPr>
          <p:spPr>
            <a:xfrm>
              <a:off x="6533348" y="4757251"/>
              <a:ext cx="1649730" cy="844550"/>
            </a:xfrm>
            <a:custGeom>
              <a:avLst/>
              <a:gdLst/>
              <a:ahLst/>
              <a:cxnLst/>
              <a:rect l="l" t="t" r="r" b="b"/>
              <a:pathLst>
                <a:path w="1649729" h="844550">
                  <a:moveTo>
                    <a:pt x="627824" y="514184"/>
                  </a:moveTo>
                  <a:lnTo>
                    <a:pt x="0" y="832281"/>
                  </a:lnTo>
                  <a:lnTo>
                    <a:pt x="2641" y="835812"/>
                  </a:lnTo>
                  <a:lnTo>
                    <a:pt x="4749" y="839774"/>
                  </a:lnTo>
                  <a:lnTo>
                    <a:pt x="6235" y="844041"/>
                  </a:lnTo>
                  <a:lnTo>
                    <a:pt x="11074" y="843330"/>
                  </a:lnTo>
                  <a:lnTo>
                    <a:pt x="648004" y="520611"/>
                  </a:lnTo>
                  <a:lnTo>
                    <a:pt x="627824" y="514184"/>
                  </a:lnTo>
                  <a:close/>
                </a:path>
                <a:path w="1649729" h="844550">
                  <a:moveTo>
                    <a:pt x="768997" y="442658"/>
                  </a:moveTo>
                  <a:lnTo>
                    <a:pt x="641438" y="507288"/>
                  </a:lnTo>
                  <a:lnTo>
                    <a:pt x="661619" y="513702"/>
                  </a:lnTo>
                  <a:lnTo>
                    <a:pt x="784758" y="451319"/>
                  </a:lnTo>
                  <a:lnTo>
                    <a:pt x="768997" y="442658"/>
                  </a:lnTo>
                  <a:close/>
                </a:path>
                <a:path w="1649729" h="844550">
                  <a:moveTo>
                    <a:pt x="1017193" y="316903"/>
                  </a:moveTo>
                  <a:lnTo>
                    <a:pt x="805992" y="423913"/>
                  </a:lnTo>
                  <a:lnTo>
                    <a:pt x="821207" y="432841"/>
                  </a:lnTo>
                  <a:lnTo>
                    <a:pt x="1025486" y="329349"/>
                  </a:lnTo>
                  <a:lnTo>
                    <a:pt x="1017193" y="316903"/>
                  </a:lnTo>
                  <a:close/>
                </a:path>
                <a:path w="1649729" h="844550">
                  <a:moveTo>
                    <a:pt x="1360347" y="143040"/>
                  </a:moveTo>
                  <a:lnTo>
                    <a:pt x="1029373" y="310743"/>
                  </a:lnTo>
                  <a:lnTo>
                    <a:pt x="1037653" y="323176"/>
                  </a:lnTo>
                  <a:lnTo>
                    <a:pt x="1358138" y="160794"/>
                  </a:lnTo>
                  <a:lnTo>
                    <a:pt x="1360347" y="143040"/>
                  </a:lnTo>
                  <a:close/>
                </a:path>
                <a:path w="1649729" h="844550">
                  <a:moveTo>
                    <a:pt x="1482991" y="80911"/>
                  </a:moveTo>
                  <a:lnTo>
                    <a:pt x="1374025" y="136118"/>
                  </a:lnTo>
                  <a:lnTo>
                    <a:pt x="1371803" y="153873"/>
                  </a:lnTo>
                  <a:lnTo>
                    <a:pt x="1476870" y="100634"/>
                  </a:lnTo>
                  <a:lnTo>
                    <a:pt x="1482991" y="80911"/>
                  </a:lnTo>
                  <a:close/>
                </a:path>
                <a:path w="1649729" h="844550">
                  <a:moveTo>
                    <a:pt x="1642681" y="0"/>
                  </a:moveTo>
                  <a:lnTo>
                    <a:pt x="1506067" y="69214"/>
                  </a:lnTo>
                  <a:lnTo>
                    <a:pt x="1499958" y="88938"/>
                  </a:lnTo>
                  <a:lnTo>
                    <a:pt x="1649387" y="13233"/>
                  </a:lnTo>
                  <a:lnTo>
                    <a:pt x="1646440" y="9283"/>
                  </a:lnTo>
                  <a:lnTo>
                    <a:pt x="1644154" y="4825"/>
                  </a:lnTo>
                  <a:lnTo>
                    <a:pt x="1642681" y="0"/>
                  </a:lnTo>
                  <a:close/>
                </a:path>
              </a:pathLst>
            </a:custGeom>
            <a:solidFill>
              <a:srgbClr val="EF3D60">
                <a:alpha val="50999"/>
              </a:srgbClr>
            </a:solidFill>
          </p:spPr>
          <p:txBody>
            <a:bodyPr wrap="square" lIns="0" tIns="0" rIns="0" bIns="0" rtlCol="0"/>
            <a:lstStyle/>
            <a:p>
              <a:endParaRPr sz="2968"/>
            </a:p>
          </p:txBody>
        </p:sp>
        <p:sp>
          <p:nvSpPr>
            <p:cNvPr id="57" name="object 55">
              <a:extLst>
                <a:ext uri="{FF2B5EF4-FFF2-40B4-BE49-F238E27FC236}">
                  <a16:creationId xmlns:a16="http://schemas.microsoft.com/office/drawing/2014/main" id="{7A0AA8A0-FE0C-1449-82E0-05DEB2EDC2A6}"/>
                </a:ext>
              </a:extLst>
            </p:cNvPr>
            <p:cNvSpPr/>
            <p:nvPr/>
          </p:nvSpPr>
          <p:spPr>
            <a:xfrm>
              <a:off x="6539578" y="5292697"/>
              <a:ext cx="2118360" cy="325120"/>
            </a:xfrm>
            <a:custGeom>
              <a:avLst/>
              <a:gdLst/>
              <a:ahLst/>
              <a:cxnLst/>
              <a:rect l="l" t="t" r="r" b="b"/>
              <a:pathLst>
                <a:path w="2118359" h="325120">
                  <a:moveTo>
                    <a:pt x="10655" y="323481"/>
                  </a:moveTo>
                  <a:lnTo>
                    <a:pt x="2349" y="324345"/>
                  </a:lnTo>
                  <a:lnTo>
                    <a:pt x="2324" y="324700"/>
                  </a:lnTo>
                  <a:lnTo>
                    <a:pt x="10655" y="323481"/>
                  </a:lnTo>
                  <a:close/>
                </a:path>
                <a:path w="2118359" h="325120">
                  <a:moveTo>
                    <a:pt x="1137056" y="142760"/>
                  </a:moveTo>
                  <a:lnTo>
                    <a:pt x="0" y="308584"/>
                  </a:lnTo>
                  <a:lnTo>
                    <a:pt x="431" y="309841"/>
                  </a:lnTo>
                  <a:lnTo>
                    <a:pt x="812" y="311111"/>
                  </a:lnTo>
                  <a:lnTo>
                    <a:pt x="1130" y="312407"/>
                  </a:lnTo>
                  <a:lnTo>
                    <a:pt x="295046" y="282003"/>
                  </a:lnTo>
                  <a:lnTo>
                    <a:pt x="1172502" y="154038"/>
                  </a:lnTo>
                  <a:lnTo>
                    <a:pt x="1137056" y="142760"/>
                  </a:lnTo>
                  <a:close/>
                </a:path>
                <a:path w="2118359" h="325120">
                  <a:moveTo>
                    <a:pt x="1180312" y="136448"/>
                  </a:moveTo>
                  <a:lnTo>
                    <a:pt x="1161262" y="139230"/>
                  </a:lnTo>
                  <a:lnTo>
                    <a:pt x="1196708" y="150507"/>
                  </a:lnTo>
                  <a:lnTo>
                    <a:pt x="1203985" y="149453"/>
                  </a:lnTo>
                  <a:lnTo>
                    <a:pt x="1180312" y="136448"/>
                  </a:lnTo>
                  <a:close/>
                </a:path>
                <a:path w="2118359" h="325120">
                  <a:moveTo>
                    <a:pt x="1241653" y="127507"/>
                  </a:moveTo>
                  <a:lnTo>
                    <a:pt x="1213904" y="131546"/>
                  </a:lnTo>
                  <a:lnTo>
                    <a:pt x="1236357" y="144729"/>
                  </a:lnTo>
                  <a:lnTo>
                    <a:pt x="1251635" y="142493"/>
                  </a:lnTo>
                  <a:lnTo>
                    <a:pt x="1241653" y="127507"/>
                  </a:lnTo>
                  <a:close/>
                </a:path>
                <a:path w="2118359" h="325120">
                  <a:moveTo>
                    <a:pt x="1290015" y="120446"/>
                  </a:moveTo>
                  <a:lnTo>
                    <a:pt x="1256499" y="125336"/>
                  </a:lnTo>
                  <a:lnTo>
                    <a:pt x="1266507" y="140334"/>
                  </a:lnTo>
                  <a:lnTo>
                    <a:pt x="1287919" y="137210"/>
                  </a:lnTo>
                  <a:lnTo>
                    <a:pt x="1290015" y="120446"/>
                  </a:lnTo>
                  <a:close/>
                </a:path>
                <a:path w="2118359" h="325120">
                  <a:moveTo>
                    <a:pt x="1339418" y="113245"/>
                  </a:moveTo>
                  <a:lnTo>
                    <a:pt x="1331417" y="114414"/>
                  </a:lnTo>
                  <a:lnTo>
                    <a:pt x="1321943" y="132245"/>
                  </a:lnTo>
                  <a:lnTo>
                    <a:pt x="1323594" y="132003"/>
                  </a:lnTo>
                  <a:lnTo>
                    <a:pt x="1339418" y="113245"/>
                  </a:lnTo>
                  <a:close/>
                </a:path>
                <a:path w="2118359" h="325120">
                  <a:moveTo>
                    <a:pt x="1391831" y="105600"/>
                  </a:moveTo>
                  <a:lnTo>
                    <a:pt x="1367231" y="109194"/>
                  </a:lnTo>
                  <a:lnTo>
                    <a:pt x="1350365" y="128104"/>
                  </a:lnTo>
                  <a:lnTo>
                    <a:pt x="1363548" y="126174"/>
                  </a:lnTo>
                  <a:lnTo>
                    <a:pt x="1391831" y="105600"/>
                  </a:lnTo>
                  <a:close/>
                </a:path>
                <a:path w="2118359" h="325120">
                  <a:moveTo>
                    <a:pt x="2115934" y="0"/>
                  </a:moveTo>
                  <a:lnTo>
                    <a:pt x="1406956" y="103403"/>
                  </a:lnTo>
                  <a:lnTo>
                    <a:pt x="1378673" y="123964"/>
                  </a:lnTo>
                  <a:lnTo>
                    <a:pt x="1954263" y="40030"/>
                  </a:lnTo>
                  <a:lnTo>
                    <a:pt x="2116074" y="5956"/>
                  </a:lnTo>
                  <a:lnTo>
                    <a:pt x="2115959" y="4622"/>
                  </a:lnTo>
                  <a:lnTo>
                    <a:pt x="2115934" y="0"/>
                  </a:lnTo>
                  <a:close/>
                </a:path>
                <a:path w="2118359" h="325120">
                  <a:moveTo>
                    <a:pt x="2118106" y="15633"/>
                  </a:moveTo>
                  <a:lnTo>
                    <a:pt x="2110422" y="17259"/>
                  </a:lnTo>
                  <a:lnTo>
                    <a:pt x="2118258" y="16103"/>
                  </a:lnTo>
                  <a:lnTo>
                    <a:pt x="2118106" y="15633"/>
                  </a:lnTo>
                  <a:close/>
                </a:path>
              </a:pathLst>
            </a:custGeom>
            <a:solidFill>
              <a:srgbClr val="EF3D60">
                <a:alpha val="50999"/>
              </a:srgbClr>
            </a:solidFill>
          </p:spPr>
          <p:txBody>
            <a:bodyPr wrap="square" lIns="0" tIns="0" rIns="0" bIns="0" rtlCol="0"/>
            <a:lstStyle/>
            <a:p>
              <a:endParaRPr sz="2968"/>
            </a:p>
          </p:txBody>
        </p:sp>
        <p:sp>
          <p:nvSpPr>
            <p:cNvPr id="58" name="object 56">
              <a:extLst>
                <a:ext uri="{FF2B5EF4-FFF2-40B4-BE49-F238E27FC236}">
                  <a16:creationId xmlns:a16="http://schemas.microsoft.com/office/drawing/2014/main" id="{85846941-0F74-6244-A4DC-F34FBDDC1D4E}"/>
                </a:ext>
              </a:extLst>
            </p:cNvPr>
            <p:cNvSpPr/>
            <p:nvPr/>
          </p:nvSpPr>
          <p:spPr>
            <a:xfrm>
              <a:off x="6540704" y="5476444"/>
              <a:ext cx="1245235" cy="140970"/>
            </a:xfrm>
            <a:custGeom>
              <a:avLst/>
              <a:gdLst/>
              <a:ahLst/>
              <a:cxnLst/>
              <a:rect l="l" t="t" r="r" b="b"/>
              <a:pathLst>
                <a:path w="1245234" h="140970">
                  <a:moveTo>
                    <a:pt x="1243812" y="0"/>
                  </a:moveTo>
                  <a:lnTo>
                    <a:pt x="0" y="128663"/>
                  </a:lnTo>
                  <a:lnTo>
                    <a:pt x="812" y="131991"/>
                  </a:lnTo>
                  <a:lnTo>
                    <a:pt x="1244" y="135458"/>
                  </a:lnTo>
                  <a:lnTo>
                    <a:pt x="1219" y="140588"/>
                  </a:lnTo>
                  <a:lnTo>
                    <a:pt x="1245044" y="11925"/>
                  </a:lnTo>
                  <a:lnTo>
                    <a:pt x="1244218" y="8597"/>
                  </a:lnTo>
                  <a:lnTo>
                    <a:pt x="1243787" y="5105"/>
                  </a:lnTo>
                  <a:lnTo>
                    <a:pt x="1243812" y="0"/>
                  </a:lnTo>
                  <a:close/>
                </a:path>
              </a:pathLst>
            </a:custGeom>
            <a:solidFill>
              <a:srgbClr val="EF3D60">
                <a:alpha val="50999"/>
              </a:srgbClr>
            </a:solidFill>
          </p:spPr>
          <p:txBody>
            <a:bodyPr wrap="square" lIns="0" tIns="0" rIns="0" bIns="0" rtlCol="0"/>
            <a:lstStyle/>
            <a:p>
              <a:endParaRPr sz="2968"/>
            </a:p>
          </p:txBody>
        </p:sp>
        <p:sp>
          <p:nvSpPr>
            <p:cNvPr id="59" name="object 57">
              <a:extLst>
                <a:ext uri="{FF2B5EF4-FFF2-40B4-BE49-F238E27FC236}">
                  <a16:creationId xmlns:a16="http://schemas.microsoft.com/office/drawing/2014/main" id="{54791D6D-CC9E-EB41-9890-599CCA3A6DA5}"/>
                </a:ext>
              </a:extLst>
            </p:cNvPr>
            <p:cNvSpPr/>
            <p:nvPr/>
          </p:nvSpPr>
          <p:spPr>
            <a:xfrm>
              <a:off x="7867216" y="5494141"/>
              <a:ext cx="1440815" cy="884555"/>
            </a:xfrm>
            <a:custGeom>
              <a:avLst/>
              <a:gdLst/>
              <a:ahLst/>
              <a:cxnLst/>
              <a:rect l="l" t="t" r="r" b="b"/>
              <a:pathLst>
                <a:path w="1440815" h="884554">
                  <a:moveTo>
                    <a:pt x="1339024" y="810945"/>
                  </a:moveTo>
                  <a:lnTo>
                    <a:pt x="1327226" y="820267"/>
                  </a:lnTo>
                  <a:lnTo>
                    <a:pt x="1433093" y="884428"/>
                  </a:lnTo>
                  <a:lnTo>
                    <a:pt x="1434858" y="880008"/>
                  </a:lnTo>
                  <a:lnTo>
                    <a:pt x="1437347" y="875944"/>
                  </a:lnTo>
                  <a:lnTo>
                    <a:pt x="1440395" y="872375"/>
                  </a:lnTo>
                  <a:lnTo>
                    <a:pt x="1339024" y="810945"/>
                  </a:lnTo>
                  <a:close/>
                </a:path>
                <a:path w="1440815" h="884554">
                  <a:moveTo>
                    <a:pt x="1204683" y="729526"/>
                  </a:moveTo>
                  <a:lnTo>
                    <a:pt x="1198206" y="742073"/>
                  </a:lnTo>
                  <a:lnTo>
                    <a:pt x="1311783" y="810907"/>
                  </a:lnTo>
                  <a:lnTo>
                    <a:pt x="1323581" y="801585"/>
                  </a:lnTo>
                  <a:lnTo>
                    <a:pt x="1204683" y="729526"/>
                  </a:lnTo>
                  <a:close/>
                </a:path>
                <a:path w="1440815" h="884554">
                  <a:moveTo>
                    <a:pt x="510159" y="308597"/>
                  </a:moveTo>
                  <a:lnTo>
                    <a:pt x="495465" y="316166"/>
                  </a:lnTo>
                  <a:lnTo>
                    <a:pt x="1187030" y="735291"/>
                  </a:lnTo>
                  <a:lnTo>
                    <a:pt x="1193507" y="722757"/>
                  </a:lnTo>
                  <a:lnTo>
                    <a:pt x="510159" y="308597"/>
                  </a:lnTo>
                  <a:close/>
                </a:path>
                <a:path w="1440815" h="884554">
                  <a:moveTo>
                    <a:pt x="990" y="0"/>
                  </a:moveTo>
                  <a:lnTo>
                    <a:pt x="685" y="774"/>
                  </a:lnTo>
                  <a:lnTo>
                    <a:pt x="355" y="1536"/>
                  </a:lnTo>
                  <a:lnTo>
                    <a:pt x="0" y="2273"/>
                  </a:lnTo>
                  <a:lnTo>
                    <a:pt x="92671" y="72034"/>
                  </a:lnTo>
                  <a:lnTo>
                    <a:pt x="481672" y="307797"/>
                  </a:lnTo>
                  <a:lnTo>
                    <a:pt x="496366" y="300228"/>
                  </a:lnTo>
                  <a:lnTo>
                    <a:pt x="990" y="0"/>
                  </a:lnTo>
                  <a:close/>
                </a:path>
              </a:pathLst>
            </a:custGeom>
            <a:solidFill>
              <a:srgbClr val="EF3D60">
                <a:alpha val="50999"/>
              </a:srgbClr>
            </a:solidFill>
          </p:spPr>
          <p:txBody>
            <a:bodyPr wrap="square" lIns="0" tIns="0" rIns="0" bIns="0" rtlCol="0"/>
            <a:lstStyle/>
            <a:p>
              <a:endParaRPr sz="2968"/>
            </a:p>
          </p:txBody>
        </p:sp>
        <p:sp>
          <p:nvSpPr>
            <p:cNvPr id="60" name="object 58">
              <a:extLst>
                <a:ext uri="{FF2B5EF4-FFF2-40B4-BE49-F238E27FC236}">
                  <a16:creationId xmlns:a16="http://schemas.microsoft.com/office/drawing/2014/main" id="{9F979646-1387-2A41-AB3A-3F14413CC3B7}"/>
                </a:ext>
              </a:extLst>
            </p:cNvPr>
            <p:cNvSpPr/>
            <p:nvPr/>
          </p:nvSpPr>
          <p:spPr>
            <a:xfrm>
              <a:off x="7846626" y="5512926"/>
              <a:ext cx="238125" cy="388620"/>
            </a:xfrm>
            <a:custGeom>
              <a:avLst/>
              <a:gdLst/>
              <a:ahLst/>
              <a:cxnLst/>
              <a:rect l="l" t="t" r="r" b="b"/>
              <a:pathLst>
                <a:path w="238125" h="388620">
                  <a:moveTo>
                    <a:pt x="7023" y="0"/>
                  </a:moveTo>
                  <a:lnTo>
                    <a:pt x="4838" y="1625"/>
                  </a:lnTo>
                  <a:lnTo>
                    <a:pt x="2476" y="3035"/>
                  </a:lnTo>
                  <a:lnTo>
                    <a:pt x="0" y="4229"/>
                  </a:lnTo>
                  <a:lnTo>
                    <a:pt x="230543" y="388505"/>
                  </a:lnTo>
                  <a:lnTo>
                    <a:pt x="232740" y="386880"/>
                  </a:lnTo>
                  <a:lnTo>
                    <a:pt x="235089" y="385470"/>
                  </a:lnTo>
                  <a:lnTo>
                    <a:pt x="237553" y="384276"/>
                  </a:lnTo>
                  <a:lnTo>
                    <a:pt x="7023" y="0"/>
                  </a:lnTo>
                  <a:close/>
                </a:path>
              </a:pathLst>
            </a:custGeom>
            <a:solidFill>
              <a:srgbClr val="EF3D60">
                <a:alpha val="50999"/>
              </a:srgbClr>
            </a:solidFill>
          </p:spPr>
          <p:txBody>
            <a:bodyPr wrap="square" lIns="0" tIns="0" rIns="0" bIns="0" rtlCol="0"/>
            <a:lstStyle/>
            <a:p>
              <a:endParaRPr sz="2968"/>
            </a:p>
          </p:txBody>
        </p:sp>
        <p:sp>
          <p:nvSpPr>
            <p:cNvPr id="61" name="object 59">
              <a:extLst>
                <a:ext uri="{FF2B5EF4-FFF2-40B4-BE49-F238E27FC236}">
                  <a16:creationId xmlns:a16="http://schemas.microsoft.com/office/drawing/2014/main" id="{3A25B4A8-4EEC-EE49-BE12-0A6E26C70587}"/>
                </a:ext>
              </a:extLst>
            </p:cNvPr>
            <p:cNvSpPr/>
            <p:nvPr/>
          </p:nvSpPr>
          <p:spPr>
            <a:xfrm>
              <a:off x="6858936" y="5165062"/>
              <a:ext cx="927735" cy="305435"/>
            </a:xfrm>
            <a:custGeom>
              <a:avLst/>
              <a:gdLst/>
              <a:ahLst/>
              <a:cxnLst/>
              <a:rect l="l" t="t" r="r" b="b"/>
              <a:pathLst>
                <a:path w="927734" h="305435">
                  <a:moveTo>
                    <a:pt x="3238" y="0"/>
                  </a:moveTo>
                  <a:lnTo>
                    <a:pt x="2565" y="3581"/>
                  </a:lnTo>
                  <a:lnTo>
                    <a:pt x="1473" y="6997"/>
                  </a:lnTo>
                  <a:lnTo>
                    <a:pt x="0" y="10198"/>
                  </a:lnTo>
                  <a:lnTo>
                    <a:pt x="926287" y="304939"/>
                  </a:lnTo>
                  <a:lnTo>
                    <a:pt x="926566" y="303441"/>
                  </a:lnTo>
                  <a:lnTo>
                    <a:pt x="926922" y="301967"/>
                  </a:lnTo>
                  <a:lnTo>
                    <a:pt x="927341" y="300532"/>
                  </a:lnTo>
                  <a:lnTo>
                    <a:pt x="899248" y="285102"/>
                  </a:lnTo>
                  <a:lnTo>
                    <a:pt x="3238" y="0"/>
                  </a:lnTo>
                  <a:close/>
                </a:path>
              </a:pathLst>
            </a:custGeom>
            <a:solidFill>
              <a:srgbClr val="EF3D60">
                <a:alpha val="50999"/>
              </a:srgbClr>
            </a:solidFill>
          </p:spPr>
          <p:txBody>
            <a:bodyPr wrap="square" lIns="0" tIns="0" rIns="0" bIns="0" rtlCol="0"/>
            <a:lstStyle/>
            <a:p>
              <a:endParaRPr sz="2968"/>
            </a:p>
          </p:txBody>
        </p:sp>
        <p:sp>
          <p:nvSpPr>
            <p:cNvPr id="62" name="object 60">
              <a:extLst>
                <a:ext uri="{FF2B5EF4-FFF2-40B4-BE49-F238E27FC236}">
                  <a16:creationId xmlns:a16="http://schemas.microsoft.com/office/drawing/2014/main" id="{40D2DE99-BA51-7C4E-BC04-108EAB74F08C}"/>
                </a:ext>
              </a:extLst>
            </p:cNvPr>
            <p:cNvSpPr/>
            <p:nvPr/>
          </p:nvSpPr>
          <p:spPr>
            <a:xfrm>
              <a:off x="5522876" y="4206844"/>
              <a:ext cx="2264410" cy="1259205"/>
            </a:xfrm>
            <a:custGeom>
              <a:avLst/>
              <a:gdLst/>
              <a:ahLst/>
              <a:cxnLst/>
              <a:rect l="l" t="t" r="r" b="b"/>
              <a:pathLst>
                <a:path w="2264409" h="1259204">
                  <a:moveTo>
                    <a:pt x="8864" y="0"/>
                  </a:moveTo>
                  <a:lnTo>
                    <a:pt x="7073" y="6019"/>
                  </a:lnTo>
                  <a:lnTo>
                    <a:pt x="4013" y="11493"/>
                  </a:lnTo>
                  <a:lnTo>
                    <a:pt x="0" y="16103"/>
                  </a:lnTo>
                  <a:lnTo>
                    <a:pt x="2263406" y="1258747"/>
                  </a:lnTo>
                  <a:lnTo>
                    <a:pt x="2263940" y="1257071"/>
                  </a:lnTo>
                  <a:lnTo>
                    <a:pt x="1764360" y="963828"/>
                  </a:lnTo>
                  <a:lnTo>
                    <a:pt x="8864" y="0"/>
                  </a:lnTo>
                  <a:close/>
                </a:path>
              </a:pathLst>
            </a:custGeom>
            <a:solidFill>
              <a:srgbClr val="EF3D60">
                <a:alpha val="50999"/>
              </a:srgbClr>
            </a:solidFill>
          </p:spPr>
          <p:txBody>
            <a:bodyPr wrap="square" lIns="0" tIns="0" rIns="0" bIns="0" rtlCol="0"/>
            <a:lstStyle/>
            <a:p>
              <a:endParaRPr sz="2968"/>
            </a:p>
          </p:txBody>
        </p:sp>
        <p:sp>
          <p:nvSpPr>
            <p:cNvPr id="63" name="object 61">
              <a:extLst>
                <a:ext uri="{FF2B5EF4-FFF2-40B4-BE49-F238E27FC236}">
                  <a16:creationId xmlns:a16="http://schemas.microsoft.com/office/drawing/2014/main" id="{D54A5FC4-74BF-CB43-8F72-36F5E809D45F}"/>
                </a:ext>
              </a:extLst>
            </p:cNvPr>
            <p:cNvSpPr/>
            <p:nvPr/>
          </p:nvSpPr>
          <p:spPr>
            <a:xfrm>
              <a:off x="7862450" y="3808255"/>
              <a:ext cx="1456055" cy="1640205"/>
            </a:xfrm>
            <a:custGeom>
              <a:avLst/>
              <a:gdLst/>
              <a:ahLst/>
              <a:cxnLst/>
              <a:rect l="l" t="t" r="r" b="b"/>
              <a:pathLst>
                <a:path w="1456054" h="1640204">
                  <a:moveTo>
                    <a:pt x="443826" y="1120978"/>
                  </a:moveTo>
                  <a:lnTo>
                    <a:pt x="337921" y="1239710"/>
                  </a:lnTo>
                  <a:lnTo>
                    <a:pt x="0" y="1640205"/>
                  </a:lnTo>
                  <a:lnTo>
                    <a:pt x="8001" y="1634388"/>
                  </a:lnTo>
                  <a:lnTo>
                    <a:pt x="462876" y="1124381"/>
                  </a:lnTo>
                  <a:lnTo>
                    <a:pt x="443826" y="1120978"/>
                  </a:lnTo>
                  <a:close/>
                </a:path>
                <a:path w="1456054" h="1640204">
                  <a:moveTo>
                    <a:pt x="462673" y="1099845"/>
                  </a:moveTo>
                  <a:lnTo>
                    <a:pt x="454025" y="1109535"/>
                  </a:lnTo>
                  <a:lnTo>
                    <a:pt x="473075" y="1112951"/>
                  </a:lnTo>
                  <a:lnTo>
                    <a:pt x="483489" y="1101267"/>
                  </a:lnTo>
                  <a:lnTo>
                    <a:pt x="462673" y="1099845"/>
                  </a:lnTo>
                  <a:close/>
                </a:path>
                <a:path w="1456054" h="1640204">
                  <a:moveTo>
                    <a:pt x="551091" y="1000709"/>
                  </a:moveTo>
                  <a:lnTo>
                    <a:pt x="478256" y="1082382"/>
                  </a:lnTo>
                  <a:lnTo>
                    <a:pt x="499071" y="1083805"/>
                  </a:lnTo>
                  <a:lnTo>
                    <a:pt x="568579" y="1005878"/>
                  </a:lnTo>
                  <a:lnTo>
                    <a:pt x="551091" y="1000709"/>
                  </a:lnTo>
                  <a:close/>
                </a:path>
                <a:path w="1456054" h="1640204">
                  <a:moveTo>
                    <a:pt x="575691" y="973137"/>
                  </a:moveTo>
                  <a:lnTo>
                    <a:pt x="560387" y="990295"/>
                  </a:lnTo>
                  <a:lnTo>
                    <a:pt x="577862" y="995464"/>
                  </a:lnTo>
                  <a:lnTo>
                    <a:pt x="595553" y="975639"/>
                  </a:lnTo>
                  <a:lnTo>
                    <a:pt x="575691" y="973137"/>
                  </a:lnTo>
                  <a:close/>
                </a:path>
                <a:path w="1456054" h="1640204">
                  <a:moveTo>
                    <a:pt x="824191" y="694524"/>
                  </a:moveTo>
                  <a:lnTo>
                    <a:pt x="590156" y="956906"/>
                  </a:lnTo>
                  <a:lnTo>
                    <a:pt x="610019" y="959408"/>
                  </a:lnTo>
                  <a:lnTo>
                    <a:pt x="837679" y="704164"/>
                  </a:lnTo>
                  <a:lnTo>
                    <a:pt x="824191" y="694524"/>
                  </a:lnTo>
                  <a:close/>
                </a:path>
                <a:path w="1456054" h="1640204">
                  <a:moveTo>
                    <a:pt x="1219758" y="251002"/>
                  </a:moveTo>
                  <a:lnTo>
                    <a:pt x="834275" y="683209"/>
                  </a:lnTo>
                  <a:lnTo>
                    <a:pt x="847775" y="692848"/>
                  </a:lnTo>
                  <a:lnTo>
                    <a:pt x="1227493" y="267106"/>
                  </a:lnTo>
                  <a:lnTo>
                    <a:pt x="1219758" y="251002"/>
                  </a:lnTo>
                  <a:close/>
                </a:path>
                <a:path w="1456054" h="1640204">
                  <a:moveTo>
                    <a:pt x="1236345" y="232422"/>
                  </a:moveTo>
                  <a:lnTo>
                    <a:pt x="1228204" y="241528"/>
                  </a:lnTo>
                  <a:lnTo>
                    <a:pt x="1235938" y="257632"/>
                  </a:lnTo>
                  <a:lnTo>
                    <a:pt x="1250543" y="241249"/>
                  </a:lnTo>
                  <a:lnTo>
                    <a:pt x="1236345" y="232422"/>
                  </a:lnTo>
                  <a:close/>
                </a:path>
                <a:path w="1456054" h="1640204">
                  <a:moveTo>
                    <a:pt x="1251419" y="215506"/>
                  </a:moveTo>
                  <a:lnTo>
                    <a:pt x="1246581" y="220941"/>
                  </a:lnTo>
                  <a:lnTo>
                    <a:pt x="1256449" y="227076"/>
                  </a:lnTo>
                  <a:lnTo>
                    <a:pt x="1251419" y="215506"/>
                  </a:lnTo>
                  <a:close/>
                </a:path>
                <a:path w="1456054" h="1640204">
                  <a:moveTo>
                    <a:pt x="1443634" y="0"/>
                  </a:moveTo>
                  <a:lnTo>
                    <a:pt x="1264208" y="201168"/>
                  </a:lnTo>
                  <a:lnTo>
                    <a:pt x="1271447" y="217817"/>
                  </a:lnTo>
                  <a:lnTo>
                    <a:pt x="1455928" y="10972"/>
                  </a:lnTo>
                  <a:lnTo>
                    <a:pt x="1451165" y="8128"/>
                  </a:lnTo>
                  <a:lnTo>
                    <a:pt x="1446987" y="4394"/>
                  </a:lnTo>
                  <a:lnTo>
                    <a:pt x="1443634" y="0"/>
                  </a:lnTo>
                  <a:close/>
                </a:path>
              </a:pathLst>
            </a:custGeom>
            <a:solidFill>
              <a:srgbClr val="EF3D60">
                <a:alpha val="50999"/>
              </a:srgbClr>
            </a:solidFill>
          </p:spPr>
          <p:txBody>
            <a:bodyPr wrap="square" lIns="0" tIns="0" rIns="0" bIns="0" rtlCol="0"/>
            <a:lstStyle/>
            <a:p>
              <a:endParaRPr sz="2968"/>
            </a:p>
          </p:txBody>
        </p:sp>
        <p:sp>
          <p:nvSpPr>
            <p:cNvPr id="64" name="object 62">
              <a:extLst>
                <a:ext uri="{FF2B5EF4-FFF2-40B4-BE49-F238E27FC236}">
                  <a16:creationId xmlns:a16="http://schemas.microsoft.com/office/drawing/2014/main" id="{5C5EF74D-97E1-CD41-B0E5-0CD0719C030F}"/>
                </a:ext>
              </a:extLst>
            </p:cNvPr>
            <p:cNvSpPr/>
            <p:nvPr/>
          </p:nvSpPr>
          <p:spPr>
            <a:xfrm>
              <a:off x="7826916" y="4052929"/>
              <a:ext cx="185420" cy="1382395"/>
            </a:xfrm>
            <a:custGeom>
              <a:avLst/>
              <a:gdLst/>
              <a:ahLst/>
              <a:cxnLst/>
              <a:rect l="l" t="t" r="r" b="b"/>
              <a:pathLst>
                <a:path w="185420" h="1382395">
                  <a:moveTo>
                    <a:pt x="4695" y="1381620"/>
                  </a:moveTo>
                  <a:lnTo>
                    <a:pt x="2222" y="1381620"/>
                  </a:lnTo>
                  <a:lnTo>
                    <a:pt x="3441" y="1381671"/>
                  </a:lnTo>
                  <a:lnTo>
                    <a:pt x="4648" y="1381772"/>
                  </a:lnTo>
                  <a:lnTo>
                    <a:pt x="4695" y="1381620"/>
                  </a:lnTo>
                  <a:close/>
                </a:path>
                <a:path w="185420" h="1382395">
                  <a:moveTo>
                    <a:pt x="172707" y="0"/>
                  </a:moveTo>
                  <a:lnTo>
                    <a:pt x="0" y="1381633"/>
                  </a:lnTo>
                  <a:lnTo>
                    <a:pt x="4695" y="1381620"/>
                  </a:lnTo>
                  <a:lnTo>
                    <a:pt x="18300" y="1337691"/>
                  </a:lnTo>
                  <a:lnTo>
                    <a:pt x="185316" y="1574"/>
                  </a:lnTo>
                  <a:lnTo>
                    <a:pt x="180211" y="1562"/>
                  </a:lnTo>
                  <a:lnTo>
                    <a:pt x="176403" y="1028"/>
                  </a:lnTo>
                  <a:lnTo>
                    <a:pt x="172707" y="0"/>
                  </a:lnTo>
                  <a:close/>
                </a:path>
              </a:pathLst>
            </a:custGeom>
            <a:solidFill>
              <a:srgbClr val="EF3D60">
                <a:alpha val="50999"/>
              </a:srgbClr>
            </a:solidFill>
          </p:spPr>
          <p:txBody>
            <a:bodyPr wrap="square" lIns="0" tIns="0" rIns="0" bIns="0" rtlCol="0"/>
            <a:lstStyle/>
            <a:p>
              <a:endParaRPr sz="2968"/>
            </a:p>
          </p:txBody>
        </p:sp>
        <p:sp>
          <p:nvSpPr>
            <p:cNvPr id="65" name="object 63">
              <a:extLst>
                <a:ext uri="{FF2B5EF4-FFF2-40B4-BE49-F238E27FC236}">
                  <a16:creationId xmlns:a16="http://schemas.microsoft.com/office/drawing/2014/main" id="{CC3641FA-D656-D94B-96DE-113A6A3F9BB1}"/>
                </a:ext>
              </a:extLst>
            </p:cNvPr>
            <p:cNvSpPr/>
            <p:nvPr/>
          </p:nvSpPr>
          <p:spPr>
            <a:xfrm>
              <a:off x="6929284" y="4134676"/>
              <a:ext cx="880744" cy="1311910"/>
            </a:xfrm>
            <a:custGeom>
              <a:avLst/>
              <a:gdLst/>
              <a:ahLst/>
              <a:cxnLst/>
              <a:rect l="l" t="t" r="r" b="b"/>
              <a:pathLst>
                <a:path w="880745" h="1311910">
                  <a:moveTo>
                    <a:pt x="11226" y="0"/>
                  </a:moveTo>
                  <a:lnTo>
                    <a:pt x="7912" y="3048"/>
                  </a:lnTo>
                  <a:lnTo>
                    <a:pt x="4127" y="5600"/>
                  </a:lnTo>
                  <a:lnTo>
                    <a:pt x="0" y="7505"/>
                  </a:lnTo>
                  <a:lnTo>
                    <a:pt x="869188" y="1311389"/>
                  </a:lnTo>
                  <a:lnTo>
                    <a:pt x="872502" y="1308315"/>
                  </a:lnTo>
                  <a:lnTo>
                    <a:pt x="876300" y="1305763"/>
                  </a:lnTo>
                  <a:lnTo>
                    <a:pt x="880452" y="1303845"/>
                  </a:lnTo>
                  <a:lnTo>
                    <a:pt x="11226" y="0"/>
                  </a:lnTo>
                  <a:close/>
                </a:path>
              </a:pathLst>
            </a:custGeom>
            <a:solidFill>
              <a:srgbClr val="EF3D60">
                <a:alpha val="50999"/>
              </a:srgbClr>
            </a:solidFill>
          </p:spPr>
          <p:txBody>
            <a:bodyPr wrap="square" lIns="0" tIns="0" rIns="0" bIns="0" rtlCol="0"/>
            <a:lstStyle/>
            <a:p>
              <a:endParaRPr sz="2968"/>
            </a:p>
          </p:txBody>
        </p:sp>
        <p:sp>
          <p:nvSpPr>
            <p:cNvPr id="66" name="object 64">
              <a:extLst>
                <a:ext uri="{FF2B5EF4-FFF2-40B4-BE49-F238E27FC236}">
                  <a16:creationId xmlns:a16="http://schemas.microsoft.com/office/drawing/2014/main" id="{0D24527B-E8F5-A44E-A1E5-9E6C078E1A15}"/>
                </a:ext>
              </a:extLst>
            </p:cNvPr>
            <p:cNvSpPr/>
            <p:nvPr/>
          </p:nvSpPr>
          <p:spPr>
            <a:xfrm>
              <a:off x="5751563" y="4254341"/>
              <a:ext cx="2044064" cy="1209675"/>
            </a:xfrm>
            <a:custGeom>
              <a:avLst/>
              <a:gdLst/>
              <a:ahLst/>
              <a:cxnLst/>
              <a:rect l="l" t="t" r="r" b="b"/>
              <a:pathLst>
                <a:path w="2044065" h="1209675">
                  <a:moveTo>
                    <a:pt x="8750" y="0"/>
                  </a:moveTo>
                  <a:lnTo>
                    <a:pt x="6845" y="5562"/>
                  </a:lnTo>
                  <a:lnTo>
                    <a:pt x="3835" y="10617"/>
                  </a:lnTo>
                  <a:lnTo>
                    <a:pt x="0" y="14909"/>
                  </a:lnTo>
                  <a:lnTo>
                    <a:pt x="2035251" y="1209573"/>
                  </a:lnTo>
                  <a:lnTo>
                    <a:pt x="2037168" y="1203998"/>
                  </a:lnTo>
                  <a:lnTo>
                    <a:pt x="2040178" y="1198918"/>
                  </a:lnTo>
                  <a:lnTo>
                    <a:pt x="2044039" y="1194625"/>
                  </a:lnTo>
                  <a:lnTo>
                    <a:pt x="8750" y="0"/>
                  </a:lnTo>
                  <a:close/>
                </a:path>
              </a:pathLst>
            </a:custGeom>
            <a:solidFill>
              <a:srgbClr val="EF3D60">
                <a:alpha val="50999"/>
              </a:srgbClr>
            </a:solidFill>
          </p:spPr>
          <p:txBody>
            <a:bodyPr wrap="square" lIns="0" tIns="0" rIns="0" bIns="0" rtlCol="0"/>
            <a:lstStyle/>
            <a:p>
              <a:endParaRPr sz="2968"/>
            </a:p>
          </p:txBody>
        </p:sp>
        <p:sp>
          <p:nvSpPr>
            <p:cNvPr id="67" name="object 65">
              <a:extLst>
                <a:ext uri="{FF2B5EF4-FFF2-40B4-BE49-F238E27FC236}">
                  <a16:creationId xmlns:a16="http://schemas.microsoft.com/office/drawing/2014/main" id="{BF6EAF98-EBB4-564F-BB9B-DE68D340918D}"/>
                </a:ext>
              </a:extLst>
            </p:cNvPr>
            <p:cNvSpPr/>
            <p:nvPr/>
          </p:nvSpPr>
          <p:spPr>
            <a:xfrm>
              <a:off x="7852395" y="4039027"/>
              <a:ext cx="1191260" cy="1410970"/>
            </a:xfrm>
            <a:custGeom>
              <a:avLst/>
              <a:gdLst/>
              <a:ahLst/>
              <a:cxnLst/>
              <a:rect l="l" t="t" r="r" b="b"/>
              <a:pathLst>
                <a:path w="1191259" h="1410970">
                  <a:moveTo>
                    <a:pt x="432117" y="886307"/>
                  </a:moveTo>
                  <a:lnTo>
                    <a:pt x="6667" y="1390535"/>
                  </a:lnTo>
                  <a:lnTo>
                    <a:pt x="0" y="1403096"/>
                  </a:lnTo>
                  <a:lnTo>
                    <a:pt x="3124" y="1405229"/>
                  </a:lnTo>
                  <a:lnTo>
                    <a:pt x="5956" y="1407769"/>
                  </a:lnTo>
                  <a:lnTo>
                    <a:pt x="8420" y="1410627"/>
                  </a:lnTo>
                  <a:lnTo>
                    <a:pt x="10058" y="1409433"/>
                  </a:lnTo>
                  <a:lnTo>
                    <a:pt x="448919" y="889317"/>
                  </a:lnTo>
                  <a:lnTo>
                    <a:pt x="432117" y="886307"/>
                  </a:lnTo>
                  <a:close/>
                </a:path>
                <a:path w="1191259" h="1410970">
                  <a:moveTo>
                    <a:pt x="448081" y="867384"/>
                  </a:moveTo>
                  <a:lnTo>
                    <a:pt x="441845" y="874788"/>
                  </a:lnTo>
                  <a:lnTo>
                    <a:pt x="458635" y="877798"/>
                  </a:lnTo>
                  <a:lnTo>
                    <a:pt x="466369" y="868641"/>
                  </a:lnTo>
                  <a:lnTo>
                    <a:pt x="448081" y="867384"/>
                  </a:lnTo>
                  <a:close/>
                </a:path>
                <a:path w="1191259" h="1410970">
                  <a:moveTo>
                    <a:pt x="536447" y="762660"/>
                  </a:moveTo>
                  <a:lnTo>
                    <a:pt x="462864" y="849871"/>
                  </a:lnTo>
                  <a:lnTo>
                    <a:pt x="481139" y="851115"/>
                  </a:lnTo>
                  <a:lnTo>
                    <a:pt x="551941" y="767219"/>
                  </a:lnTo>
                  <a:lnTo>
                    <a:pt x="536447" y="762660"/>
                  </a:lnTo>
                  <a:close/>
                </a:path>
                <a:path w="1191259" h="1410970">
                  <a:moveTo>
                    <a:pt x="556666" y="738695"/>
                  </a:moveTo>
                  <a:lnTo>
                    <a:pt x="545337" y="752119"/>
                  </a:lnTo>
                  <a:lnTo>
                    <a:pt x="560819" y="756691"/>
                  </a:lnTo>
                  <a:lnTo>
                    <a:pt x="574154" y="740892"/>
                  </a:lnTo>
                  <a:lnTo>
                    <a:pt x="556666" y="738695"/>
                  </a:lnTo>
                  <a:close/>
                </a:path>
                <a:path w="1191259" h="1410970">
                  <a:moveTo>
                    <a:pt x="805789" y="443433"/>
                  </a:moveTo>
                  <a:lnTo>
                    <a:pt x="570433" y="722376"/>
                  </a:lnTo>
                  <a:lnTo>
                    <a:pt x="587908" y="724585"/>
                  </a:lnTo>
                  <a:lnTo>
                    <a:pt x="817854" y="452056"/>
                  </a:lnTo>
                  <a:lnTo>
                    <a:pt x="805789" y="443433"/>
                  </a:lnTo>
                  <a:close/>
                </a:path>
                <a:path w="1191259" h="1410970">
                  <a:moveTo>
                    <a:pt x="1179956" y="0"/>
                  </a:moveTo>
                  <a:lnTo>
                    <a:pt x="815543" y="431876"/>
                  </a:lnTo>
                  <a:lnTo>
                    <a:pt x="827608" y="440499"/>
                  </a:lnTo>
                  <a:lnTo>
                    <a:pt x="1191247" y="9525"/>
                  </a:lnTo>
                  <a:lnTo>
                    <a:pt x="1186954" y="7010"/>
                  </a:lnTo>
                  <a:lnTo>
                    <a:pt x="1183131" y="3784"/>
                  </a:lnTo>
                  <a:lnTo>
                    <a:pt x="1179956" y="0"/>
                  </a:lnTo>
                  <a:close/>
                </a:path>
              </a:pathLst>
            </a:custGeom>
            <a:solidFill>
              <a:srgbClr val="EF3D60">
                <a:alpha val="50999"/>
              </a:srgbClr>
            </a:solidFill>
          </p:spPr>
          <p:txBody>
            <a:bodyPr wrap="square" lIns="0" tIns="0" rIns="0" bIns="0" rtlCol="0"/>
            <a:lstStyle/>
            <a:p>
              <a:endParaRPr sz="2968"/>
            </a:p>
          </p:txBody>
        </p:sp>
        <p:sp>
          <p:nvSpPr>
            <p:cNvPr id="68" name="object 66">
              <a:extLst>
                <a:ext uri="{FF2B5EF4-FFF2-40B4-BE49-F238E27FC236}">
                  <a16:creationId xmlns:a16="http://schemas.microsoft.com/office/drawing/2014/main" id="{3DA7D2D2-0CB4-7A4C-8A5D-30FBA058A990}"/>
                </a:ext>
              </a:extLst>
            </p:cNvPr>
            <p:cNvSpPr/>
            <p:nvPr/>
          </p:nvSpPr>
          <p:spPr>
            <a:xfrm>
              <a:off x="7854128" y="5511681"/>
              <a:ext cx="1024890" cy="995680"/>
            </a:xfrm>
            <a:custGeom>
              <a:avLst/>
              <a:gdLst/>
              <a:ahLst/>
              <a:cxnLst/>
              <a:rect l="l" t="t" r="r" b="b"/>
              <a:pathLst>
                <a:path w="1024890" h="995679">
                  <a:moveTo>
                    <a:pt x="386638" y="361429"/>
                  </a:moveTo>
                  <a:lnTo>
                    <a:pt x="374662" y="367601"/>
                  </a:lnTo>
                  <a:lnTo>
                    <a:pt x="1015796" y="995133"/>
                  </a:lnTo>
                  <a:lnTo>
                    <a:pt x="1018311" y="991654"/>
                  </a:lnTo>
                  <a:lnTo>
                    <a:pt x="1021346" y="988555"/>
                  </a:lnTo>
                  <a:lnTo>
                    <a:pt x="1024775" y="985964"/>
                  </a:lnTo>
                  <a:lnTo>
                    <a:pt x="386638" y="361429"/>
                  </a:lnTo>
                  <a:close/>
                </a:path>
                <a:path w="1024890" h="995679">
                  <a:moveTo>
                    <a:pt x="1130" y="0"/>
                  </a:moveTo>
                  <a:lnTo>
                    <a:pt x="0" y="889"/>
                  </a:lnTo>
                  <a:lnTo>
                    <a:pt x="364312" y="357466"/>
                  </a:lnTo>
                  <a:lnTo>
                    <a:pt x="376288" y="351294"/>
                  </a:lnTo>
                  <a:lnTo>
                    <a:pt x="97408" y="78359"/>
                  </a:lnTo>
                  <a:lnTo>
                    <a:pt x="1130" y="0"/>
                  </a:lnTo>
                  <a:close/>
                </a:path>
              </a:pathLst>
            </a:custGeom>
            <a:solidFill>
              <a:srgbClr val="EF3D60">
                <a:alpha val="50999"/>
              </a:srgbClr>
            </a:solidFill>
          </p:spPr>
          <p:txBody>
            <a:bodyPr wrap="square" lIns="0" tIns="0" rIns="0" bIns="0" rtlCol="0"/>
            <a:lstStyle/>
            <a:p>
              <a:endParaRPr sz="2968"/>
            </a:p>
          </p:txBody>
        </p:sp>
        <p:sp>
          <p:nvSpPr>
            <p:cNvPr id="69" name="object 67">
              <a:extLst>
                <a:ext uri="{FF2B5EF4-FFF2-40B4-BE49-F238E27FC236}">
                  <a16:creationId xmlns:a16="http://schemas.microsoft.com/office/drawing/2014/main" id="{B65C1E74-E3D7-254C-9FA2-8DD40B9A505D}"/>
                </a:ext>
              </a:extLst>
            </p:cNvPr>
            <p:cNvSpPr/>
            <p:nvPr/>
          </p:nvSpPr>
          <p:spPr>
            <a:xfrm>
              <a:off x="7860806" y="5317194"/>
              <a:ext cx="186270" cy="138214"/>
            </a:xfrm>
            <a:prstGeom prst="rect">
              <a:avLst/>
            </a:prstGeom>
            <a:blipFill>
              <a:blip r:embed="rId2" cstate="print"/>
              <a:stretch>
                <a:fillRect/>
              </a:stretch>
            </a:blipFill>
          </p:spPr>
          <p:txBody>
            <a:bodyPr wrap="square" lIns="0" tIns="0" rIns="0" bIns="0" rtlCol="0"/>
            <a:lstStyle/>
            <a:p>
              <a:endParaRPr sz="2968"/>
            </a:p>
          </p:txBody>
        </p:sp>
        <p:sp>
          <p:nvSpPr>
            <p:cNvPr id="70" name="object 68">
              <a:extLst>
                <a:ext uri="{FF2B5EF4-FFF2-40B4-BE49-F238E27FC236}">
                  <a16:creationId xmlns:a16="http://schemas.microsoft.com/office/drawing/2014/main" id="{5310443C-90E5-0A4A-829B-24D9EF672294}"/>
                </a:ext>
              </a:extLst>
            </p:cNvPr>
            <p:cNvSpPr/>
            <p:nvPr/>
          </p:nvSpPr>
          <p:spPr>
            <a:xfrm>
              <a:off x="7858824" y="4920180"/>
              <a:ext cx="208915" cy="489584"/>
            </a:xfrm>
            <a:custGeom>
              <a:avLst/>
              <a:gdLst/>
              <a:ahLst/>
              <a:cxnLst/>
              <a:rect l="l" t="t" r="r" b="b"/>
              <a:pathLst>
                <a:path w="208915" h="489585">
                  <a:moveTo>
                    <a:pt x="200342" y="0"/>
                  </a:moveTo>
                  <a:lnTo>
                    <a:pt x="18326" y="430161"/>
                  </a:lnTo>
                  <a:lnTo>
                    <a:pt x="0" y="489369"/>
                  </a:lnTo>
                  <a:lnTo>
                    <a:pt x="13703" y="463562"/>
                  </a:lnTo>
                  <a:lnTo>
                    <a:pt x="208356" y="3390"/>
                  </a:lnTo>
                  <a:lnTo>
                    <a:pt x="205549" y="2527"/>
                  </a:lnTo>
                  <a:lnTo>
                    <a:pt x="202869" y="1384"/>
                  </a:lnTo>
                  <a:lnTo>
                    <a:pt x="200342" y="0"/>
                  </a:lnTo>
                  <a:close/>
                </a:path>
              </a:pathLst>
            </a:custGeom>
            <a:solidFill>
              <a:srgbClr val="EF3D60">
                <a:alpha val="50999"/>
              </a:srgbClr>
            </a:solidFill>
          </p:spPr>
          <p:txBody>
            <a:bodyPr wrap="square" lIns="0" tIns="0" rIns="0" bIns="0" rtlCol="0"/>
            <a:lstStyle/>
            <a:p>
              <a:endParaRPr sz="2968"/>
            </a:p>
          </p:txBody>
        </p:sp>
        <p:sp>
          <p:nvSpPr>
            <p:cNvPr id="71" name="object 69">
              <a:extLst>
                <a:ext uri="{FF2B5EF4-FFF2-40B4-BE49-F238E27FC236}">
                  <a16:creationId xmlns:a16="http://schemas.microsoft.com/office/drawing/2014/main" id="{2BF47D79-063C-7043-89FC-BE6A9837A581}"/>
                </a:ext>
              </a:extLst>
            </p:cNvPr>
            <p:cNvSpPr/>
            <p:nvPr/>
          </p:nvSpPr>
          <p:spPr>
            <a:xfrm>
              <a:off x="7849318" y="4780402"/>
              <a:ext cx="352425" cy="662305"/>
            </a:xfrm>
            <a:custGeom>
              <a:avLst/>
              <a:gdLst/>
              <a:ahLst/>
              <a:cxnLst/>
              <a:rect l="l" t="t" r="r" b="b"/>
              <a:pathLst>
                <a:path w="352425" h="662304">
                  <a:moveTo>
                    <a:pt x="281381" y="117386"/>
                  </a:moveTo>
                  <a:lnTo>
                    <a:pt x="9499" y="629145"/>
                  </a:lnTo>
                  <a:lnTo>
                    <a:pt x="0" y="659803"/>
                  </a:lnTo>
                  <a:lnTo>
                    <a:pt x="1054" y="660399"/>
                  </a:lnTo>
                  <a:lnTo>
                    <a:pt x="2082" y="661035"/>
                  </a:lnTo>
                  <a:lnTo>
                    <a:pt x="3073" y="661720"/>
                  </a:lnTo>
                  <a:lnTo>
                    <a:pt x="291287" y="119164"/>
                  </a:lnTo>
                  <a:lnTo>
                    <a:pt x="281381" y="117386"/>
                  </a:lnTo>
                  <a:close/>
                </a:path>
                <a:path w="352425" h="662304">
                  <a:moveTo>
                    <a:pt x="343738" y="0"/>
                  </a:moveTo>
                  <a:lnTo>
                    <a:pt x="292404" y="96634"/>
                  </a:lnTo>
                  <a:lnTo>
                    <a:pt x="302869" y="97345"/>
                  </a:lnTo>
                  <a:lnTo>
                    <a:pt x="352183" y="4495"/>
                  </a:lnTo>
                  <a:lnTo>
                    <a:pt x="349199" y="3314"/>
                  </a:lnTo>
                  <a:lnTo>
                    <a:pt x="346354" y="1790"/>
                  </a:lnTo>
                  <a:lnTo>
                    <a:pt x="343738" y="0"/>
                  </a:lnTo>
                  <a:close/>
                </a:path>
              </a:pathLst>
            </a:custGeom>
            <a:solidFill>
              <a:srgbClr val="EF3D60">
                <a:alpha val="50999"/>
              </a:srgbClr>
            </a:solidFill>
          </p:spPr>
          <p:txBody>
            <a:bodyPr wrap="square" lIns="0" tIns="0" rIns="0" bIns="0" rtlCol="0"/>
            <a:lstStyle/>
            <a:p>
              <a:endParaRPr sz="2968"/>
            </a:p>
          </p:txBody>
        </p:sp>
        <p:sp>
          <p:nvSpPr>
            <p:cNvPr id="72" name="object 70">
              <a:extLst>
                <a:ext uri="{FF2B5EF4-FFF2-40B4-BE49-F238E27FC236}">
                  <a16:creationId xmlns:a16="http://schemas.microsoft.com/office/drawing/2014/main" id="{191BFD73-811E-2044-83FA-476F2AC9BBB1}"/>
                </a:ext>
              </a:extLst>
            </p:cNvPr>
            <p:cNvSpPr/>
            <p:nvPr/>
          </p:nvSpPr>
          <p:spPr>
            <a:xfrm>
              <a:off x="7899364" y="5298658"/>
              <a:ext cx="758825" cy="159385"/>
            </a:xfrm>
            <a:custGeom>
              <a:avLst/>
              <a:gdLst/>
              <a:ahLst/>
              <a:cxnLst/>
              <a:rect l="l" t="t" r="r" b="b"/>
              <a:pathLst>
                <a:path w="758825" h="159385">
                  <a:moveTo>
                    <a:pt x="756284" y="0"/>
                  </a:moveTo>
                  <a:lnTo>
                    <a:pt x="0" y="159207"/>
                  </a:lnTo>
                  <a:lnTo>
                    <a:pt x="325551" y="100774"/>
                  </a:lnTo>
                  <a:lnTo>
                    <a:pt x="758316" y="9677"/>
                  </a:lnTo>
                  <a:lnTo>
                    <a:pt x="757288" y="6591"/>
                  </a:lnTo>
                  <a:lnTo>
                    <a:pt x="756602" y="3352"/>
                  </a:lnTo>
                  <a:lnTo>
                    <a:pt x="756284" y="0"/>
                  </a:lnTo>
                  <a:close/>
                </a:path>
              </a:pathLst>
            </a:custGeom>
            <a:solidFill>
              <a:srgbClr val="EF3D60">
                <a:alpha val="50999"/>
              </a:srgbClr>
            </a:solidFill>
          </p:spPr>
          <p:txBody>
            <a:bodyPr wrap="square" lIns="0" tIns="0" rIns="0" bIns="0" rtlCol="0"/>
            <a:lstStyle/>
            <a:p>
              <a:endParaRPr sz="2968"/>
            </a:p>
          </p:txBody>
        </p:sp>
        <p:sp>
          <p:nvSpPr>
            <p:cNvPr id="73" name="object 71">
              <a:extLst>
                <a:ext uri="{FF2B5EF4-FFF2-40B4-BE49-F238E27FC236}">
                  <a16:creationId xmlns:a16="http://schemas.microsoft.com/office/drawing/2014/main" id="{47303FD3-5998-A042-87BD-F6A6798DC482}"/>
                </a:ext>
              </a:extLst>
            </p:cNvPr>
            <p:cNvSpPr/>
            <p:nvPr/>
          </p:nvSpPr>
          <p:spPr>
            <a:xfrm>
              <a:off x="7831564" y="2925821"/>
              <a:ext cx="795020" cy="2514600"/>
            </a:xfrm>
            <a:custGeom>
              <a:avLst/>
              <a:gdLst/>
              <a:ahLst/>
              <a:cxnLst/>
              <a:rect l="l" t="t" r="r" b="b"/>
              <a:pathLst>
                <a:path w="795020" h="2514600">
                  <a:moveTo>
                    <a:pt x="391261" y="1245666"/>
                  </a:moveTo>
                  <a:lnTo>
                    <a:pt x="0" y="2508885"/>
                  </a:lnTo>
                  <a:lnTo>
                    <a:pt x="6413" y="2509418"/>
                  </a:lnTo>
                  <a:lnTo>
                    <a:pt x="12445" y="2511348"/>
                  </a:lnTo>
                  <a:lnTo>
                    <a:pt x="17754" y="2514384"/>
                  </a:lnTo>
                  <a:lnTo>
                    <a:pt x="407200" y="1257046"/>
                  </a:lnTo>
                  <a:lnTo>
                    <a:pt x="391261" y="1245666"/>
                  </a:lnTo>
                  <a:close/>
                </a:path>
                <a:path w="795020" h="2514600">
                  <a:moveTo>
                    <a:pt x="777087" y="0"/>
                  </a:moveTo>
                  <a:lnTo>
                    <a:pt x="395960" y="1230503"/>
                  </a:lnTo>
                  <a:lnTo>
                    <a:pt x="411911" y="1241882"/>
                  </a:lnTo>
                  <a:lnTo>
                    <a:pt x="794867" y="5511"/>
                  </a:lnTo>
                  <a:lnTo>
                    <a:pt x="788428" y="4965"/>
                  </a:lnTo>
                  <a:lnTo>
                    <a:pt x="782408" y="3035"/>
                  </a:lnTo>
                  <a:lnTo>
                    <a:pt x="777087" y="0"/>
                  </a:lnTo>
                  <a:close/>
                </a:path>
              </a:pathLst>
            </a:custGeom>
            <a:solidFill>
              <a:srgbClr val="EF3D60">
                <a:alpha val="50999"/>
              </a:srgbClr>
            </a:solidFill>
          </p:spPr>
          <p:txBody>
            <a:bodyPr wrap="square" lIns="0" tIns="0" rIns="0" bIns="0" rtlCol="0"/>
            <a:lstStyle/>
            <a:p>
              <a:endParaRPr sz="2968"/>
            </a:p>
          </p:txBody>
        </p:sp>
        <p:sp>
          <p:nvSpPr>
            <p:cNvPr id="74" name="object 72">
              <a:extLst>
                <a:ext uri="{FF2B5EF4-FFF2-40B4-BE49-F238E27FC236}">
                  <a16:creationId xmlns:a16="http://schemas.microsoft.com/office/drawing/2014/main" id="{DFAA9821-B6BA-7A4F-A27C-C7DB6E9F622F}"/>
                </a:ext>
              </a:extLst>
            </p:cNvPr>
            <p:cNvSpPr/>
            <p:nvPr/>
          </p:nvSpPr>
          <p:spPr>
            <a:xfrm>
              <a:off x="7866499" y="5496423"/>
              <a:ext cx="1972310" cy="1499235"/>
            </a:xfrm>
            <a:custGeom>
              <a:avLst/>
              <a:gdLst/>
              <a:ahLst/>
              <a:cxnLst/>
              <a:rect l="l" t="t" r="r" b="b"/>
              <a:pathLst>
                <a:path w="1972309" h="1499234">
                  <a:moveTo>
                    <a:pt x="1927021" y="1450136"/>
                  </a:moveTo>
                  <a:lnTo>
                    <a:pt x="1929307" y="1474165"/>
                  </a:lnTo>
                  <a:lnTo>
                    <a:pt x="1961946" y="1498739"/>
                  </a:lnTo>
                  <a:lnTo>
                    <a:pt x="1964245" y="1493837"/>
                  </a:lnTo>
                  <a:lnTo>
                    <a:pt x="1967433" y="1489443"/>
                  </a:lnTo>
                  <a:lnTo>
                    <a:pt x="1971306" y="1485747"/>
                  </a:lnTo>
                  <a:lnTo>
                    <a:pt x="1972094" y="1484083"/>
                  </a:lnTo>
                  <a:lnTo>
                    <a:pt x="1927021" y="1450136"/>
                  </a:lnTo>
                  <a:close/>
                </a:path>
                <a:path w="1972309" h="1499234">
                  <a:moveTo>
                    <a:pt x="1210525" y="910755"/>
                  </a:moveTo>
                  <a:lnTo>
                    <a:pt x="1196073" y="922185"/>
                  </a:lnTo>
                  <a:lnTo>
                    <a:pt x="1913216" y="1462062"/>
                  </a:lnTo>
                  <a:lnTo>
                    <a:pt x="1910930" y="1438021"/>
                  </a:lnTo>
                  <a:lnTo>
                    <a:pt x="1210525" y="910755"/>
                  </a:lnTo>
                  <a:close/>
                </a:path>
                <a:path w="1972309" h="1499234">
                  <a:moveTo>
                    <a:pt x="1138580" y="856589"/>
                  </a:moveTo>
                  <a:lnTo>
                    <a:pt x="1130274" y="872655"/>
                  </a:lnTo>
                  <a:lnTo>
                    <a:pt x="1182103" y="911669"/>
                  </a:lnTo>
                  <a:lnTo>
                    <a:pt x="1196555" y="900239"/>
                  </a:lnTo>
                  <a:lnTo>
                    <a:pt x="1138580" y="856589"/>
                  </a:lnTo>
                  <a:close/>
                </a:path>
                <a:path w="1972309" h="1499234">
                  <a:moveTo>
                    <a:pt x="449567" y="337896"/>
                  </a:moveTo>
                  <a:lnTo>
                    <a:pt x="431965" y="346964"/>
                  </a:lnTo>
                  <a:lnTo>
                    <a:pt x="1119708" y="864704"/>
                  </a:lnTo>
                  <a:lnTo>
                    <a:pt x="1128014" y="848639"/>
                  </a:lnTo>
                  <a:lnTo>
                    <a:pt x="449567" y="337896"/>
                  </a:lnTo>
                  <a:close/>
                </a:path>
                <a:path w="1972309" h="1499234">
                  <a:moveTo>
                    <a:pt x="723" y="0"/>
                  </a:moveTo>
                  <a:lnTo>
                    <a:pt x="0" y="1460"/>
                  </a:lnTo>
                  <a:lnTo>
                    <a:pt x="332117" y="271805"/>
                  </a:lnTo>
                  <a:lnTo>
                    <a:pt x="419760" y="337781"/>
                  </a:lnTo>
                  <a:lnTo>
                    <a:pt x="437362" y="328714"/>
                  </a:lnTo>
                  <a:lnTo>
                    <a:pt x="723" y="0"/>
                  </a:lnTo>
                  <a:close/>
                </a:path>
              </a:pathLst>
            </a:custGeom>
            <a:solidFill>
              <a:srgbClr val="EF3D60">
                <a:alpha val="50999"/>
              </a:srgbClr>
            </a:solidFill>
          </p:spPr>
          <p:txBody>
            <a:bodyPr wrap="square" lIns="0" tIns="0" rIns="0" bIns="0" rtlCol="0"/>
            <a:lstStyle/>
            <a:p>
              <a:endParaRPr sz="2968"/>
            </a:p>
          </p:txBody>
        </p:sp>
        <p:sp>
          <p:nvSpPr>
            <p:cNvPr id="75" name="object 73">
              <a:extLst>
                <a:ext uri="{FF2B5EF4-FFF2-40B4-BE49-F238E27FC236}">
                  <a16:creationId xmlns:a16="http://schemas.microsoft.com/office/drawing/2014/main" id="{3B230389-C84C-A74E-9A19-E8209BB2079D}"/>
                </a:ext>
              </a:extLst>
            </p:cNvPr>
            <p:cNvSpPr/>
            <p:nvPr/>
          </p:nvSpPr>
          <p:spPr>
            <a:xfrm>
              <a:off x="7855264" y="5497888"/>
              <a:ext cx="1916430" cy="1564640"/>
            </a:xfrm>
            <a:custGeom>
              <a:avLst/>
              <a:gdLst/>
              <a:ahLst/>
              <a:cxnLst/>
              <a:rect l="l" t="t" r="r" b="b"/>
              <a:pathLst>
                <a:path w="1916429" h="1564640">
                  <a:moveTo>
                    <a:pt x="1174356" y="946746"/>
                  </a:moveTo>
                  <a:lnTo>
                    <a:pt x="1160068" y="958037"/>
                  </a:lnTo>
                  <a:lnTo>
                    <a:pt x="1905165" y="1564500"/>
                  </a:lnTo>
                  <a:lnTo>
                    <a:pt x="1907921" y="1559166"/>
                  </a:lnTo>
                  <a:lnTo>
                    <a:pt x="1911756" y="1554492"/>
                  </a:lnTo>
                  <a:lnTo>
                    <a:pt x="1916404" y="1550733"/>
                  </a:lnTo>
                  <a:lnTo>
                    <a:pt x="1174356" y="946746"/>
                  </a:lnTo>
                  <a:close/>
                </a:path>
                <a:path w="1916429" h="1564640">
                  <a:moveTo>
                    <a:pt x="1123759" y="905560"/>
                  </a:moveTo>
                  <a:lnTo>
                    <a:pt x="1115415" y="921689"/>
                  </a:lnTo>
                  <a:lnTo>
                    <a:pt x="1146632" y="947102"/>
                  </a:lnTo>
                  <a:lnTo>
                    <a:pt x="1160919" y="935812"/>
                  </a:lnTo>
                  <a:lnTo>
                    <a:pt x="1123759" y="905560"/>
                  </a:lnTo>
                  <a:close/>
                </a:path>
                <a:path w="1916429" h="1564640">
                  <a:moveTo>
                    <a:pt x="438594" y="347865"/>
                  </a:moveTo>
                  <a:lnTo>
                    <a:pt x="421347" y="356755"/>
                  </a:lnTo>
                  <a:lnTo>
                    <a:pt x="1105090" y="913282"/>
                  </a:lnTo>
                  <a:lnTo>
                    <a:pt x="1113434" y="897153"/>
                  </a:lnTo>
                  <a:lnTo>
                    <a:pt x="438594" y="347865"/>
                  </a:lnTo>
                  <a:close/>
                </a:path>
                <a:path w="1916429" h="1564640">
                  <a:moveTo>
                    <a:pt x="11226" y="0"/>
                  </a:moveTo>
                  <a:lnTo>
                    <a:pt x="8458" y="5346"/>
                  </a:lnTo>
                  <a:lnTo>
                    <a:pt x="4622" y="10032"/>
                  </a:lnTo>
                  <a:lnTo>
                    <a:pt x="0" y="13792"/>
                  </a:lnTo>
                  <a:lnTo>
                    <a:pt x="409714" y="347281"/>
                  </a:lnTo>
                  <a:lnTo>
                    <a:pt x="426961" y="338391"/>
                  </a:lnTo>
                  <a:lnTo>
                    <a:pt x="11226" y="0"/>
                  </a:lnTo>
                  <a:close/>
                </a:path>
              </a:pathLst>
            </a:custGeom>
            <a:solidFill>
              <a:srgbClr val="EF3D60">
                <a:alpha val="50999"/>
              </a:srgbClr>
            </a:solidFill>
          </p:spPr>
          <p:txBody>
            <a:bodyPr wrap="square" lIns="0" tIns="0" rIns="0" bIns="0" rtlCol="0"/>
            <a:lstStyle/>
            <a:p>
              <a:endParaRPr sz="2968"/>
            </a:p>
          </p:txBody>
        </p:sp>
        <p:sp>
          <p:nvSpPr>
            <p:cNvPr id="76" name="object 74">
              <a:extLst>
                <a:ext uri="{FF2B5EF4-FFF2-40B4-BE49-F238E27FC236}">
                  <a16:creationId xmlns:a16="http://schemas.microsoft.com/office/drawing/2014/main" id="{2FE6ED7B-8E18-E54D-B7A8-E61C540B91B1}"/>
                </a:ext>
              </a:extLst>
            </p:cNvPr>
            <p:cNvSpPr/>
            <p:nvPr/>
          </p:nvSpPr>
          <p:spPr>
            <a:xfrm>
              <a:off x="7868787" y="5180136"/>
              <a:ext cx="1659255" cy="297815"/>
            </a:xfrm>
            <a:custGeom>
              <a:avLst/>
              <a:gdLst/>
              <a:ahLst/>
              <a:cxnLst/>
              <a:rect l="l" t="t" r="r" b="b"/>
              <a:pathLst>
                <a:path w="1659254" h="297814">
                  <a:moveTo>
                    <a:pt x="795324" y="140474"/>
                  </a:moveTo>
                  <a:lnTo>
                    <a:pt x="0" y="283222"/>
                  </a:lnTo>
                  <a:lnTo>
                    <a:pt x="1587" y="287629"/>
                  </a:lnTo>
                  <a:lnTo>
                    <a:pt x="2476" y="292366"/>
                  </a:lnTo>
                  <a:lnTo>
                    <a:pt x="2527" y="297307"/>
                  </a:lnTo>
                  <a:lnTo>
                    <a:pt x="809180" y="152527"/>
                  </a:lnTo>
                  <a:lnTo>
                    <a:pt x="803744" y="149529"/>
                  </a:lnTo>
                  <a:lnTo>
                    <a:pt x="799020" y="145415"/>
                  </a:lnTo>
                  <a:lnTo>
                    <a:pt x="795324" y="140474"/>
                  </a:lnTo>
                  <a:close/>
                </a:path>
                <a:path w="1659254" h="297814">
                  <a:moveTo>
                    <a:pt x="1217739" y="79197"/>
                  </a:moveTo>
                  <a:lnTo>
                    <a:pt x="1005141" y="102819"/>
                  </a:lnTo>
                  <a:lnTo>
                    <a:pt x="871753" y="126758"/>
                  </a:lnTo>
                  <a:lnTo>
                    <a:pt x="869975" y="132778"/>
                  </a:lnTo>
                  <a:lnTo>
                    <a:pt x="866927" y="138252"/>
                  </a:lnTo>
                  <a:lnTo>
                    <a:pt x="862939" y="142875"/>
                  </a:lnTo>
                  <a:lnTo>
                    <a:pt x="1217739" y="79197"/>
                  </a:lnTo>
                  <a:close/>
                </a:path>
                <a:path w="1659254" h="297814">
                  <a:moveTo>
                    <a:pt x="1658950" y="0"/>
                  </a:moveTo>
                  <a:lnTo>
                    <a:pt x="1585341" y="6286"/>
                  </a:lnTo>
                  <a:lnTo>
                    <a:pt x="1327238" y="45008"/>
                  </a:lnTo>
                  <a:lnTo>
                    <a:pt x="1233487" y="61823"/>
                  </a:lnTo>
                  <a:lnTo>
                    <a:pt x="1446072" y="38214"/>
                  </a:lnTo>
                  <a:lnTo>
                    <a:pt x="1658950" y="0"/>
                  </a:lnTo>
                  <a:close/>
                </a:path>
              </a:pathLst>
            </a:custGeom>
            <a:solidFill>
              <a:srgbClr val="EF3D60">
                <a:alpha val="50999"/>
              </a:srgbClr>
            </a:solidFill>
          </p:spPr>
          <p:txBody>
            <a:bodyPr wrap="square" lIns="0" tIns="0" rIns="0" bIns="0" rtlCol="0"/>
            <a:lstStyle/>
            <a:p>
              <a:endParaRPr sz="2968"/>
            </a:p>
          </p:txBody>
        </p:sp>
        <p:sp>
          <p:nvSpPr>
            <p:cNvPr id="77" name="object 75">
              <a:extLst>
                <a:ext uri="{FF2B5EF4-FFF2-40B4-BE49-F238E27FC236}">
                  <a16:creationId xmlns:a16="http://schemas.microsoft.com/office/drawing/2014/main" id="{269EA8D4-1A56-3F4F-9E47-682CD958B406}"/>
                </a:ext>
              </a:extLst>
            </p:cNvPr>
            <p:cNvSpPr/>
            <p:nvPr/>
          </p:nvSpPr>
          <p:spPr>
            <a:xfrm>
              <a:off x="9636614" y="5196310"/>
              <a:ext cx="1106170" cy="1489710"/>
            </a:xfrm>
            <a:custGeom>
              <a:avLst/>
              <a:gdLst/>
              <a:ahLst/>
              <a:cxnLst/>
              <a:rect l="l" t="t" r="r" b="b"/>
              <a:pathLst>
                <a:path w="1106170" h="1489709">
                  <a:moveTo>
                    <a:pt x="667702" y="884847"/>
                  </a:moveTo>
                  <a:lnTo>
                    <a:pt x="660615" y="900290"/>
                  </a:lnTo>
                  <a:lnTo>
                    <a:pt x="1093698" y="1489265"/>
                  </a:lnTo>
                  <a:lnTo>
                    <a:pt x="1097140" y="1485684"/>
                  </a:lnTo>
                  <a:lnTo>
                    <a:pt x="1101166" y="1482699"/>
                  </a:lnTo>
                  <a:lnTo>
                    <a:pt x="1105649" y="1480464"/>
                  </a:lnTo>
                  <a:lnTo>
                    <a:pt x="667702" y="884847"/>
                  </a:lnTo>
                  <a:close/>
                </a:path>
                <a:path w="1106170" h="1489709">
                  <a:moveTo>
                    <a:pt x="656513" y="869619"/>
                  </a:moveTo>
                  <a:lnTo>
                    <a:pt x="649249" y="884834"/>
                  </a:lnTo>
                  <a:lnTo>
                    <a:pt x="649846" y="885647"/>
                  </a:lnTo>
                  <a:lnTo>
                    <a:pt x="656932" y="870191"/>
                  </a:lnTo>
                  <a:lnTo>
                    <a:pt x="656513" y="869619"/>
                  </a:lnTo>
                  <a:close/>
                </a:path>
                <a:path w="1106170" h="1489709">
                  <a:moveTo>
                    <a:pt x="416026" y="542556"/>
                  </a:moveTo>
                  <a:lnTo>
                    <a:pt x="405091" y="552792"/>
                  </a:lnTo>
                  <a:lnTo>
                    <a:pt x="638289" y="869950"/>
                  </a:lnTo>
                  <a:lnTo>
                    <a:pt x="645566" y="854722"/>
                  </a:lnTo>
                  <a:lnTo>
                    <a:pt x="416026" y="542556"/>
                  </a:lnTo>
                  <a:close/>
                </a:path>
                <a:path w="1106170" h="1489709">
                  <a:moveTo>
                    <a:pt x="368338" y="477697"/>
                  </a:moveTo>
                  <a:lnTo>
                    <a:pt x="356654" y="486930"/>
                  </a:lnTo>
                  <a:lnTo>
                    <a:pt x="396201" y="540702"/>
                  </a:lnTo>
                  <a:lnTo>
                    <a:pt x="407136" y="530466"/>
                  </a:lnTo>
                  <a:lnTo>
                    <a:pt x="368338" y="477697"/>
                  </a:lnTo>
                  <a:close/>
                </a:path>
                <a:path w="1106170" h="1489709">
                  <a:moveTo>
                    <a:pt x="17094" y="0"/>
                  </a:moveTo>
                  <a:lnTo>
                    <a:pt x="0" y="1905"/>
                  </a:lnTo>
                  <a:lnTo>
                    <a:pt x="346633" y="473303"/>
                  </a:lnTo>
                  <a:lnTo>
                    <a:pt x="358317" y="464070"/>
                  </a:lnTo>
                  <a:lnTo>
                    <a:pt x="17094" y="0"/>
                  </a:lnTo>
                  <a:close/>
                </a:path>
              </a:pathLst>
            </a:custGeom>
            <a:solidFill>
              <a:srgbClr val="EF3D60">
                <a:alpha val="50999"/>
              </a:srgbClr>
            </a:solidFill>
          </p:spPr>
          <p:txBody>
            <a:bodyPr wrap="square" lIns="0" tIns="0" rIns="0" bIns="0" rtlCol="0"/>
            <a:lstStyle/>
            <a:p>
              <a:endParaRPr sz="2968"/>
            </a:p>
          </p:txBody>
        </p:sp>
        <p:sp>
          <p:nvSpPr>
            <p:cNvPr id="78" name="object 76">
              <a:extLst>
                <a:ext uri="{FF2B5EF4-FFF2-40B4-BE49-F238E27FC236}">
                  <a16:creationId xmlns:a16="http://schemas.microsoft.com/office/drawing/2014/main" id="{56EE71A6-CCB6-584D-8795-5322E6EED210}"/>
                </a:ext>
              </a:extLst>
            </p:cNvPr>
            <p:cNvSpPr/>
            <p:nvPr/>
          </p:nvSpPr>
          <p:spPr>
            <a:xfrm>
              <a:off x="9344245" y="5200961"/>
              <a:ext cx="267970" cy="1153160"/>
            </a:xfrm>
            <a:custGeom>
              <a:avLst/>
              <a:gdLst/>
              <a:ahLst/>
              <a:cxnLst/>
              <a:rect l="l" t="t" r="r" b="b"/>
              <a:pathLst>
                <a:path w="267970" h="1153160">
                  <a:moveTo>
                    <a:pt x="56438" y="950493"/>
                  </a:moveTo>
                  <a:lnTo>
                    <a:pt x="41884" y="961999"/>
                  </a:lnTo>
                  <a:lnTo>
                    <a:pt x="0" y="1150518"/>
                  </a:lnTo>
                  <a:lnTo>
                    <a:pt x="3987" y="1150848"/>
                  </a:lnTo>
                  <a:lnTo>
                    <a:pt x="7823" y="1151712"/>
                  </a:lnTo>
                  <a:lnTo>
                    <a:pt x="11429" y="1153058"/>
                  </a:lnTo>
                  <a:lnTo>
                    <a:pt x="56438" y="950493"/>
                  </a:lnTo>
                  <a:close/>
                </a:path>
                <a:path w="267970" h="1153160">
                  <a:moveTo>
                    <a:pt x="267627" y="0"/>
                  </a:moveTo>
                  <a:lnTo>
                    <a:pt x="255333" y="1371"/>
                  </a:lnTo>
                  <a:lnTo>
                    <a:pt x="47688" y="935850"/>
                  </a:lnTo>
                  <a:lnTo>
                    <a:pt x="62255" y="924356"/>
                  </a:lnTo>
                  <a:lnTo>
                    <a:pt x="267627" y="0"/>
                  </a:lnTo>
                  <a:close/>
                </a:path>
              </a:pathLst>
            </a:custGeom>
            <a:solidFill>
              <a:srgbClr val="EF3D60">
                <a:alpha val="50999"/>
              </a:srgbClr>
            </a:solidFill>
          </p:spPr>
          <p:txBody>
            <a:bodyPr wrap="square" lIns="0" tIns="0" rIns="0" bIns="0" rtlCol="0"/>
            <a:lstStyle/>
            <a:p>
              <a:endParaRPr sz="2968"/>
            </a:p>
          </p:txBody>
        </p:sp>
        <p:sp>
          <p:nvSpPr>
            <p:cNvPr id="79" name="object 77">
              <a:extLst>
                <a:ext uri="{FF2B5EF4-FFF2-40B4-BE49-F238E27FC236}">
                  <a16:creationId xmlns:a16="http://schemas.microsoft.com/office/drawing/2014/main" id="{5E467FDF-B049-054F-BA42-220C6FC4243B}"/>
                </a:ext>
              </a:extLst>
            </p:cNvPr>
            <p:cNvSpPr/>
            <p:nvPr/>
          </p:nvSpPr>
          <p:spPr>
            <a:xfrm>
              <a:off x="8137898" y="5175967"/>
              <a:ext cx="1443355" cy="747395"/>
            </a:xfrm>
            <a:custGeom>
              <a:avLst/>
              <a:gdLst/>
              <a:ahLst/>
              <a:cxnLst/>
              <a:rect l="l" t="t" r="r" b="b"/>
              <a:pathLst>
                <a:path w="1443354" h="747395">
                  <a:moveTo>
                    <a:pt x="1389379" y="34391"/>
                  </a:moveTo>
                  <a:lnTo>
                    <a:pt x="1351025" y="38658"/>
                  </a:lnTo>
                  <a:lnTo>
                    <a:pt x="0" y="734669"/>
                  </a:lnTo>
                  <a:lnTo>
                    <a:pt x="2717" y="738352"/>
                  </a:lnTo>
                  <a:lnTo>
                    <a:pt x="4851" y="742454"/>
                  </a:lnTo>
                  <a:lnTo>
                    <a:pt x="6311" y="746887"/>
                  </a:lnTo>
                  <a:lnTo>
                    <a:pt x="1389379" y="34391"/>
                  </a:lnTo>
                  <a:close/>
                </a:path>
                <a:path w="1443354" h="747395">
                  <a:moveTo>
                    <a:pt x="1438630" y="0"/>
                  </a:moveTo>
                  <a:lnTo>
                    <a:pt x="1423555" y="1282"/>
                  </a:lnTo>
                  <a:lnTo>
                    <a:pt x="1389672" y="18745"/>
                  </a:lnTo>
                  <a:lnTo>
                    <a:pt x="1428026" y="14490"/>
                  </a:lnTo>
                  <a:lnTo>
                    <a:pt x="1442783" y="6883"/>
                  </a:lnTo>
                  <a:lnTo>
                    <a:pt x="1441195" y="4737"/>
                  </a:lnTo>
                  <a:lnTo>
                    <a:pt x="1439798" y="2425"/>
                  </a:lnTo>
                  <a:lnTo>
                    <a:pt x="1438630" y="0"/>
                  </a:lnTo>
                  <a:close/>
                </a:path>
              </a:pathLst>
            </a:custGeom>
            <a:solidFill>
              <a:srgbClr val="EF3D60">
                <a:alpha val="50999"/>
              </a:srgbClr>
            </a:solidFill>
          </p:spPr>
          <p:txBody>
            <a:bodyPr wrap="square" lIns="0" tIns="0" rIns="0" bIns="0" rtlCol="0"/>
            <a:lstStyle/>
            <a:p>
              <a:endParaRPr sz="2968"/>
            </a:p>
          </p:txBody>
        </p:sp>
        <p:sp>
          <p:nvSpPr>
            <p:cNvPr id="80" name="object 78">
              <a:extLst>
                <a:ext uri="{FF2B5EF4-FFF2-40B4-BE49-F238E27FC236}">
                  <a16:creationId xmlns:a16="http://schemas.microsoft.com/office/drawing/2014/main" id="{E7367AB1-230B-8F40-8C92-2F4472E0A3B7}"/>
                </a:ext>
              </a:extLst>
            </p:cNvPr>
            <p:cNvSpPr/>
            <p:nvPr/>
          </p:nvSpPr>
          <p:spPr>
            <a:xfrm>
              <a:off x="9644627" y="3524810"/>
              <a:ext cx="2141855" cy="1608455"/>
            </a:xfrm>
            <a:custGeom>
              <a:avLst/>
              <a:gdLst/>
              <a:ahLst/>
              <a:cxnLst/>
              <a:rect l="l" t="t" r="r" b="b"/>
              <a:pathLst>
                <a:path w="2141854" h="1608454">
                  <a:moveTo>
                    <a:pt x="153111" y="1483969"/>
                  </a:moveTo>
                  <a:lnTo>
                    <a:pt x="1422" y="1597748"/>
                  </a:lnTo>
                  <a:lnTo>
                    <a:pt x="0" y="1599971"/>
                  </a:lnTo>
                  <a:lnTo>
                    <a:pt x="2743" y="1602422"/>
                  </a:lnTo>
                  <a:lnTo>
                    <a:pt x="5168" y="1605229"/>
                  </a:lnTo>
                  <a:lnTo>
                    <a:pt x="7200" y="1608302"/>
                  </a:lnTo>
                  <a:lnTo>
                    <a:pt x="32524" y="1597901"/>
                  </a:lnTo>
                  <a:lnTo>
                    <a:pt x="181825" y="1485938"/>
                  </a:lnTo>
                  <a:lnTo>
                    <a:pt x="153111" y="1483969"/>
                  </a:lnTo>
                  <a:close/>
                </a:path>
                <a:path w="2141854" h="1608454">
                  <a:moveTo>
                    <a:pt x="216941" y="1436090"/>
                  </a:moveTo>
                  <a:lnTo>
                    <a:pt x="175755" y="1466989"/>
                  </a:lnTo>
                  <a:lnTo>
                    <a:pt x="204457" y="1468958"/>
                  </a:lnTo>
                  <a:lnTo>
                    <a:pt x="243763" y="1439481"/>
                  </a:lnTo>
                  <a:lnTo>
                    <a:pt x="216941" y="1436090"/>
                  </a:lnTo>
                  <a:close/>
                </a:path>
                <a:path w="2141854" h="1608454">
                  <a:moveTo>
                    <a:pt x="542150" y="1192187"/>
                  </a:moveTo>
                  <a:lnTo>
                    <a:pt x="237528" y="1420660"/>
                  </a:lnTo>
                  <a:lnTo>
                    <a:pt x="264337" y="1424038"/>
                  </a:lnTo>
                  <a:lnTo>
                    <a:pt x="559282" y="1202829"/>
                  </a:lnTo>
                  <a:lnTo>
                    <a:pt x="542150" y="1192187"/>
                  </a:lnTo>
                  <a:close/>
                </a:path>
                <a:path w="2141854" h="1608454">
                  <a:moveTo>
                    <a:pt x="639445" y="1119212"/>
                  </a:moveTo>
                  <a:lnTo>
                    <a:pt x="555155" y="1182433"/>
                  </a:lnTo>
                  <a:lnTo>
                    <a:pt x="572287" y="1193076"/>
                  </a:lnTo>
                  <a:lnTo>
                    <a:pt x="653656" y="1132052"/>
                  </a:lnTo>
                  <a:lnTo>
                    <a:pt x="639445" y="1119212"/>
                  </a:lnTo>
                  <a:close/>
                </a:path>
                <a:path w="2141854" h="1608454">
                  <a:moveTo>
                    <a:pt x="1019530" y="834148"/>
                  </a:moveTo>
                  <a:lnTo>
                    <a:pt x="651471" y="1110195"/>
                  </a:lnTo>
                  <a:lnTo>
                    <a:pt x="665683" y="1123022"/>
                  </a:lnTo>
                  <a:lnTo>
                    <a:pt x="1022299" y="855560"/>
                  </a:lnTo>
                  <a:lnTo>
                    <a:pt x="1019530" y="834148"/>
                  </a:lnTo>
                  <a:close/>
                </a:path>
                <a:path w="2141854" h="1608454">
                  <a:moveTo>
                    <a:pt x="1084529" y="785406"/>
                  </a:moveTo>
                  <a:lnTo>
                    <a:pt x="1031024" y="825538"/>
                  </a:lnTo>
                  <a:lnTo>
                    <a:pt x="1033792" y="846937"/>
                  </a:lnTo>
                  <a:lnTo>
                    <a:pt x="1085278" y="808329"/>
                  </a:lnTo>
                  <a:lnTo>
                    <a:pt x="1084529" y="785406"/>
                  </a:lnTo>
                  <a:close/>
                </a:path>
                <a:path w="2141854" h="1608454">
                  <a:moveTo>
                    <a:pt x="1372857" y="569150"/>
                  </a:moveTo>
                  <a:lnTo>
                    <a:pt x="1099858" y="773899"/>
                  </a:lnTo>
                  <a:lnTo>
                    <a:pt x="1100607" y="796823"/>
                  </a:lnTo>
                  <a:lnTo>
                    <a:pt x="1386268" y="582574"/>
                  </a:lnTo>
                  <a:lnTo>
                    <a:pt x="1372857" y="569150"/>
                  </a:lnTo>
                  <a:close/>
                </a:path>
                <a:path w="2141854" h="1608454">
                  <a:moveTo>
                    <a:pt x="1614233" y="388111"/>
                  </a:moveTo>
                  <a:lnTo>
                    <a:pt x="1384681" y="560285"/>
                  </a:lnTo>
                  <a:lnTo>
                    <a:pt x="1398092" y="573697"/>
                  </a:lnTo>
                  <a:lnTo>
                    <a:pt x="1623987" y="404291"/>
                  </a:lnTo>
                  <a:lnTo>
                    <a:pt x="1614233" y="388111"/>
                  </a:lnTo>
                  <a:close/>
                </a:path>
                <a:path w="2141854" h="1608454">
                  <a:moveTo>
                    <a:pt x="2053310" y="58813"/>
                  </a:moveTo>
                  <a:lnTo>
                    <a:pt x="1627809" y="377939"/>
                  </a:lnTo>
                  <a:lnTo>
                    <a:pt x="1637550" y="394106"/>
                  </a:lnTo>
                  <a:lnTo>
                    <a:pt x="2056371" y="79984"/>
                  </a:lnTo>
                  <a:lnTo>
                    <a:pt x="2053310" y="58813"/>
                  </a:lnTo>
                  <a:close/>
                </a:path>
                <a:path w="2141854" h="1608454">
                  <a:moveTo>
                    <a:pt x="2131720" y="0"/>
                  </a:moveTo>
                  <a:lnTo>
                    <a:pt x="2070354" y="46037"/>
                  </a:lnTo>
                  <a:lnTo>
                    <a:pt x="2073402" y="67221"/>
                  </a:lnTo>
                  <a:lnTo>
                    <a:pt x="2137194" y="19367"/>
                  </a:lnTo>
                  <a:lnTo>
                    <a:pt x="2141232" y="13398"/>
                  </a:lnTo>
                  <a:lnTo>
                    <a:pt x="2137270" y="9601"/>
                  </a:lnTo>
                  <a:lnTo>
                    <a:pt x="2134031" y="5054"/>
                  </a:lnTo>
                  <a:lnTo>
                    <a:pt x="2131720" y="0"/>
                  </a:lnTo>
                  <a:close/>
                </a:path>
              </a:pathLst>
            </a:custGeom>
            <a:solidFill>
              <a:srgbClr val="EF3D60">
                <a:alpha val="50999"/>
              </a:srgbClr>
            </a:solidFill>
          </p:spPr>
          <p:txBody>
            <a:bodyPr wrap="square" lIns="0" tIns="0" rIns="0" bIns="0" rtlCol="0"/>
            <a:lstStyle/>
            <a:p>
              <a:endParaRPr sz="2968"/>
            </a:p>
          </p:txBody>
        </p:sp>
        <p:sp>
          <p:nvSpPr>
            <p:cNvPr id="81" name="object 79">
              <a:extLst>
                <a:ext uri="{FF2B5EF4-FFF2-40B4-BE49-F238E27FC236}">
                  <a16:creationId xmlns:a16="http://schemas.microsoft.com/office/drawing/2014/main" id="{31464098-EE8F-0C4A-938A-411F3D09BDF8}"/>
                </a:ext>
              </a:extLst>
            </p:cNvPr>
            <p:cNvSpPr/>
            <p:nvPr/>
          </p:nvSpPr>
          <p:spPr>
            <a:xfrm>
              <a:off x="9642115" y="3676737"/>
              <a:ext cx="919480" cy="1448435"/>
            </a:xfrm>
            <a:custGeom>
              <a:avLst/>
              <a:gdLst/>
              <a:ahLst/>
              <a:cxnLst/>
              <a:rect l="l" t="t" r="r" b="b"/>
              <a:pathLst>
                <a:path w="919479" h="1448435">
                  <a:moveTo>
                    <a:pt x="63461" y="1325740"/>
                  </a:moveTo>
                  <a:lnTo>
                    <a:pt x="43497" y="1357096"/>
                  </a:lnTo>
                  <a:lnTo>
                    <a:pt x="0" y="1445945"/>
                  </a:lnTo>
                  <a:lnTo>
                    <a:pt x="863" y="1446618"/>
                  </a:lnTo>
                  <a:lnTo>
                    <a:pt x="1714" y="1447317"/>
                  </a:lnTo>
                  <a:lnTo>
                    <a:pt x="2514" y="1448041"/>
                  </a:lnTo>
                  <a:lnTo>
                    <a:pt x="79628" y="1326845"/>
                  </a:lnTo>
                  <a:lnTo>
                    <a:pt x="63461" y="1325740"/>
                  </a:lnTo>
                  <a:close/>
                </a:path>
                <a:path w="919479" h="1448435">
                  <a:moveTo>
                    <a:pt x="99542" y="1269047"/>
                  </a:moveTo>
                  <a:lnTo>
                    <a:pt x="74764" y="1307985"/>
                  </a:lnTo>
                  <a:lnTo>
                    <a:pt x="90931" y="1309090"/>
                  </a:lnTo>
                  <a:lnTo>
                    <a:pt x="115163" y="1271015"/>
                  </a:lnTo>
                  <a:lnTo>
                    <a:pt x="99542" y="1269047"/>
                  </a:lnTo>
                  <a:close/>
                </a:path>
                <a:path w="919479" h="1448435">
                  <a:moveTo>
                    <a:pt x="330047" y="906843"/>
                  </a:moveTo>
                  <a:lnTo>
                    <a:pt x="110172" y="1252346"/>
                  </a:lnTo>
                  <a:lnTo>
                    <a:pt x="125780" y="1254315"/>
                  </a:lnTo>
                  <a:lnTo>
                    <a:pt x="342112" y="914349"/>
                  </a:lnTo>
                  <a:lnTo>
                    <a:pt x="330047" y="906843"/>
                  </a:lnTo>
                  <a:close/>
                </a:path>
                <a:path w="919479" h="1448435">
                  <a:moveTo>
                    <a:pt x="419468" y="766317"/>
                  </a:moveTo>
                  <a:lnTo>
                    <a:pt x="338188" y="894054"/>
                  </a:lnTo>
                  <a:lnTo>
                    <a:pt x="350253" y="901572"/>
                  </a:lnTo>
                  <a:lnTo>
                    <a:pt x="430174" y="775982"/>
                  </a:lnTo>
                  <a:lnTo>
                    <a:pt x="419468" y="766317"/>
                  </a:lnTo>
                  <a:close/>
                </a:path>
                <a:path w="919479" h="1448435">
                  <a:moveTo>
                    <a:pt x="907148" y="0"/>
                  </a:moveTo>
                  <a:lnTo>
                    <a:pt x="427507" y="753694"/>
                  </a:lnTo>
                  <a:lnTo>
                    <a:pt x="438213" y="763358"/>
                  </a:lnTo>
                  <a:lnTo>
                    <a:pt x="919111" y="7619"/>
                  </a:lnTo>
                  <a:lnTo>
                    <a:pt x="914704" y="5740"/>
                  </a:lnTo>
                  <a:lnTo>
                    <a:pt x="910666" y="3149"/>
                  </a:lnTo>
                  <a:lnTo>
                    <a:pt x="907148" y="0"/>
                  </a:lnTo>
                  <a:close/>
                </a:path>
              </a:pathLst>
            </a:custGeom>
            <a:solidFill>
              <a:srgbClr val="EF3D60">
                <a:alpha val="50999"/>
              </a:srgbClr>
            </a:solidFill>
          </p:spPr>
          <p:txBody>
            <a:bodyPr wrap="square" lIns="0" tIns="0" rIns="0" bIns="0" rtlCol="0"/>
            <a:lstStyle/>
            <a:p>
              <a:endParaRPr sz="2968"/>
            </a:p>
          </p:txBody>
        </p:sp>
        <p:sp>
          <p:nvSpPr>
            <p:cNvPr id="82" name="object 80">
              <a:extLst>
                <a:ext uri="{FF2B5EF4-FFF2-40B4-BE49-F238E27FC236}">
                  <a16:creationId xmlns:a16="http://schemas.microsoft.com/office/drawing/2014/main" id="{A1D5B75D-B855-3F4B-8DE1-946E54B08ED3}"/>
                </a:ext>
              </a:extLst>
            </p:cNvPr>
            <p:cNvSpPr/>
            <p:nvPr/>
          </p:nvSpPr>
          <p:spPr>
            <a:xfrm>
              <a:off x="9343040" y="3822852"/>
              <a:ext cx="262255" cy="1288415"/>
            </a:xfrm>
            <a:custGeom>
              <a:avLst/>
              <a:gdLst/>
              <a:ahLst/>
              <a:cxnLst/>
              <a:rect l="l" t="t" r="r" b="b"/>
              <a:pathLst>
                <a:path w="262254" h="1288414">
                  <a:moveTo>
                    <a:pt x="233641" y="1170813"/>
                  </a:moveTo>
                  <a:lnTo>
                    <a:pt x="252869" y="1266952"/>
                  </a:lnTo>
                  <a:lnTo>
                    <a:pt x="261937" y="1287843"/>
                  </a:lnTo>
                  <a:lnTo>
                    <a:pt x="260299" y="1241069"/>
                  </a:lnTo>
                  <a:lnTo>
                    <a:pt x="246430" y="1171689"/>
                  </a:lnTo>
                  <a:lnTo>
                    <a:pt x="233641" y="1170813"/>
                  </a:lnTo>
                  <a:close/>
                </a:path>
                <a:path w="262254" h="1288414">
                  <a:moveTo>
                    <a:pt x="219557" y="1100340"/>
                  </a:moveTo>
                  <a:lnTo>
                    <a:pt x="229895" y="1152029"/>
                  </a:lnTo>
                  <a:lnTo>
                    <a:pt x="242671" y="1152906"/>
                  </a:lnTo>
                  <a:lnTo>
                    <a:pt x="232486" y="1101979"/>
                  </a:lnTo>
                  <a:lnTo>
                    <a:pt x="219557" y="1100340"/>
                  </a:lnTo>
                  <a:close/>
                </a:path>
                <a:path w="262254" h="1288414">
                  <a:moveTo>
                    <a:pt x="83858" y="421779"/>
                  </a:moveTo>
                  <a:lnTo>
                    <a:pt x="215861" y="1081849"/>
                  </a:lnTo>
                  <a:lnTo>
                    <a:pt x="228777" y="1083475"/>
                  </a:lnTo>
                  <a:lnTo>
                    <a:pt x="98234" y="430720"/>
                  </a:lnTo>
                  <a:lnTo>
                    <a:pt x="83858" y="421779"/>
                  </a:lnTo>
                  <a:close/>
                </a:path>
                <a:path w="262254" h="1288414">
                  <a:moveTo>
                    <a:pt x="12090" y="0"/>
                  </a:moveTo>
                  <a:lnTo>
                    <a:pt x="8280" y="1358"/>
                  </a:lnTo>
                  <a:lnTo>
                    <a:pt x="4216" y="2197"/>
                  </a:lnTo>
                  <a:lnTo>
                    <a:pt x="0" y="2425"/>
                  </a:lnTo>
                  <a:lnTo>
                    <a:pt x="79781" y="401408"/>
                  </a:lnTo>
                  <a:lnTo>
                    <a:pt x="94157" y="410349"/>
                  </a:lnTo>
                  <a:lnTo>
                    <a:pt x="12090" y="0"/>
                  </a:lnTo>
                  <a:close/>
                </a:path>
              </a:pathLst>
            </a:custGeom>
            <a:solidFill>
              <a:srgbClr val="EF3D60">
                <a:alpha val="50999"/>
              </a:srgbClr>
            </a:solidFill>
          </p:spPr>
          <p:txBody>
            <a:bodyPr wrap="square" lIns="0" tIns="0" rIns="0" bIns="0" rtlCol="0"/>
            <a:lstStyle/>
            <a:p>
              <a:endParaRPr sz="2968"/>
            </a:p>
          </p:txBody>
        </p:sp>
        <p:sp>
          <p:nvSpPr>
            <p:cNvPr id="83" name="object 81">
              <a:extLst>
                <a:ext uri="{FF2B5EF4-FFF2-40B4-BE49-F238E27FC236}">
                  <a16:creationId xmlns:a16="http://schemas.microsoft.com/office/drawing/2014/main" id="{93F247E1-1D8F-0B4E-B8CF-602A4A8A5696}"/>
                </a:ext>
              </a:extLst>
            </p:cNvPr>
            <p:cNvSpPr/>
            <p:nvPr/>
          </p:nvSpPr>
          <p:spPr>
            <a:xfrm>
              <a:off x="8041657" y="4029809"/>
              <a:ext cx="1543685" cy="1108710"/>
            </a:xfrm>
            <a:custGeom>
              <a:avLst/>
              <a:gdLst/>
              <a:ahLst/>
              <a:cxnLst/>
              <a:rect l="l" t="t" r="r" b="b"/>
              <a:pathLst>
                <a:path w="1543684" h="1108710">
                  <a:moveTo>
                    <a:pt x="1310741" y="948524"/>
                  </a:moveTo>
                  <a:lnTo>
                    <a:pt x="1534794" y="1108557"/>
                  </a:lnTo>
                  <a:lnTo>
                    <a:pt x="1536992" y="1103972"/>
                  </a:lnTo>
                  <a:lnTo>
                    <a:pt x="1539976" y="1099832"/>
                  </a:lnTo>
                  <a:lnTo>
                    <a:pt x="1543570" y="1096302"/>
                  </a:lnTo>
                  <a:lnTo>
                    <a:pt x="1339430" y="950480"/>
                  </a:lnTo>
                  <a:lnTo>
                    <a:pt x="1310741" y="948524"/>
                  </a:lnTo>
                  <a:close/>
                </a:path>
                <a:path w="1543684" h="1108710">
                  <a:moveTo>
                    <a:pt x="1171930" y="849376"/>
                  </a:moveTo>
                  <a:lnTo>
                    <a:pt x="1282064" y="928039"/>
                  </a:lnTo>
                  <a:lnTo>
                    <a:pt x="1310754" y="929995"/>
                  </a:lnTo>
                  <a:lnTo>
                    <a:pt x="1203439" y="853351"/>
                  </a:lnTo>
                  <a:lnTo>
                    <a:pt x="1171930" y="849376"/>
                  </a:lnTo>
                  <a:close/>
                </a:path>
                <a:path w="1543684" h="1108710">
                  <a:moveTo>
                    <a:pt x="8762" y="0"/>
                  </a:moveTo>
                  <a:lnTo>
                    <a:pt x="6565" y="4597"/>
                  </a:lnTo>
                  <a:lnTo>
                    <a:pt x="3581" y="8737"/>
                  </a:lnTo>
                  <a:lnTo>
                    <a:pt x="0" y="12268"/>
                  </a:lnTo>
                  <a:lnTo>
                    <a:pt x="1141272" y="827468"/>
                  </a:lnTo>
                  <a:lnTo>
                    <a:pt x="1172768" y="831443"/>
                  </a:lnTo>
                  <a:lnTo>
                    <a:pt x="8762" y="0"/>
                  </a:lnTo>
                  <a:close/>
                </a:path>
              </a:pathLst>
            </a:custGeom>
            <a:solidFill>
              <a:srgbClr val="EF3D60">
                <a:alpha val="50999"/>
              </a:srgbClr>
            </a:solidFill>
          </p:spPr>
          <p:txBody>
            <a:bodyPr wrap="square" lIns="0" tIns="0" rIns="0" bIns="0" rtlCol="0"/>
            <a:lstStyle/>
            <a:p>
              <a:endParaRPr sz="2968"/>
            </a:p>
          </p:txBody>
        </p:sp>
        <p:sp>
          <p:nvSpPr>
            <p:cNvPr id="84" name="object 82">
              <a:extLst>
                <a:ext uri="{FF2B5EF4-FFF2-40B4-BE49-F238E27FC236}">
                  <a16:creationId xmlns:a16="http://schemas.microsoft.com/office/drawing/2014/main" id="{995B8496-FCDC-1444-B3F8-4F364CE8EF64}"/>
                </a:ext>
              </a:extLst>
            </p:cNvPr>
            <p:cNvSpPr/>
            <p:nvPr/>
          </p:nvSpPr>
          <p:spPr>
            <a:xfrm>
              <a:off x="9078934" y="4047340"/>
              <a:ext cx="498475" cy="1043940"/>
            </a:xfrm>
            <a:custGeom>
              <a:avLst/>
              <a:gdLst/>
              <a:ahLst/>
              <a:cxnLst/>
              <a:rect l="l" t="t" r="r" b="b"/>
              <a:pathLst>
                <a:path w="498475" h="1043939">
                  <a:moveTo>
                    <a:pt x="450215" y="943076"/>
                  </a:moveTo>
                  <a:lnTo>
                    <a:pt x="498373" y="1043406"/>
                  </a:lnTo>
                  <a:lnTo>
                    <a:pt x="454939" y="943394"/>
                  </a:lnTo>
                  <a:lnTo>
                    <a:pt x="450215" y="943076"/>
                  </a:lnTo>
                  <a:close/>
                </a:path>
                <a:path w="498475" h="1043939">
                  <a:moveTo>
                    <a:pt x="413715" y="867041"/>
                  </a:moveTo>
                  <a:lnTo>
                    <a:pt x="441020" y="923925"/>
                  </a:lnTo>
                  <a:lnTo>
                    <a:pt x="446646" y="924306"/>
                  </a:lnTo>
                  <a:lnTo>
                    <a:pt x="422236" y="868108"/>
                  </a:lnTo>
                  <a:lnTo>
                    <a:pt x="413715" y="867041"/>
                  </a:lnTo>
                  <a:close/>
                </a:path>
                <a:path w="498475" h="1043939">
                  <a:moveTo>
                    <a:pt x="10553" y="0"/>
                  </a:moveTo>
                  <a:lnTo>
                    <a:pt x="7315" y="2133"/>
                  </a:lnTo>
                  <a:lnTo>
                    <a:pt x="3771" y="3860"/>
                  </a:lnTo>
                  <a:lnTo>
                    <a:pt x="0" y="5067"/>
                  </a:lnTo>
                  <a:lnTo>
                    <a:pt x="404507" y="847839"/>
                  </a:lnTo>
                  <a:lnTo>
                    <a:pt x="413943" y="849033"/>
                  </a:lnTo>
                  <a:lnTo>
                    <a:pt x="374878" y="759066"/>
                  </a:lnTo>
                  <a:lnTo>
                    <a:pt x="10553" y="0"/>
                  </a:lnTo>
                  <a:close/>
                </a:path>
              </a:pathLst>
            </a:custGeom>
            <a:solidFill>
              <a:srgbClr val="EF3D60">
                <a:alpha val="50999"/>
              </a:srgbClr>
            </a:solidFill>
          </p:spPr>
          <p:txBody>
            <a:bodyPr wrap="square" lIns="0" tIns="0" rIns="0" bIns="0" rtlCol="0"/>
            <a:lstStyle/>
            <a:p>
              <a:endParaRPr sz="2968"/>
            </a:p>
          </p:txBody>
        </p:sp>
        <p:sp>
          <p:nvSpPr>
            <p:cNvPr id="85" name="object 83">
              <a:extLst>
                <a:ext uri="{FF2B5EF4-FFF2-40B4-BE49-F238E27FC236}">
                  <a16:creationId xmlns:a16="http://schemas.microsoft.com/office/drawing/2014/main" id="{B64C0BB4-898C-F642-AAAF-5447EE0A4A8F}"/>
                </a:ext>
              </a:extLst>
            </p:cNvPr>
            <p:cNvSpPr/>
            <p:nvPr/>
          </p:nvSpPr>
          <p:spPr>
            <a:xfrm>
              <a:off x="8919036" y="5202327"/>
              <a:ext cx="680720" cy="1295400"/>
            </a:xfrm>
            <a:custGeom>
              <a:avLst/>
              <a:gdLst/>
              <a:ahLst/>
              <a:cxnLst/>
              <a:rect l="l" t="t" r="r" b="b"/>
              <a:pathLst>
                <a:path w="680720" h="1295400">
                  <a:moveTo>
                    <a:pt x="680554" y="0"/>
                  </a:moveTo>
                  <a:lnTo>
                    <a:pt x="664984" y="1727"/>
                  </a:lnTo>
                  <a:lnTo>
                    <a:pt x="0" y="1288796"/>
                  </a:lnTo>
                  <a:lnTo>
                    <a:pt x="4190" y="1290218"/>
                  </a:lnTo>
                  <a:lnTo>
                    <a:pt x="8089" y="1292250"/>
                  </a:lnTo>
                  <a:lnTo>
                    <a:pt x="11582" y="1294790"/>
                  </a:lnTo>
                  <a:lnTo>
                    <a:pt x="680554" y="0"/>
                  </a:lnTo>
                  <a:close/>
                </a:path>
              </a:pathLst>
            </a:custGeom>
            <a:solidFill>
              <a:srgbClr val="EF3D60">
                <a:alpha val="50999"/>
              </a:srgbClr>
            </a:solidFill>
          </p:spPr>
          <p:txBody>
            <a:bodyPr wrap="square" lIns="0" tIns="0" rIns="0" bIns="0" rtlCol="0"/>
            <a:lstStyle/>
            <a:p>
              <a:endParaRPr sz="2968"/>
            </a:p>
          </p:txBody>
        </p:sp>
        <p:sp>
          <p:nvSpPr>
            <p:cNvPr id="86" name="object 84">
              <a:extLst>
                <a:ext uri="{FF2B5EF4-FFF2-40B4-BE49-F238E27FC236}">
                  <a16:creationId xmlns:a16="http://schemas.microsoft.com/office/drawing/2014/main" id="{1AF0166B-5F83-8F47-9282-8EBD6B759BB9}"/>
                </a:ext>
              </a:extLst>
            </p:cNvPr>
            <p:cNvSpPr/>
            <p:nvPr/>
          </p:nvSpPr>
          <p:spPr>
            <a:xfrm>
              <a:off x="8755744" y="5154973"/>
              <a:ext cx="816610" cy="73025"/>
            </a:xfrm>
            <a:custGeom>
              <a:avLst/>
              <a:gdLst/>
              <a:ahLst/>
              <a:cxnLst/>
              <a:rect l="l" t="t" r="r" b="b"/>
              <a:pathLst>
                <a:path w="816609" h="73025">
                  <a:moveTo>
                    <a:pt x="811072" y="0"/>
                  </a:moveTo>
                  <a:lnTo>
                    <a:pt x="0" y="72605"/>
                  </a:lnTo>
                  <a:lnTo>
                    <a:pt x="816483" y="2819"/>
                  </a:lnTo>
                  <a:lnTo>
                    <a:pt x="816495" y="977"/>
                  </a:lnTo>
                  <a:lnTo>
                    <a:pt x="811072" y="0"/>
                  </a:lnTo>
                  <a:close/>
                </a:path>
              </a:pathLst>
            </a:custGeom>
            <a:solidFill>
              <a:srgbClr val="EF3D60">
                <a:alpha val="50999"/>
              </a:srgbClr>
            </a:solidFill>
          </p:spPr>
          <p:txBody>
            <a:bodyPr wrap="square" lIns="0" tIns="0" rIns="0" bIns="0" rtlCol="0"/>
            <a:lstStyle/>
            <a:p>
              <a:endParaRPr sz="2968"/>
            </a:p>
          </p:txBody>
        </p:sp>
        <p:sp>
          <p:nvSpPr>
            <p:cNvPr id="87" name="object 85">
              <a:extLst>
                <a:ext uri="{FF2B5EF4-FFF2-40B4-BE49-F238E27FC236}">
                  <a16:creationId xmlns:a16="http://schemas.microsoft.com/office/drawing/2014/main" id="{433DA7D2-7E7C-7046-B165-0AEF29592E43}"/>
                </a:ext>
              </a:extLst>
            </p:cNvPr>
            <p:cNvSpPr/>
            <p:nvPr/>
          </p:nvSpPr>
          <p:spPr>
            <a:xfrm>
              <a:off x="8121087" y="4894187"/>
              <a:ext cx="1451610" cy="262255"/>
            </a:xfrm>
            <a:custGeom>
              <a:avLst/>
              <a:gdLst/>
              <a:ahLst/>
              <a:cxnLst/>
              <a:rect l="l" t="t" r="r" b="b"/>
              <a:pathLst>
                <a:path w="1451609" h="262254">
                  <a:moveTo>
                    <a:pt x="584" y="0"/>
                  </a:moveTo>
                  <a:lnTo>
                    <a:pt x="0" y="1879"/>
                  </a:lnTo>
                  <a:lnTo>
                    <a:pt x="1451152" y="261759"/>
                  </a:lnTo>
                  <a:lnTo>
                    <a:pt x="1451190" y="260070"/>
                  </a:lnTo>
                  <a:lnTo>
                    <a:pt x="1451330" y="258406"/>
                  </a:lnTo>
                  <a:lnTo>
                    <a:pt x="1451559" y="256768"/>
                  </a:lnTo>
                  <a:lnTo>
                    <a:pt x="1380820" y="235889"/>
                  </a:lnTo>
                  <a:lnTo>
                    <a:pt x="102463" y="6959"/>
                  </a:lnTo>
                  <a:lnTo>
                    <a:pt x="584" y="0"/>
                  </a:lnTo>
                  <a:close/>
                </a:path>
              </a:pathLst>
            </a:custGeom>
            <a:solidFill>
              <a:srgbClr val="EF3D60">
                <a:alpha val="50999"/>
              </a:srgbClr>
            </a:solidFill>
          </p:spPr>
          <p:txBody>
            <a:bodyPr wrap="square" lIns="0" tIns="0" rIns="0" bIns="0" rtlCol="0"/>
            <a:lstStyle/>
            <a:p>
              <a:endParaRPr sz="2968"/>
            </a:p>
          </p:txBody>
        </p:sp>
        <p:sp>
          <p:nvSpPr>
            <p:cNvPr id="88" name="object 86">
              <a:extLst>
                <a:ext uri="{FF2B5EF4-FFF2-40B4-BE49-F238E27FC236}">
                  <a16:creationId xmlns:a16="http://schemas.microsoft.com/office/drawing/2014/main" id="{87F61FC1-92EA-3545-8A3B-DF13190B4C28}"/>
                </a:ext>
              </a:extLst>
            </p:cNvPr>
            <p:cNvSpPr/>
            <p:nvPr/>
          </p:nvSpPr>
          <p:spPr>
            <a:xfrm>
              <a:off x="8256967" y="4758745"/>
              <a:ext cx="1319530" cy="392430"/>
            </a:xfrm>
            <a:custGeom>
              <a:avLst/>
              <a:gdLst/>
              <a:ahLst/>
              <a:cxnLst/>
              <a:rect l="l" t="t" r="r" b="b"/>
              <a:pathLst>
                <a:path w="1319529" h="392429">
                  <a:moveTo>
                    <a:pt x="620572" y="187121"/>
                  </a:moveTo>
                  <a:lnTo>
                    <a:pt x="1315681" y="392201"/>
                  </a:lnTo>
                  <a:lnTo>
                    <a:pt x="1316291" y="387959"/>
                  </a:lnTo>
                  <a:lnTo>
                    <a:pt x="1317510" y="383908"/>
                  </a:lnTo>
                  <a:lnTo>
                    <a:pt x="1319237" y="380149"/>
                  </a:lnTo>
                  <a:lnTo>
                    <a:pt x="678497" y="191084"/>
                  </a:lnTo>
                  <a:lnTo>
                    <a:pt x="620572" y="187121"/>
                  </a:lnTo>
                  <a:close/>
                </a:path>
                <a:path w="1319529" h="392429">
                  <a:moveTo>
                    <a:pt x="1638" y="0"/>
                  </a:moveTo>
                  <a:lnTo>
                    <a:pt x="1168" y="1371"/>
                  </a:lnTo>
                  <a:lnTo>
                    <a:pt x="622" y="2717"/>
                  </a:lnTo>
                  <a:lnTo>
                    <a:pt x="0" y="4025"/>
                  </a:lnTo>
                  <a:lnTo>
                    <a:pt x="538848" y="163004"/>
                  </a:lnTo>
                  <a:lnTo>
                    <a:pt x="596798" y="166966"/>
                  </a:lnTo>
                  <a:lnTo>
                    <a:pt x="52832" y="6464"/>
                  </a:lnTo>
                  <a:lnTo>
                    <a:pt x="1638" y="0"/>
                  </a:lnTo>
                  <a:close/>
                </a:path>
              </a:pathLst>
            </a:custGeom>
            <a:solidFill>
              <a:srgbClr val="EF3D60">
                <a:alpha val="50999"/>
              </a:srgbClr>
            </a:solidFill>
          </p:spPr>
          <p:txBody>
            <a:bodyPr wrap="square" lIns="0" tIns="0" rIns="0" bIns="0" rtlCol="0"/>
            <a:lstStyle/>
            <a:p>
              <a:endParaRPr sz="2968"/>
            </a:p>
          </p:txBody>
        </p:sp>
        <p:sp>
          <p:nvSpPr>
            <p:cNvPr id="89" name="object 87">
              <a:extLst>
                <a:ext uri="{FF2B5EF4-FFF2-40B4-BE49-F238E27FC236}">
                  <a16:creationId xmlns:a16="http://schemas.microsoft.com/office/drawing/2014/main" id="{CB38BC2D-B989-B644-9BBF-1373D1BB8A33}"/>
                </a:ext>
              </a:extLst>
            </p:cNvPr>
            <p:cNvSpPr/>
            <p:nvPr/>
          </p:nvSpPr>
          <p:spPr>
            <a:xfrm>
              <a:off x="9651822" y="4271572"/>
              <a:ext cx="2103755" cy="873125"/>
            </a:xfrm>
            <a:custGeom>
              <a:avLst/>
              <a:gdLst/>
              <a:ahLst/>
              <a:cxnLst/>
              <a:rect l="l" t="t" r="r" b="b"/>
              <a:pathLst>
                <a:path w="2103754" h="873125">
                  <a:moveTo>
                    <a:pt x="24117" y="869911"/>
                  </a:moveTo>
                  <a:lnTo>
                    <a:pt x="15379" y="873061"/>
                  </a:lnTo>
                  <a:lnTo>
                    <a:pt x="16713" y="872959"/>
                  </a:lnTo>
                  <a:lnTo>
                    <a:pt x="24117" y="869911"/>
                  </a:lnTo>
                  <a:close/>
                </a:path>
                <a:path w="2103754" h="873125">
                  <a:moveTo>
                    <a:pt x="280454" y="746404"/>
                  </a:moveTo>
                  <a:lnTo>
                    <a:pt x="0" y="861529"/>
                  </a:lnTo>
                  <a:lnTo>
                    <a:pt x="863" y="862825"/>
                  </a:lnTo>
                  <a:lnTo>
                    <a:pt x="1651" y="864171"/>
                  </a:lnTo>
                  <a:lnTo>
                    <a:pt x="2374" y="865555"/>
                  </a:lnTo>
                  <a:lnTo>
                    <a:pt x="265264" y="770915"/>
                  </a:lnTo>
                  <a:lnTo>
                    <a:pt x="318617" y="749007"/>
                  </a:lnTo>
                  <a:lnTo>
                    <a:pt x="280454" y="746404"/>
                  </a:lnTo>
                  <a:close/>
                </a:path>
                <a:path w="2103754" h="873125">
                  <a:moveTo>
                    <a:pt x="370192" y="709561"/>
                  </a:moveTo>
                  <a:lnTo>
                    <a:pt x="319138" y="730516"/>
                  </a:lnTo>
                  <a:lnTo>
                    <a:pt x="357301" y="733132"/>
                  </a:lnTo>
                  <a:lnTo>
                    <a:pt x="404253" y="713866"/>
                  </a:lnTo>
                  <a:lnTo>
                    <a:pt x="370192" y="709561"/>
                  </a:lnTo>
                  <a:close/>
                </a:path>
                <a:path w="2103754" h="873125">
                  <a:moveTo>
                    <a:pt x="725335" y="563765"/>
                  </a:moveTo>
                  <a:lnTo>
                    <a:pt x="403783" y="695769"/>
                  </a:lnTo>
                  <a:lnTo>
                    <a:pt x="437832" y="700074"/>
                  </a:lnTo>
                  <a:lnTo>
                    <a:pt x="743038" y="574776"/>
                  </a:lnTo>
                  <a:lnTo>
                    <a:pt x="725335" y="563765"/>
                  </a:lnTo>
                  <a:close/>
                </a:path>
                <a:path w="2103754" h="873125">
                  <a:moveTo>
                    <a:pt x="806958" y="530250"/>
                  </a:moveTo>
                  <a:lnTo>
                    <a:pt x="742619" y="556666"/>
                  </a:lnTo>
                  <a:lnTo>
                    <a:pt x="760336" y="567677"/>
                  </a:lnTo>
                  <a:lnTo>
                    <a:pt x="820877" y="542823"/>
                  </a:lnTo>
                  <a:lnTo>
                    <a:pt x="806958" y="530250"/>
                  </a:lnTo>
                  <a:close/>
                </a:path>
                <a:path w="2103754" h="873125">
                  <a:moveTo>
                    <a:pt x="1056271" y="427901"/>
                  </a:moveTo>
                  <a:lnTo>
                    <a:pt x="822096" y="524040"/>
                  </a:lnTo>
                  <a:lnTo>
                    <a:pt x="836002" y="536600"/>
                  </a:lnTo>
                  <a:lnTo>
                    <a:pt x="1058519" y="445261"/>
                  </a:lnTo>
                  <a:lnTo>
                    <a:pt x="1056271" y="427901"/>
                  </a:lnTo>
                  <a:close/>
                </a:path>
                <a:path w="2103754" h="873125">
                  <a:moveTo>
                    <a:pt x="1089583" y="414235"/>
                  </a:moveTo>
                  <a:lnTo>
                    <a:pt x="1068235" y="422986"/>
                  </a:lnTo>
                  <a:lnTo>
                    <a:pt x="1070483" y="440347"/>
                  </a:lnTo>
                  <a:lnTo>
                    <a:pt x="1090168" y="432257"/>
                  </a:lnTo>
                  <a:lnTo>
                    <a:pt x="1089583" y="414235"/>
                  </a:lnTo>
                  <a:close/>
                </a:path>
                <a:path w="2103754" h="873125">
                  <a:moveTo>
                    <a:pt x="1460868" y="261810"/>
                  </a:moveTo>
                  <a:lnTo>
                    <a:pt x="1105090" y="407860"/>
                  </a:lnTo>
                  <a:lnTo>
                    <a:pt x="1105674" y="425894"/>
                  </a:lnTo>
                  <a:lnTo>
                    <a:pt x="1443748" y="287108"/>
                  </a:lnTo>
                  <a:lnTo>
                    <a:pt x="1460868" y="261810"/>
                  </a:lnTo>
                  <a:close/>
                </a:path>
                <a:path w="2103754" h="873125">
                  <a:moveTo>
                    <a:pt x="1617967" y="197307"/>
                  </a:moveTo>
                  <a:lnTo>
                    <a:pt x="1485290" y="251777"/>
                  </a:lnTo>
                  <a:lnTo>
                    <a:pt x="1468170" y="277088"/>
                  </a:lnTo>
                  <a:lnTo>
                    <a:pt x="1593138" y="225780"/>
                  </a:lnTo>
                  <a:lnTo>
                    <a:pt x="1617967" y="197307"/>
                  </a:lnTo>
                  <a:close/>
                </a:path>
                <a:path w="2103754" h="873125">
                  <a:moveTo>
                    <a:pt x="1704898" y="161620"/>
                  </a:moveTo>
                  <a:lnTo>
                    <a:pt x="1655533" y="181889"/>
                  </a:lnTo>
                  <a:lnTo>
                    <a:pt x="1630705" y="210362"/>
                  </a:lnTo>
                  <a:lnTo>
                    <a:pt x="1717852" y="174586"/>
                  </a:lnTo>
                  <a:lnTo>
                    <a:pt x="1704898" y="161620"/>
                  </a:lnTo>
                  <a:close/>
                </a:path>
                <a:path w="2103754" h="873125">
                  <a:moveTo>
                    <a:pt x="1877656" y="90703"/>
                  </a:moveTo>
                  <a:lnTo>
                    <a:pt x="1719554" y="155600"/>
                  </a:lnTo>
                  <a:lnTo>
                    <a:pt x="1732521" y="168554"/>
                  </a:lnTo>
                  <a:lnTo>
                    <a:pt x="1886483" y="105346"/>
                  </a:lnTo>
                  <a:lnTo>
                    <a:pt x="1877656" y="90703"/>
                  </a:lnTo>
                  <a:close/>
                </a:path>
                <a:path w="2103754" h="873125">
                  <a:moveTo>
                    <a:pt x="2032723" y="27038"/>
                  </a:moveTo>
                  <a:lnTo>
                    <a:pt x="1893468" y="84213"/>
                  </a:lnTo>
                  <a:lnTo>
                    <a:pt x="1902294" y="98856"/>
                  </a:lnTo>
                  <a:lnTo>
                    <a:pt x="1987892" y="63715"/>
                  </a:lnTo>
                  <a:lnTo>
                    <a:pt x="2032723" y="27038"/>
                  </a:lnTo>
                  <a:close/>
                </a:path>
                <a:path w="2103754" h="873125">
                  <a:moveTo>
                    <a:pt x="2098586" y="0"/>
                  </a:moveTo>
                  <a:lnTo>
                    <a:pt x="2090051" y="3505"/>
                  </a:lnTo>
                  <a:lnTo>
                    <a:pt x="2045220" y="40182"/>
                  </a:lnTo>
                  <a:lnTo>
                    <a:pt x="2095754" y="19443"/>
                  </a:lnTo>
                  <a:lnTo>
                    <a:pt x="2103589" y="13334"/>
                  </a:lnTo>
                  <a:lnTo>
                    <a:pt x="2101240" y="9258"/>
                  </a:lnTo>
                  <a:lnTo>
                    <a:pt x="2099525" y="4775"/>
                  </a:lnTo>
                  <a:lnTo>
                    <a:pt x="2098586" y="0"/>
                  </a:lnTo>
                  <a:close/>
                </a:path>
              </a:pathLst>
            </a:custGeom>
            <a:solidFill>
              <a:srgbClr val="EF3D60">
                <a:alpha val="50999"/>
              </a:srgbClr>
            </a:solidFill>
          </p:spPr>
          <p:txBody>
            <a:bodyPr wrap="square" lIns="0" tIns="0" rIns="0" bIns="0" rtlCol="0"/>
            <a:lstStyle/>
            <a:p>
              <a:endParaRPr sz="2968"/>
            </a:p>
          </p:txBody>
        </p:sp>
        <p:sp>
          <p:nvSpPr>
            <p:cNvPr id="90" name="object 88">
              <a:extLst>
                <a:ext uri="{FF2B5EF4-FFF2-40B4-BE49-F238E27FC236}">
                  <a16:creationId xmlns:a16="http://schemas.microsoft.com/office/drawing/2014/main" id="{1BCA9066-CB3D-974A-8304-3EDEBB4ED3D4}"/>
                </a:ext>
              </a:extLst>
            </p:cNvPr>
            <p:cNvSpPr/>
            <p:nvPr/>
          </p:nvSpPr>
          <p:spPr>
            <a:xfrm>
              <a:off x="8768902" y="5186428"/>
              <a:ext cx="685800" cy="92710"/>
            </a:xfrm>
            <a:custGeom>
              <a:avLst/>
              <a:gdLst/>
              <a:ahLst/>
              <a:cxnLst/>
              <a:rect l="l" t="t" r="r" b="b"/>
              <a:pathLst>
                <a:path w="685800" h="92710">
                  <a:moveTo>
                    <a:pt x="685228" y="0"/>
                  </a:moveTo>
                  <a:lnTo>
                    <a:pt x="527100" y="13512"/>
                  </a:lnTo>
                  <a:lnTo>
                    <a:pt x="0" y="92583"/>
                  </a:lnTo>
                  <a:lnTo>
                    <a:pt x="262191" y="63449"/>
                  </a:lnTo>
                  <a:lnTo>
                    <a:pt x="685228" y="0"/>
                  </a:lnTo>
                  <a:close/>
                </a:path>
              </a:pathLst>
            </a:custGeom>
            <a:solidFill>
              <a:srgbClr val="EF3D60">
                <a:alpha val="50999"/>
              </a:srgbClr>
            </a:solidFill>
          </p:spPr>
          <p:txBody>
            <a:bodyPr wrap="square" lIns="0" tIns="0" rIns="0" bIns="0" rtlCol="0"/>
            <a:lstStyle/>
            <a:p>
              <a:endParaRPr sz="2968"/>
            </a:p>
          </p:txBody>
        </p:sp>
        <p:sp>
          <p:nvSpPr>
            <p:cNvPr id="91" name="object 89">
              <a:extLst>
                <a:ext uri="{FF2B5EF4-FFF2-40B4-BE49-F238E27FC236}">
                  <a16:creationId xmlns:a16="http://schemas.microsoft.com/office/drawing/2014/main" id="{C77DD660-B442-9749-A2B4-F66C888A5637}"/>
                </a:ext>
              </a:extLst>
            </p:cNvPr>
            <p:cNvSpPr/>
            <p:nvPr/>
          </p:nvSpPr>
          <p:spPr>
            <a:xfrm>
              <a:off x="9516412" y="2586351"/>
              <a:ext cx="107314" cy="2528570"/>
            </a:xfrm>
            <a:custGeom>
              <a:avLst/>
              <a:gdLst/>
              <a:ahLst/>
              <a:cxnLst/>
              <a:rect l="l" t="t" r="r" b="b"/>
              <a:pathLst>
                <a:path w="107315" h="2528570">
                  <a:moveTo>
                    <a:pt x="84518" y="2408974"/>
                  </a:moveTo>
                  <a:lnTo>
                    <a:pt x="88569" y="2524340"/>
                  </a:lnTo>
                  <a:lnTo>
                    <a:pt x="90271" y="2528252"/>
                  </a:lnTo>
                  <a:lnTo>
                    <a:pt x="93167" y="2527642"/>
                  </a:lnTo>
                  <a:lnTo>
                    <a:pt x="96151" y="2527325"/>
                  </a:lnTo>
                  <a:lnTo>
                    <a:pt x="106796" y="2527325"/>
                  </a:lnTo>
                  <a:lnTo>
                    <a:pt x="102692" y="2410218"/>
                  </a:lnTo>
                  <a:lnTo>
                    <a:pt x="84518" y="2408974"/>
                  </a:lnTo>
                  <a:close/>
                </a:path>
                <a:path w="107315" h="2528570">
                  <a:moveTo>
                    <a:pt x="106796" y="2527325"/>
                  </a:moveTo>
                  <a:lnTo>
                    <a:pt x="101815" y="2527325"/>
                  </a:lnTo>
                  <a:lnTo>
                    <a:pt x="104355" y="2527554"/>
                  </a:lnTo>
                  <a:lnTo>
                    <a:pt x="106819" y="2527985"/>
                  </a:lnTo>
                  <a:lnTo>
                    <a:pt x="106796" y="2527325"/>
                  </a:lnTo>
                  <a:close/>
                </a:path>
                <a:path w="107315" h="2528570">
                  <a:moveTo>
                    <a:pt x="82156" y="2341384"/>
                  </a:moveTo>
                  <a:lnTo>
                    <a:pt x="83870" y="2390406"/>
                  </a:lnTo>
                  <a:lnTo>
                    <a:pt x="102044" y="2391638"/>
                  </a:lnTo>
                  <a:lnTo>
                    <a:pt x="100355" y="2343683"/>
                  </a:lnTo>
                  <a:lnTo>
                    <a:pt x="82156" y="2341384"/>
                  </a:lnTo>
                  <a:close/>
                </a:path>
                <a:path w="107315" h="2528570">
                  <a:moveTo>
                    <a:pt x="61467" y="1752142"/>
                  </a:moveTo>
                  <a:lnTo>
                    <a:pt x="81508" y="2323274"/>
                  </a:lnTo>
                  <a:lnTo>
                    <a:pt x="99720" y="2325573"/>
                  </a:lnTo>
                  <a:lnTo>
                    <a:pt x="80009" y="1763661"/>
                  </a:lnTo>
                  <a:lnTo>
                    <a:pt x="61467" y="1752142"/>
                  </a:lnTo>
                  <a:close/>
                </a:path>
                <a:path w="107315" h="2528570">
                  <a:moveTo>
                    <a:pt x="49428" y="1408925"/>
                  </a:moveTo>
                  <a:lnTo>
                    <a:pt x="60832" y="1733892"/>
                  </a:lnTo>
                  <a:lnTo>
                    <a:pt x="79362" y="1745424"/>
                  </a:lnTo>
                  <a:lnTo>
                    <a:pt x="68160" y="1425841"/>
                  </a:lnTo>
                  <a:lnTo>
                    <a:pt x="49428" y="1408925"/>
                  </a:lnTo>
                  <a:close/>
                </a:path>
                <a:path w="107315" h="2528570">
                  <a:moveTo>
                    <a:pt x="0" y="647"/>
                  </a:moveTo>
                  <a:lnTo>
                    <a:pt x="48704" y="1388376"/>
                  </a:lnTo>
                  <a:lnTo>
                    <a:pt x="67436" y="1405293"/>
                  </a:lnTo>
                  <a:lnTo>
                    <a:pt x="18168" y="1295"/>
                  </a:lnTo>
                  <a:lnTo>
                    <a:pt x="4978" y="1295"/>
                  </a:lnTo>
                  <a:lnTo>
                    <a:pt x="2463" y="1066"/>
                  </a:lnTo>
                  <a:lnTo>
                    <a:pt x="0" y="647"/>
                  </a:lnTo>
                  <a:close/>
                </a:path>
                <a:path w="107315" h="2528570">
                  <a:moveTo>
                    <a:pt x="18122" y="0"/>
                  </a:moveTo>
                  <a:lnTo>
                    <a:pt x="14744" y="838"/>
                  </a:lnTo>
                  <a:lnTo>
                    <a:pt x="11201" y="1295"/>
                  </a:lnTo>
                  <a:lnTo>
                    <a:pt x="18168" y="1295"/>
                  </a:lnTo>
                  <a:lnTo>
                    <a:pt x="18122" y="0"/>
                  </a:lnTo>
                  <a:close/>
                </a:path>
              </a:pathLst>
            </a:custGeom>
            <a:solidFill>
              <a:srgbClr val="EF3D60">
                <a:alpha val="50999"/>
              </a:srgbClr>
            </a:solidFill>
          </p:spPr>
          <p:txBody>
            <a:bodyPr wrap="square" lIns="0" tIns="0" rIns="0" bIns="0" rtlCol="0"/>
            <a:lstStyle/>
            <a:p>
              <a:endParaRPr sz="2968"/>
            </a:p>
          </p:txBody>
        </p:sp>
        <p:sp>
          <p:nvSpPr>
            <p:cNvPr id="92" name="object 90">
              <a:extLst>
                <a:ext uri="{FF2B5EF4-FFF2-40B4-BE49-F238E27FC236}">
                  <a16:creationId xmlns:a16="http://schemas.microsoft.com/office/drawing/2014/main" id="{ACDB0A42-5178-6D47-94CF-AC602421FEC6}"/>
                </a:ext>
              </a:extLst>
            </p:cNvPr>
            <p:cNvSpPr/>
            <p:nvPr/>
          </p:nvSpPr>
          <p:spPr>
            <a:xfrm>
              <a:off x="9626573" y="2991211"/>
              <a:ext cx="1055370" cy="2131695"/>
            </a:xfrm>
            <a:custGeom>
              <a:avLst/>
              <a:gdLst/>
              <a:ahLst/>
              <a:cxnLst/>
              <a:rect l="l" t="t" r="r" b="b"/>
              <a:pathLst>
                <a:path w="1055370" h="2131695">
                  <a:moveTo>
                    <a:pt x="55892" y="2009686"/>
                  </a:moveTo>
                  <a:lnTo>
                    <a:pt x="0" y="2123859"/>
                  </a:lnTo>
                  <a:lnTo>
                    <a:pt x="5727" y="2125345"/>
                  </a:lnTo>
                  <a:lnTo>
                    <a:pt x="10985" y="2127961"/>
                  </a:lnTo>
                  <a:lnTo>
                    <a:pt x="15544" y="2131479"/>
                  </a:lnTo>
                  <a:lnTo>
                    <a:pt x="74548" y="2010968"/>
                  </a:lnTo>
                  <a:lnTo>
                    <a:pt x="55892" y="2009686"/>
                  </a:lnTo>
                  <a:close/>
                </a:path>
                <a:path w="1055370" h="2131695">
                  <a:moveTo>
                    <a:pt x="84747" y="1950745"/>
                  </a:moveTo>
                  <a:lnTo>
                    <a:pt x="64668" y="1991753"/>
                  </a:lnTo>
                  <a:lnTo>
                    <a:pt x="83337" y="1993036"/>
                  </a:lnTo>
                  <a:lnTo>
                    <a:pt x="102908" y="1953031"/>
                  </a:lnTo>
                  <a:lnTo>
                    <a:pt x="84747" y="1950745"/>
                  </a:lnTo>
                  <a:close/>
                </a:path>
                <a:path w="1055370" h="2131695">
                  <a:moveTo>
                    <a:pt x="280123" y="1551686"/>
                  </a:moveTo>
                  <a:lnTo>
                    <a:pt x="93065" y="1933765"/>
                  </a:lnTo>
                  <a:lnTo>
                    <a:pt x="111226" y="1936051"/>
                  </a:lnTo>
                  <a:lnTo>
                    <a:pt x="294906" y="1560868"/>
                  </a:lnTo>
                  <a:lnTo>
                    <a:pt x="280123" y="1551686"/>
                  </a:lnTo>
                  <a:close/>
                </a:path>
                <a:path w="1055370" h="2131695">
                  <a:moveTo>
                    <a:pt x="361505" y="1385455"/>
                  </a:moveTo>
                  <a:lnTo>
                    <a:pt x="286816" y="1537995"/>
                  </a:lnTo>
                  <a:lnTo>
                    <a:pt x="301612" y="1547190"/>
                  </a:lnTo>
                  <a:lnTo>
                    <a:pt x="374878" y="1397533"/>
                  </a:lnTo>
                  <a:lnTo>
                    <a:pt x="361505" y="1385455"/>
                  </a:lnTo>
                  <a:close/>
                </a:path>
                <a:path w="1055370" h="2131695">
                  <a:moveTo>
                    <a:pt x="1039799" y="0"/>
                  </a:moveTo>
                  <a:lnTo>
                    <a:pt x="368261" y="1371663"/>
                  </a:lnTo>
                  <a:lnTo>
                    <a:pt x="381634" y="1383741"/>
                  </a:lnTo>
                  <a:lnTo>
                    <a:pt x="1055357" y="7619"/>
                  </a:lnTo>
                  <a:lnTo>
                    <a:pt x="1049616" y="6134"/>
                  </a:lnTo>
                  <a:lnTo>
                    <a:pt x="1044346" y="3505"/>
                  </a:lnTo>
                  <a:lnTo>
                    <a:pt x="1039799" y="0"/>
                  </a:lnTo>
                  <a:close/>
                </a:path>
              </a:pathLst>
            </a:custGeom>
            <a:solidFill>
              <a:srgbClr val="EF3D60">
                <a:alpha val="50999"/>
              </a:srgbClr>
            </a:solidFill>
          </p:spPr>
          <p:txBody>
            <a:bodyPr wrap="square" lIns="0" tIns="0" rIns="0" bIns="0" rtlCol="0"/>
            <a:lstStyle/>
            <a:p>
              <a:endParaRPr sz="2968"/>
            </a:p>
          </p:txBody>
        </p:sp>
        <p:sp>
          <p:nvSpPr>
            <p:cNvPr id="93" name="object 91">
              <a:extLst>
                <a:ext uri="{FF2B5EF4-FFF2-40B4-BE49-F238E27FC236}">
                  <a16:creationId xmlns:a16="http://schemas.microsoft.com/office/drawing/2014/main" id="{EA537DEA-4134-CF4D-85F4-EF278847C18D}"/>
                </a:ext>
              </a:extLst>
            </p:cNvPr>
            <p:cNvSpPr/>
            <p:nvPr/>
          </p:nvSpPr>
          <p:spPr>
            <a:xfrm>
              <a:off x="8639054" y="2923595"/>
              <a:ext cx="967740" cy="2198370"/>
            </a:xfrm>
            <a:custGeom>
              <a:avLst/>
              <a:gdLst/>
              <a:ahLst/>
              <a:cxnLst/>
              <a:rect l="l" t="t" r="r" b="b"/>
              <a:pathLst>
                <a:path w="967740" h="2198370">
                  <a:moveTo>
                    <a:pt x="894816" y="2067140"/>
                  </a:moveTo>
                  <a:lnTo>
                    <a:pt x="951636" y="2197963"/>
                  </a:lnTo>
                  <a:lnTo>
                    <a:pt x="956360" y="2194636"/>
                  </a:lnTo>
                  <a:lnTo>
                    <a:pt x="961770" y="2192235"/>
                  </a:lnTo>
                  <a:lnTo>
                    <a:pt x="967625" y="2191004"/>
                  </a:lnTo>
                  <a:lnTo>
                    <a:pt x="914412" y="2068474"/>
                  </a:lnTo>
                  <a:lnTo>
                    <a:pt x="894816" y="2067140"/>
                  </a:lnTo>
                  <a:close/>
                </a:path>
                <a:path w="967740" h="2198370">
                  <a:moveTo>
                    <a:pt x="862114" y="1991855"/>
                  </a:moveTo>
                  <a:lnTo>
                    <a:pt x="886523" y="2048052"/>
                  </a:lnTo>
                  <a:lnTo>
                    <a:pt x="906119" y="2049386"/>
                  </a:lnTo>
                  <a:lnTo>
                    <a:pt x="882230" y="1994395"/>
                  </a:lnTo>
                  <a:lnTo>
                    <a:pt x="862114" y="1991855"/>
                  </a:lnTo>
                  <a:close/>
                </a:path>
                <a:path w="967740" h="2198370">
                  <a:moveTo>
                    <a:pt x="490461" y="1136180"/>
                  </a:moveTo>
                  <a:lnTo>
                    <a:pt x="853833" y="1972779"/>
                  </a:lnTo>
                  <a:lnTo>
                    <a:pt x="873937" y="1975307"/>
                  </a:lnTo>
                  <a:lnTo>
                    <a:pt x="516508" y="1152372"/>
                  </a:lnTo>
                  <a:lnTo>
                    <a:pt x="490461" y="1136180"/>
                  </a:lnTo>
                  <a:close/>
                </a:path>
                <a:path w="967740" h="2198370">
                  <a:moveTo>
                    <a:pt x="16001" y="0"/>
                  </a:moveTo>
                  <a:lnTo>
                    <a:pt x="11264" y="3327"/>
                  </a:lnTo>
                  <a:lnTo>
                    <a:pt x="5854" y="5727"/>
                  </a:lnTo>
                  <a:lnTo>
                    <a:pt x="0" y="6959"/>
                  </a:lnTo>
                  <a:lnTo>
                    <a:pt x="455129" y="1054823"/>
                  </a:lnTo>
                  <a:lnTo>
                    <a:pt x="461274" y="1061456"/>
                  </a:lnTo>
                  <a:lnTo>
                    <a:pt x="465939" y="1069260"/>
                  </a:lnTo>
                  <a:lnTo>
                    <a:pt x="468901" y="1078012"/>
                  </a:lnTo>
                  <a:lnTo>
                    <a:pt x="469938" y="1087488"/>
                  </a:lnTo>
                  <a:lnTo>
                    <a:pt x="469925" y="1088885"/>
                  </a:lnTo>
                  <a:lnTo>
                    <a:pt x="479844" y="1111732"/>
                  </a:lnTo>
                  <a:lnTo>
                    <a:pt x="505891" y="1127925"/>
                  </a:lnTo>
                  <a:lnTo>
                    <a:pt x="16001" y="0"/>
                  </a:lnTo>
                  <a:close/>
                </a:path>
              </a:pathLst>
            </a:custGeom>
            <a:solidFill>
              <a:srgbClr val="EF3D60">
                <a:alpha val="50999"/>
              </a:srgbClr>
            </a:solidFill>
          </p:spPr>
          <p:txBody>
            <a:bodyPr wrap="square" lIns="0" tIns="0" rIns="0" bIns="0" rtlCol="0"/>
            <a:lstStyle/>
            <a:p>
              <a:endParaRPr sz="2968"/>
            </a:p>
          </p:txBody>
        </p:sp>
        <p:sp>
          <p:nvSpPr>
            <p:cNvPr id="94" name="object 92">
              <a:extLst>
                <a:ext uri="{FF2B5EF4-FFF2-40B4-BE49-F238E27FC236}">
                  <a16:creationId xmlns:a16="http://schemas.microsoft.com/office/drawing/2014/main" id="{85F62C88-DD32-A14C-BC40-E75B9853FEE8}"/>
                </a:ext>
              </a:extLst>
            </p:cNvPr>
            <p:cNvSpPr/>
            <p:nvPr/>
          </p:nvSpPr>
          <p:spPr>
            <a:xfrm>
              <a:off x="9654204" y="4755143"/>
              <a:ext cx="1062990" cy="390525"/>
            </a:xfrm>
            <a:custGeom>
              <a:avLst/>
              <a:gdLst/>
              <a:ahLst/>
              <a:cxnLst/>
              <a:rect l="l" t="t" r="r" b="b"/>
              <a:pathLst>
                <a:path w="1062990" h="390525">
                  <a:moveTo>
                    <a:pt x="322529" y="265874"/>
                  </a:moveTo>
                  <a:lnTo>
                    <a:pt x="0" y="381977"/>
                  </a:lnTo>
                  <a:lnTo>
                    <a:pt x="1358" y="384606"/>
                  </a:lnTo>
                  <a:lnTo>
                    <a:pt x="2451" y="387375"/>
                  </a:lnTo>
                  <a:lnTo>
                    <a:pt x="3263" y="390271"/>
                  </a:lnTo>
                  <a:lnTo>
                    <a:pt x="12992" y="389483"/>
                  </a:lnTo>
                  <a:lnTo>
                    <a:pt x="350977" y="267817"/>
                  </a:lnTo>
                  <a:lnTo>
                    <a:pt x="322529" y="265874"/>
                  </a:lnTo>
                  <a:close/>
                </a:path>
                <a:path w="1062990" h="390525">
                  <a:moveTo>
                    <a:pt x="416305" y="232117"/>
                  </a:moveTo>
                  <a:lnTo>
                    <a:pt x="365772" y="250304"/>
                  </a:lnTo>
                  <a:lnTo>
                    <a:pt x="394220" y="252247"/>
                  </a:lnTo>
                  <a:lnTo>
                    <a:pt x="441375" y="235280"/>
                  </a:lnTo>
                  <a:lnTo>
                    <a:pt x="416305" y="232117"/>
                  </a:lnTo>
                  <a:close/>
                </a:path>
                <a:path w="1062990" h="390525">
                  <a:moveTo>
                    <a:pt x="765251" y="106489"/>
                  </a:moveTo>
                  <a:lnTo>
                    <a:pt x="453389" y="218757"/>
                  </a:lnTo>
                  <a:lnTo>
                    <a:pt x="478459" y="221919"/>
                  </a:lnTo>
                  <a:lnTo>
                    <a:pt x="777671" y="114211"/>
                  </a:lnTo>
                  <a:lnTo>
                    <a:pt x="765251" y="106489"/>
                  </a:lnTo>
                  <a:close/>
                </a:path>
                <a:path w="1062990" h="390525">
                  <a:moveTo>
                    <a:pt x="840714" y="79324"/>
                  </a:moveTo>
                  <a:lnTo>
                    <a:pt x="783437" y="99949"/>
                  </a:lnTo>
                  <a:lnTo>
                    <a:pt x="795845" y="107657"/>
                  </a:lnTo>
                  <a:lnTo>
                    <a:pt x="850353" y="88036"/>
                  </a:lnTo>
                  <a:lnTo>
                    <a:pt x="840714" y="79324"/>
                  </a:lnTo>
                  <a:close/>
                </a:path>
                <a:path w="1062990" h="390525">
                  <a:moveTo>
                    <a:pt x="1061084" y="0"/>
                  </a:moveTo>
                  <a:lnTo>
                    <a:pt x="856449" y="73660"/>
                  </a:lnTo>
                  <a:lnTo>
                    <a:pt x="866114" y="82372"/>
                  </a:lnTo>
                  <a:lnTo>
                    <a:pt x="1062583" y="11645"/>
                  </a:lnTo>
                  <a:lnTo>
                    <a:pt x="1061084" y="0"/>
                  </a:lnTo>
                  <a:close/>
                </a:path>
              </a:pathLst>
            </a:custGeom>
            <a:solidFill>
              <a:srgbClr val="EF3D60">
                <a:alpha val="50999"/>
              </a:srgbClr>
            </a:solidFill>
          </p:spPr>
          <p:txBody>
            <a:bodyPr wrap="square" lIns="0" tIns="0" rIns="0" bIns="0" rtlCol="0"/>
            <a:lstStyle/>
            <a:p>
              <a:endParaRPr sz="2968"/>
            </a:p>
          </p:txBody>
        </p:sp>
        <p:sp>
          <p:nvSpPr>
            <p:cNvPr id="95" name="object 93">
              <a:extLst>
                <a:ext uri="{FF2B5EF4-FFF2-40B4-BE49-F238E27FC236}">
                  <a16:creationId xmlns:a16="http://schemas.microsoft.com/office/drawing/2014/main" id="{C7872DB5-62CF-FC4E-851D-48ADA2AF2458}"/>
                </a:ext>
              </a:extLst>
            </p:cNvPr>
            <p:cNvSpPr/>
            <p:nvPr/>
          </p:nvSpPr>
          <p:spPr>
            <a:xfrm>
              <a:off x="9627127" y="5199088"/>
              <a:ext cx="242570" cy="1771650"/>
            </a:xfrm>
            <a:custGeom>
              <a:avLst/>
              <a:gdLst/>
              <a:ahLst/>
              <a:cxnLst/>
              <a:rect l="l" t="t" r="r" b="b"/>
              <a:pathLst>
                <a:path w="242570" h="1771650">
                  <a:moveTo>
                    <a:pt x="240385" y="1758594"/>
                  </a:moveTo>
                  <a:lnTo>
                    <a:pt x="234200" y="1771548"/>
                  </a:lnTo>
                  <a:lnTo>
                    <a:pt x="236308" y="1771243"/>
                  </a:lnTo>
                  <a:lnTo>
                    <a:pt x="238455" y="1771078"/>
                  </a:lnTo>
                  <a:lnTo>
                    <a:pt x="242083" y="1771078"/>
                  </a:lnTo>
                  <a:lnTo>
                    <a:pt x="240385" y="1758594"/>
                  </a:lnTo>
                  <a:close/>
                </a:path>
                <a:path w="242570" h="1771650">
                  <a:moveTo>
                    <a:pt x="242083" y="1771078"/>
                  </a:moveTo>
                  <a:lnTo>
                    <a:pt x="241122" y="1771078"/>
                  </a:lnTo>
                  <a:lnTo>
                    <a:pt x="242087" y="1771103"/>
                  </a:lnTo>
                  <a:close/>
                </a:path>
                <a:path w="242570" h="1771650">
                  <a:moveTo>
                    <a:pt x="114414" y="830834"/>
                  </a:moveTo>
                  <a:lnTo>
                    <a:pt x="101345" y="843051"/>
                  </a:lnTo>
                  <a:lnTo>
                    <a:pt x="224929" y="1753222"/>
                  </a:lnTo>
                  <a:lnTo>
                    <a:pt x="236385" y="1729193"/>
                  </a:lnTo>
                  <a:lnTo>
                    <a:pt x="114414" y="830834"/>
                  </a:lnTo>
                  <a:close/>
                </a:path>
                <a:path w="242570" h="1771650">
                  <a:moveTo>
                    <a:pt x="96291" y="697369"/>
                  </a:moveTo>
                  <a:lnTo>
                    <a:pt x="82994" y="707872"/>
                  </a:lnTo>
                  <a:lnTo>
                    <a:pt x="98894" y="824941"/>
                  </a:lnTo>
                  <a:lnTo>
                    <a:pt x="111963" y="812723"/>
                  </a:lnTo>
                  <a:lnTo>
                    <a:pt x="96291" y="697369"/>
                  </a:lnTo>
                  <a:close/>
                </a:path>
                <a:path w="242570" h="1771650">
                  <a:moveTo>
                    <a:pt x="1612" y="0"/>
                  </a:moveTo>
                  <a:lnTo>
                    <a:pt x="0" y="177"/>
                  </a:lnTo>
                  <a:lnTo>
                    <a:pt x="30746" y="323037"/>
                  </a:lnTo>
                  <a:lnTo>
                    <a:pt x="80352" y="688416"/>
                  </a:lnTo>
                  <a:lnTo>
                    <a:pt x="93649" y="677900"/>
                  </a:lnTo>
                  <a:lnTo>
                    <a:pt x="1612" y="0"/>
                  </a:lnTo>
                  <a:close/>
                </a:path>
              </a:pathLst>
            </a:custGeom>
            <a:solidFill>
              <a:srgbClr val="EF3D60">
                <a:alpha val="50999"/>
              </a:srgbClr>
            </a:solidFill>
          </p:spPr>
          <p:txBody>
            <a:bodyPr wrap="square" lIns="0" tIns="0" rIns="0" bIns="0" rtlCol="0"/>
            <a:lstStyle/>
            <a:p>
              <a:endParaRPr sz="2968"/>
            </a:p>
          </p:txBody>
        </p:sp>
        <p:sp>
          <p:nvSpPr>
            <p:cNvPr id="96" name="object 94">
              <a:extLst>
                <a:ext uri="{FF2B5EF4-FFF2-40B4-BE49-F238E27FC236}">
                  <a16:creationId xmlns:a16="http://schemas.microsoft.com/office/drawing/2014/main" id="{B8382C22-C6E6-E34E-8385-FB06FF9B029A}"/>
                </a:ext>
              </a:extLst>
            </p:cNvPr>
            <p:cNvSpPr/>
            <p:nvPr/>
          </p:nvSpPr>
          <p:spPr>
            <a:xfrm>
              <a:off x="9612328" y="5199269"/>
              <a:ext cx="190500" cy="1841500"/>
            </a:xfrm>
            <a:custGeom>
              <a:avLst/>
              <a:gdLst/>
              <a:ahLst/>
              <a:cxnLst/>
              <a:rect l="l" t="t" r="r" b="b"/>
              <a:pathLst>
                <a:path w="190500" h="1841500">
                  <a:moveTo>
                    <a:pt x="96786" y="860983"/>
                  </a:moveTo>
                  <a:lnTo>
                    <a:pt x="83057" y="873823"/>
                  </a:lnTo>
                  <a:lnTo>
                    <a:pt x="175196" y="1841220"/>
                  </a:lnTo>
                  <a:lnTo>
                    <a:pt x="178854" y="1840230"/>
                  </a:lnTo>
                  <a:lnTo>
                    <a:pt x="182702" y="1839696"/>
                  </a:lnTo>
                  <a:lnTo>
                    <a:pt x="189992" y="1839696"/>
                  </a:lnTo>
                  <a:lnTo>
                    <a:pt x="96786" y="860983"/>
                  </a:lnTo>
                  <a:close/>
                </a:path>
                <a:path w="190500" h="1841500">
                  <a:moveTo>
                    <a:pt x="189992" y="1839696"/>
                  </a:moveTo>
                  <a:lnTo>
                    <a:pt x="187782" y="1839696"/>
                  </a:lnTo>
                  <a:lnTo>
                    <a:pt x="188899" y="1839747"/>
                  </a:lnTo>
                  <a:lnTo>
                    <a:pt x="190004" y="1839823"/>
                  </a:lnTo>
                  <a:close/>
                </a:path>
                <a:path w="190500" h="1841500">
                  <a:moveTo>
                    <a:pt x="83286" y="719162"/>
                  </a:moveTo>
                  <a:lnTo>
                    <a:pt x="69380" y="730135"/>
                  </a:lnTo>
                  <a:lnTo>
                    <a:pt x="81279" y="855078"/>
                  </a:lnTo>
                  <a:lnTo>
                    <a:pt x="94995" y="842238"/>
                  </a:lnTo>
                  <a:lnTo>
                    <a:pt x="83286" y="719162"/>
                  </a:lnTo>
                  <a:close/>
                </a:path>
                <a:path w="190500" h="1841500">
                  <a:moveTo>
                    <a:pt x="14808" y="0"/>
                  </a:moveTo>
                  <a:lnTo>
                    <a:pt x="12623" y="241"/>
                  </a:lnTo>
                  <a:lnTo>
                    <a:pt x="9728" y="876"/>
                  </a:lnTo>
                  <a:lnTo>
                    <a:pt x="6705" y="1219"/>
                  </a:lnTo>
                  <a:lnTo>
                    <a:pt x="3619" y="1244"/>
                  </a:lnTo>
                  <a:lnTo>
                    <a:pt x="0" y="1638"/>
                  </a:lnTo>
                  <a:lnTo>
                    <a:pt x="67475" y="710095"/>
                  </a:lnTo>
                  <a:lnTo>
                    <a:pt x="81381" y="699122"/>
                  </a:lnTo>
                  <a:lnTo>
                    <a:pt x="14808" y="0"/>
                  </a:lnTo>
                  <a:close/>
                </a:path>
              </a:pathLst>
            </a:custGeom>
            <a:solidFill>
              <a:srgbClr val="EF3D60">
                <a:alpha val="50999"/>
              </a:srgbClr>
            </a:solidFill>
          </p:spPr>
          <p:txBody>
            <a:bodyPr wrap="square" lIns="0" tIns="0" rIns="0" bIns="0" rtlCol="0"/>
            <a:lstStyle/>
            <a:p>
              <a:endParaRPr sz="2968"/>
            </a:p>
          </p:txBody>
        </p:sp>
        <p:sp>
          <p:nvSpPr>
            <p:cNvPr id="97" name="object 95">
              <a:extLst>
                <a:ext uri="{FF2B5EF4-FFF2-40B4-BE49-F238E27FC236}">
                  <a16:creationId xmlns:a16="http://schemas.microsoft.com/office/drawing/2014/main" id="{1386EDD7-8259-474E-A767-580FFFEFFCB8}"/>
                </a:ext>
              </a:extLst>
            </p:cNvPr>
            <p:cNvSpPr/>
            <p:nvPr/>
          </p:nvSpPr>
          <p:spPr>
            <a:xfrm>
              <a:off x="10781711" y="5093839"/>
              <a:ext cx="1335405" cy="1685289"/>
            </a:xfrm>
            <a:custGeom>
              <a:avLst/>
              <a:gdLst/>
              <a:ahLst/>
              <a:cxnLst/>
              <a:rect l="l" t="t" r="r" b="b"/>
              <a:pathLst>
                <a:path w="1335404" h="1685290">
                  <a:moveTo>
                    <a:pt x="581901" y="720953"/>
                  </a:moveTo>
                  <a:lnTo>
                    <a:pt x="572503" y="735241"/>
                  </a:lnTo>
                  <a:lnTo>
                    <a:pt x="1322336" y="1685035"/>
                  </a:lnTo>
                  <a:lnTo>
                    <a:pt x="1325905" y="1680933"/>
                  </a:lnTo>
                  <a:lnTo>
                    <a:pt x="1330210" y="1677517"/>
                  </a:lnTo>
                  <a:lnTo>
                    <a:pt x="1335074" y="1674977"/>
                  </a:lnTo>
                  <a:lnTo>
                    <a:pt x="581901" y="720953"/>
                  </a:lnTo>
                  <a:close/>
                </a:path>
                <a:path w="1335404" h="1685290">
                  <a:moveTo>
                    <a:pt x="12750" y="0"/>
                  </a:moveTo>
                  <a:lnTo>
                    <a:pt x="9182" y="4102"/>
                  </a:lnTo>
                  <a:lnTo>
                    <a:pt x="4864" y="7531"/>
                  </a:lnTo>
                  <a:lnTo>
                    <a:pt x="0" y="10071"/>
                  </a:lnTo>
                  <a:lnTo>
                    <a:pt x="562330" y="722363"/>
                  </a:lnTo>
                  <a:lnTo>
                    <a:pt x="571728" y="708075"/>
                  </a:lnTo>
                  <a:lnTo>
                    <a:pt x="12750" y="0"/>
                  </a:lnTo>
                  <a:close/>
                </a:path>
              </a:pathLst>
            </a:custGeom>
            <a:solidFill>
              <a:srgbClr val="EF3D60">
                <a:alpha val="50999"/>
              </a:srgbClr>
            </a:solidFill>
          </p:spPr>
          <p:txBody>
            <a:bodyPr wrap="square" lIns="0" tIns="0" rIns="0" bIns="0" rtlCol="0"/>
            <a:lstStyle/>
            <a:p>
              <a:endParaRPr sz="2968"/>
            </a:p>
          </p:txBody>
        </p:sp>
        <p:sp>
          <p:nvSpPr>
            <p:cNvPr id="98" name="object 96">
              <a:extLst>
                <a:ext uri="{FF2B5EF4-FFF2-40B4-BE49-F238E27FC236}">
                  <a16:creationId xmlns:a16="http://schemas.microsoft.com/office/drawing/2014/main" id="{5926BBF9-2A62-464B-BCF3-3B1A982A4DD8}"/>
                </a:ext>
              </a:extLst>
            </p:cNvPr>
            <p:cNvSpPr/>
            <p:nvPr/>
          </p:nvSpPr>
          <p:spPr>
            <a:xfrm>
              <a:off x="10754815" y="6671653"/>
              <a:ext cx="3810" cy="1270"/>
            </a:xfrm>
            <a:custGeom>
              <a:avLst/>
              <a:gdLst/>
              <a:ahLst/>
              <a:cxnLst/>
              <a:rect l="l" t="t" r="r" b="b"/>
              <a:pathLst>
                <a:path w="3809" h="1270">
                  <a:moveTo>
                    <a:pt x="0" y="1269"/>
                  </a:moveTo>
                  <a:lnTo>
                    <a:pt x="3738" y="1269"/>
                  </a:lnTo>
                  <a:lnTo>
                    <a:pt x="3738" y="0"/>
                  </a:lnTo>
                  <a:lnTo>
                    <a:pt x="0" y="0"/>
                  </a:lnTo>
                  <a:lnTo>
                    <a:pt x="0" y="1269"/>
                  </a:lnTo>
                  <a:close/>
                </a:path>
              </a:pathLst>
            </a:custGeom>
            <a:solidFill>
              <a:srgbClr val="EF3D60">
                <a:alpha val="50999"/>
              </a:srgbClr>
            </a:solidFill>
          </p:spPr>
          <p:txBody>
            <a:bodyPr wrap="square" lIns="0" tIns="0" rIns="0" bIns="0" rtlCol="0"/>
            <a:lstStyle/>
            <a:p>
              <a:endParaRPr sz="2968"/>
            </a:p>
          </p:txBody>
        </p:sp>
        <p:sp>
          <p:nvSpPr>
            <p:cNvPr id="99" name="object 97">
              <a:extLst>
                <a:ext uri="{FF2B5EF4-FFF2-40B4-BE49-F238E27FC236}">
                  <a16:creationId xmlns:a16="http://schemas.microsoft.com/office/drawing/2014/main" id="{ACFBF38F-657A-BC41-9740-DEFD6DAA9766}"/>
                </a:ext>
              </a:extLst>
            </p:cNvPr>
            <p:cNvSpPr/>
            <p:nvPr/>
          </p:nvSpPr>
          <p:spPr>
            <a:xfrm>
              <a:off x="10761604" y="5108282"/>
              <a:ext cx="0" cy="1563370"/>
            </a:xfrm>
            <a:custGeom>
              <a:avLst/>
              <a:gdLst/>
              <a:ahLst/>
              <a:cxnLst/>
              <a:rect l="l" t="t" r="r" b="b"/>
              <a:pathLst>
                <a:path h="1563370">
                  <a:moveTo>
                    <a:pt x="0" y="0"/>
                  </a:moveTo>
                  <a:lnTo>
                    <a:pt x="0" y="1563369"/>
                  </a:lnTo>
                </a:path>
              </a:pathLst>
            </a:custGeom>
            <a:ln w="13576">
              <a:solidFill>
                <a:srgbClr val="EF3D60"/>
              </a:solidFill>
            </a:ln>
          </p:spPr>
          <p:txBody>
            <a:bodyPr wrap="square" lIns="0" tIns="0" rIns="0" bIns="0" rtlCol="0"/>
            <a:lstStyle/>
            <a:p>
              <a:endParaRPr sz="2968"/>
            </a:p>
          </p:txBody>
        </p:sp>
        <p:sp>
          <p:nvSpPr>
            <p:cNvPr id="100" name="object 98">
              <a:extLst>
                <a:ext uri="{FF2B5EF4-FFF2-40B4-BE49-F238E27FC236}">
                  <a16:creationId xmlns:a16="http://schemas.microsoft.com/office/drawing/2014/main" id="{2915DFBB-B576-9B40-AF4F-5E3CE55DAE26}"/>
                </a:ext>
              </a:extLst>
            </p:cNvPr>
            <p:cNvSpPr/>
            <p:nvPr/>
          </p:nvSpPr>
          <p:spPr>
            <a:xfrm>
              <a:off x="10763934" y="6672224"/>
              <a:ext cx="5080" cy="635"/>
            </a:xfrm>
            <a:custGeom>
              <a:avLst/>
              <a:gdLst/>
              <a:ahLst/>
              <a:cxnLst/>
              <a:rect l="l" t="t" r="r" b="b"/>
              <a:pathLst>
                <a:path w="5079" h="634">
                  <a:moveTo>
                    <a:pt x="4457" y="0"/>
                  </a:moveTo>
                  <a:lnTo>
                    <a:pt x="0" y="0"/>
                  </a:lnTo>
                  <a:lnTo>
                    <a:pt x="2341" y="190"/>
                  </a:lnTo>
                  <a:lnTo>
                    <a:pt x="4457" y="520"/>
                  </a:lnTo>
                  <a:lnTo>
                    <a:pt x="4457" y="0"/>
                  </a:lnTo>
                  <a:close/>
                </a:path>
              </a:pathLst>
            </a:custGeom>
            <a:solidFill>
              <a:srgbClr val="EF3D60">
                <a:alpha val="50999"/>
              </a:srgbClr>
            </a:solidFill>
          </p:spPr>
          <p:txBody>
            <a:bodyPr wrap="square" lIns="0" tIns="0" rIns="0" bIns="0" rtlCol="0"/>
            <a:lstStyle/>
            <a:p>
              <a:endParaRPr sz="2968"/>
            </a:p>
          </p:txBody>
        </p:sp>
        <p:sp>
          <p:nvSpPr>
            <p:cNvPr id="101" name="object 99">
              <a:extLst>
                <a:ext uri="{FF2B5EF4-FFF2-40B4-BE49-F238E27FC236}">
                  <a16:creationId xmlns:a16="http://schemas.microsoft.com/office/drawing/2014/main" id="{3C11B6C5-1FDF-CB4A-871C-30EE6B3048ED}"/>
                </a:ext>
              </a:extLst>
            </p:cNvPr>
            <p:cNvSpPr/>
            <p:nvPr/>
          </p:nvSpPr>
          <p:spPr>
            <a:xfrm>
              <a:off x="10763934" y="5108295"/>
              <a:ext cx="5080" cy="635"/>
            </a:xfrm>
            <a:custGeom>
              <a:avLst/>
              <a:gdLst/>
              <a:ahLst/>
              <a:cxnLst/>
              <a:rect l="l" t="t" r="r" b="b"/>
              <a:pathLst>
                <a:path w="5079" h="635">
                  <a:moveTo>
                    <a:pt x="4457" y="0"/>
                  </a:moveTo>
                  <a:lnTo>
                    <a:pt x="2260" y="342"/>
                  </a:lnTo>
                  <a:lnTo>
                    <a:pt x="0" y="520"/>
                  </a:lnTo>
                  <a:lnTo>
                    <a:pt x="4457" y="520"/>
                  </a:lnTo>
                  <a:lnTo>
                    <a:pt x="4457" y="0"/>
                  </a:lnTo>
                  <a:close/>
                </a:path>
              </a:pathLst>
            </a:custGeom>
            <a:solidFill>
              <a:srgbClr val="EF3D60">
                <a:alpha val="50999"/>
              </a:srgbClr>
            </a:solidFill>
          </p:spPr>
          <p:txBody>
            <a:bodyPr wrap="square" lIns="0" tIns="0" rIns="0" bIns="0" rtlCol="0"/>
            <a:lstStyle/>
            <a:p>
              <a:endParaRPr sz="2968"/>
            </a:p>
          </p:txBody>
        </p:sp>
        <p:sp>
          <p:nvSpPr>
            <p:cNvPr id="102" name="object 100">
              <a:extLst>
                <a:ext uri="{FF2B5EF4-FFF2-40B4-BE49-F238E27FC236}">
                  <a16:creationId xmlns:a16="http://schemas.microsoft.com/office/drawing/2014/main" id="{0490D1A9-E12F-D34D-92B9-B315CE0DA72E}"/>
                </a:ext>
              </a:extLst>
            </p:cNvPr>
            <p:cNvSpPr/>
            <p:nvPr/>
          </p:nvSpPr>
          <p:spPr>
            <a:xfrm>
              <a:off x="9366787" y="5098418"/>
              <a:ext cx="1369060" cy="1273175"/>
            </a:xfrm>
            <a:custGeom>
              <a:avLst/>
              <a:gdLst/>
              <a:ahLst/>
              <a:cxnLst/>
              <a:rect l="l" t="t" r="r" b="b"/>
              <a:pathLst>
                <a:path w="1369059" h="1273175">
                  <a:moveTo>
                    <a:pt x="1366659" y="0"/>
                  </a:moveTo>
                  <a:lnTo>
                    <a:pt x="1250594" y="91706"/>
                  </a:lnTo>
                  <a:lnTo>
                    <a:pt x="0" y="1261681"/>
                  </a:lnTo>
                  <a:lnTo>
                    <a:pt x="3987" y="1264704"/>
                  </a:lnTo>
                  <a:lnTo>
                    <a:pt x="7429" y="1268387"/>
                  </a:lnTo>
                  <a:lnTo>
                    <a:pt x="10172" y="1272578"/>
                  </a:lnTo>
                  <a:lnTo>
                    <a:pt x="1368691" y="1638"/>
                  </a:lnTo>
                  <a:lnTo>
                    <a:pt x="1367993" y="1104"/>
                  </a:lnTo>
                  <a:lnTo>
                    <a:pt x="1366659" y="0"/>
                  </a:lnTo>
                  <a:close/>
                </a:path>
              </a:pathLst>
            </a:custGeom>
            <a:solidFill>
              <a:srgbClr val="EF3D60">
                <a:alpha val="50999"/>
              </a:srgbClr>
            </a:solidFill>
          </p:spPr>
          <p:txBody>
            <a:bodyPr wrap="square" lIns="0" tIns="0" rIns="0" bIns="0" rtlCol="0"/>
            <a:lstStyle/>
            <a:p>
              <a:endParaRPr sz="2968"/>
            </a:p>
          </p:txBody>
        </p:sp>
        <p:sp>
          <p:nvSpPr>
            <p:cNvPr id="103" name="object 101">
              <a:extLst>
                <a:ext uri="{FF2B5EF4-FFF2-40B4-BE49-F238E27FC236}">
                  <a16:creationId xmlns:a16="http://schemas.microsoft.com/office/drawing/2014/main" id="{7F4C7C21-845D-4645-9F41-286AE95F5C71}"/>
                </a:ext>
              </a:extLst>
            </p:cNvPr>
            <p:cNvSpPr/>
            <p:nvPr/>
          </p:nvSpPr>
          <p:spPr>
            <a:xfrm>
              <a:off x="10799229" y="3435048"/>
              <a:ext cx="1952625" cy="1610995"/>
            </a:xfrm>
            <a:custGeom>
              <a:avLst/>
              <a:gdLst/>
              <a:ahLst/>
              <a:cxnLst/>
              <a:rect l="l" t="t" r="r" b="b"/>
              <a:pathLst>
                <a:path w="1952625" h="1610995">
                  <a:moveTo>
                    <a:pt x="66789" y="1556664"/>
                  </a:moveTo>
                  <a:lnTo>
                    <a:pt x="0" y="1608607"/>
                  </a:lnTo>
                  <a:lnTo>
                    <a:pt x="698" y="1609839"/>
                  </a:lnTo>
                  <a:lnTo>
                    <a:pt x="1016" y="1610474"/>
                  </a:lnTo>
                  <a:lnTo>
                    <a:pt x="66789" y="1556664"/>
                  </a:lnTo>
                  <a:close/>
                </a:path>
                <a:path w="1952625" h="1610995">
                  <a:moveTo>
                    <a:pt x="260451" y="1374825"/>
                  </a:moveTo>
                  <a:lnTo>
                    <a:pt x="39903" y="1555280"/>
                  </a:lnTo>
                  <a:lnTo>
                    <a:pt x="20231" y="1577848"/>
                  </a:lnTo>
                  <a:lnTo>
                    <a:pt x="276987" y="1378140"/>
                  </a:lnTo>
                  <a:lnTo>
                    <a:pt x="260451" y="1374825"/>
                  </a:lnTo>
                  <a:close/>
                </a:path>
                <a:path w="1952625" h="1610995">
                  <a:moveTo>
                    <a:pt x="630999" y="1071651"/>
                  </a:moveTo>
                  <a:lnTo>
                    <a:pt x="271691" y="1365631"/>
                  </a:lnTo>
                  <a:lnTo>
                    <a:pt x="288696" y="1369034"/>
                  </a:lnTo>
                  <a:lnTo>
                    <a:pt x="438772" y="1252308"/>
                  </a:lnTo>
                  <a:lnTo>
                    <a:pt x="643851" y="1084503"/>
                  </a:lnTo>
                  <a:lnTo>
                    <a:pt x="630999" y="1071651"/>
                  </a:lnTo>
                  <a:close/>
                </a:path>
                <a:path w="1952625" h="1610995">
                  <a:moveTo>
                    <a:pt x="755751" y="969568"/>
                  </a:moveTo>
                  <a:lnTo>
                    <a:pt x="642366" y="1062342"/>
                  </a:lnTo>
                  <a:lnTo>
                    <a:pt x="655218" y="1075194"/>
                  </a:lnTo>
                  <a:lnTo>
                    <a:pt x="765187" y="985227"/>
                  </a:lnTo>
                  <a:lnTo>
                    <a:pt x="755751" y="969568"/>
                  </a:lnTo>
                  <a:close/>
                </a:path>
                <a:path w="1952625" h="1610995">
                  <a:moveTo>
                    <a:pt x="957237" y="804710"/>
                  </a:moveTo>
                  <a:lnTo>
                    <a:pt x="768959" y="958761"/>
                  </a:lnTo>
                  <a:lnTo>
                    <a:pt x="778383" y="974420"/>
                  </a:lnTo>
                  <a:lnTo>
                    <a:pt x="950696" y="833437"/>
                  </a:lnTo>
                  <a:lnTo>
                    <a:pt x="950480" y="831710"/>
                  </a:lnTo>
                  <a:lnTo>
                    <a:pt x="950379" y="819518"/>
                  </a:lnTo>
                  <a:lnTo>
                    <a:pt x="952893" y="811479"/>
                  </a:lnTo>
                  <a:lnTo>
                    <a:pt x="957237" y="804710"/>
                  </a:lnTo>
                  <a:close/>
                </a:path>
                <a:path w="1952625" h="1610995">
                  <a:moveTo>
                    <a:pt x="989444" y="778357"/>
                  </a:moveTo>
                  <a:lnTo>
                    <a:pt x="978065" y="787679"/>
                  </a:lnTo>
                  <a:lnTo>
                    <a:pt x="981938" y="786168"/>
                  </a:lnTo>
                  <a:lnTo>
                    <a:pt x="986066" y="785202"/>
                  </a:lnTo>
                  <a:lnTo>
                    <a:pt x="990384" y="784872"/>
                  </a:lnTo>
                  <a:lnTo>
                    <a:pt x="989444" y="778357"/>
                  </a:lnTo>
                  <a:close/>
                </a:path>
                <a:path w="1952625" h="1610995">
                  <a:moveTo>
                    <a:pt x="1051369" y="727697"/>
                  </a:moveTo>
                  <a:lnTo>
                    <a:pt x="1006335" y="764552"/>
                  </a:lnTo>
                  <a:lnTo>
                    <a:pt x="1009345" y="785456"/>
                  </a:lnTo>
                  <a:lnTo>
                    <a:pt x="1052753" y="749935"/>
                  </a:lnTo>
                  <a:lnTo>
                    <a:pt x="1051369" y="727697"/>
                  </a:lnTo>
                  <a:close/>
                </a:path>
                <a:path w="1952625" h="1610995">
                  <a:moveTo>
                    <a:pt x="1298092" y="525830"/>
                  </a:moveTo>
                  <a:lnTo>
                    <a:pt x="1063421" y="717842"/>
                  </a:lnTo>
                  <a:lnTo>
                    <a:pt x="1064806" y="740067"/>
                  </a:lnTo>
                  <a:lnTo>
                    <a:pt x="1292618" y="553669"/>
                  </a:lnTo>
                  <a:lnTo>
                    <a:pt x="1298092" y="525830"/>
                  </a:lnTo>
                  <a:close/>
                </a:path>
                <a:path w="1952625" h="1610995">
                  <a:moveTo>
                    <a:pt x="1446326" y="404545"/>
                  </a:moveTo>
                  <a:lnTo>
                    <a:pt x="1320152" y="507784"/>
                  </a:lnTo>
                  <a:lnTo>
                    <a:pt x="1314678" y="535622"/>
                  </a:lnTo>
                  <a:lnTo>
                    <a:pt x="1436839" y="435673"/>
                  </a:lnTo>
                  <a:lnTo>
                    <a:pt x="1446326" y="404545"/>
                  </a:lnTo>
                  <a:close/>
                </a:path>
                <a:path w="1952625" h="1610995">
                  <a:moveTo>
                    <a:pt x="1940750" y="0"/>
                  </a:moveTo>
                  <a:lnTo>
                    <a:pt x="1467243" y="387438"/>
                  </a:lnTo>
                  <a:lnTo>
                    <a:pt x="1457756" y="418566"/>
                  </a:lnTo>
                  <a:lnTo>
                    <a:pt x="1952193" y="13995"/>
                  </a:lnTo>
                  <a:lnTo>
                    <a:pt x="1947481" y="10198"/>
                  </a:lnTo>
                  <a:lnTo>
                    <a:pt x="1943557" y="5435"/>
                  </a:lnTo>
                  <a:lnTo>
                    <a:pt x="1940750" y="0"/>
                  </a:lnTo>
                  <a:close/>
                </a:path>
              </a:pathLst>
            </a:custGeom>
            <a:solidFill>
              <a:srgbClr val="EF3D60">
                <a:alpha val="50999"/>
              </a:srgbClr>
            </a:solidFill>
          </p:spPr>
          <p:txBody>
            <a:bodyPr wrap="square" lIns="0" tIns="0" rIns="0" bIns="0" rtlCol="0"/>
            <a:lstStyle/>
            <a:p>
              <a:endParaRPr sz="2968"/>
            </a:p>
          </p:txBody>
        </p:sp>
        <p:sp>
          <p:nvSpPr>
            <p:cNvPr id="104" name="object 102">
              <a:extLst>
                <a:ext uri="{FF2B5EF4-FFF2-40B4-BE49-F238E27FC236}">
                  <a16:creationId xmlns:a16="http://schemas.microsoft.com/office/drawing/2014/main" id="{FF5EC812-3856-5242-BC68-AF731949123E}"/>
                </a:ext>
              </a:extLst>
            </p:cNvPr>
            <p:cNvSpPr/>
            <p:nvPr/>
          </p:nvSpPr>
          <p:spPr>
            <a:xfrm>
              <a:off x="10779572" y="3538207"/>
              <a:ext cx="1018540" cy="1489710"/>
            </a:xfrm>
            <a:custGeom>
              <a:avLst/>
              <a:gdLst/>
              <a:ahLst/>
              <a:cxnLst/>
              <a:rect l="l" t="t" r="r" b="b"/>
              <a:pathLst>
                <a:path w="1018540" h="1489710">
                  <a:moveTo>
                    <a:pt x="162051" y="1248054"/>
                  </a:moveTo>
                  <a:lnTo>
                    <a:pt x="0" y="1487639"/>
                  </a:lnTo>
                  <a:lnTo>
                    <a:pt x="1054" y="1488122"/>
                  </a:lnTo>
                  <a:lnTo>
                    <a:pt x="2095" y="1488643"/>
                  </a:lnTo>
                  <a:lnTo>
                    <a:pt x="3098" y="1489202"/>
                  </a:lnTo>
                  <a:lnTo>
                    <a:pt x="63106" y="1420418"/>
                  </a:lnTo>
                  <a:lnTo>
                    <a:pt x="177596" y="1251165"/>
                  </a:lnTo>
                  <a:lnTo>
                    <a:pt x="162051" y="1248054"/>
                  </a:lnTo>
                  <a:close/>
                </a:path>
                <a:path w="1018540" h="1489710">
                  <a:moveTo>
                    <a:pt x="472008" y="789851"/>
                  </a:moveTo>
                  <a:lnTo>
                    <a:pt x="168871" y="1237970"/>
                  </a:lnTo>
                  <a:lnTo>
                    <a:pt x="184416" y="1241082"/>
                  </a:lnTo>
                  <a:lnTo>
                    <a:pt x="482523" y="800379"/>
                  </a:lnTo>
                  <a:lnTo>
                    <a:pt x="472008" y="789851"/>
                  </a:lnTo>
                  <a:close/>
                </a:path>
                <a:path w="1018540" h="1489710">
                  <a:moveTo>
                    <a:pt x="608114" y="588619"/>
                  </a:moveTo>
                  <a:lnTo>
                    <a:pt x="480352" y="777506"/>
                  </a:lnTo>
                  <a:lnTo>
                    <a:pt x="490867" y="788035"/>
                  </a:lnTo>
                  <a:lnTo>
                    <a:pt x="616432" y="602424"/>
                  </a:lnTo>
                  <a:lnTo>
                    <a:pt x="608114" y="588619"/>
                  </a:lnTo>
                  <a:close/>
                </a:path>
                <a:path w="1018540" h="1489710">
                  <a:moveTo>
                    <a:pt x="928408" y="115125"/>
                  </a:moveTo>
                  <a:lnTo>
                    <a:pt x="618553" y="573214"/>
                  </a:lnTo>
                  <a:lnTo>
                    <a:pt x="626859" y="587006"/>
                  </a:lnTo>
                  <a:lnTo>
                    <a:pt x="931506" y="136626"/>
                  </a:lnTo>
                  <a:lnTo>
                    <a:pt x="928408" y="115125"/>
                  </a:lnTo>
                  <a:close/>
                </a:path>
                <a:path w="1018540" h="1489710">
                  <a:moveTo>
                    <a:pt x="1006284" y="0"/>
                  </a:moveTo>
                  <a:lnTo>
                    <a:pt x="943978" y="92113"/>
                  </a:lnTo>
                  <a:lnTo>
                    <a:pt x="947077" y="113626"/>
                  </a:lnTo>
                  <a:lnTo>
                    <a:pt x="1018374" y="8204"/>
                  </a:lnTo>
                  <a:lnTo>
                    <a:pt x="1013891" y="6159"/>
                  </a:lnTo>
                  <a:lnTo>
                    <a:pt x="1009802" y="3378"/>
                  </a:lnTo>
                  <a:lnTo>
                    <a:pt x="1006284" y="0"/>
                  </a:lnTo>
                  <a:close/>
                </a:path>
              </a:pathLst>
            </a:custGeom>
            <a:solidFill>
              <a:srgbClr val="EF3D60">
                <a:alpha val="50999"/>
              </a:srgbClr>
            </a:solidFill>
          </p:spPr>
          <p:txBody>
            <a:bodyPr wrap="square" lIns="0" tIns="0" rIns="0" bIns="0" rtlCol="0"/>
            <a:lstStyle/>
            <a:p>
              <a:endParaRPr sz="2968"/>
            </a:p>
          </p:txBody>
        </p:sp>
        <p:sp>
          <p:nvSpPr>
            <p:cNvPr id="105" name="object 103">
              <a:extLst>
                <a:ext uri="{FF2B5EF4-FFF2-40B4-BE49-F238E27FC236}">
                  <a16:creationId xmlns:a16="http://schemas.microsoft.com/office/drawing/2014/main" id="{3F18CB44-5673-EC49-B933-5D328C4B25E4}"/>
                </a:ext>
              </a:extLst>
            </p:cNvPr>
            <p:cNvSpPr/>
            <p:nvPr/>
          </p:nvSpPr>
          <p:spPr>
            <a:xfrm>
              <a:off x="10577563" y="3686209"/>
              <a:ext cx="175260" cy="1337945"/>
            </a:xfrm>
            <a:custGeom>
              <a:avLst/>
              <a:gdLst/>
              <a:ahLst/>
              <a:cxnLst/>
              <a:rect l="l" t="t" r="r" b="b"/>
              <a:pathLst>
                <a:path w="175259" h="1337945">
                  <a:moveTo>
                    <a:pt x="12395" y="0"/>
                  </a:moveTo>
                  <a:lnTo>
                    <a:pt x="8661" y="1041"/>
                  </a:lnTo>
                  <a:lnTo>
                    <a:pt x="4724" y="1600"/>
                  </a:lnTo>
                  <a:lnTo>
                    <a:pt x="1" y="1600"/>
                  </a:lnTo>
                  <a:lnTo>
                    <a:pt x="172364" y="1337373"/>
                  </a:lnTo>
                  <a:lnTo>
                    <a:pt x="173177" y="1337144"/>
                  </a:lnTo>
                  <a:lnTo>
                    <a:pt x="174002" y="1336941"/>
                  </a:lnTo>
                  <a:lnTo>
                    <a:pt x="174840" y="1336763"/>
                  </a:lnTo>
                  <a:lnTo>
                    <a:pt x="171437" y="1232636"/>
                  </a:lnTo>
                  <a:lnTo>
                    <a:pt x="152844" y="1088491"/>
                  </a:lnTo>
                  <a:lnTo>
                    <a:pt x="147758" y="1082137"/>
                  </a:lnTo>
                  <a:lnTo>
                    <a:pt x="143925" y="1074883"/>
                  </a:lnTo>
                  <a:lnTo>
                    <a:pt x="141507" y="1066896"/>
                  </a:lnTo>
                  <a:lnTo>
                    <a:pt x="140665" y="1058341"/>
                  </a:lnTo>
                  <a:lnTo>
                    <a:pt x="140665" y="1050620"/>
                  </a:lnTo>
                  <a:lnTo>
                    <a:pt x="142684" y="1043368"/>
                  </a:lnTo>
                  <a:lnTo>
                    <a:pt x="146215" y="1037094"/>
                  </a:lnTo>
                  <a:lnTo>
                    <a:pt x="12601" y="1600"/>
                  </a:lnTo>
                  <a:lnTo>
                    <a:pt x="0" y="1587"/>
                  </a:lnTo>
                  <a:lnTo>
                    <a:pt x="12600" y="1587"/>
                  </a:lnTo>
                  <a:lnTo>
                    <a:pt x="12395" y="0"/>
                  </a:lnTo>
                  <a:close/>
                </a:path>
              </a:pathLst>
            </a:custGeom>
            <a:solidFill>
              <a:srgbClr val="EF3D60">
                <a:alpha val="50999"/>
              </a:srgbClr>
            </a:solidFill>
          </p:spPr>
          <p:txBody>
            <a:bodyPr wrap="square" lIns="0" tIns="0" rIns="0" bIns="0" rtlCol="0"/>
            <a:lstStyle/>
            <a:p>
              <a:endParaRPr sz="2968"/>
            </a:p>
          </p:txBody>
        </p:sp>
        <p:sp>
          <p:nvSpPr>
            <p:cNvPr id="106" name="object 104">
              <a:extLst>
                <a:ext uri="{FF2B5EF4-FFF2-40B4-BE49-F238E27FC236}">
                  <a16:creationId xmlns:a16="http://schemas.microsoft.com/office/drawing/2014/main" id="{9DC8C0B8-D8A8-AD46-A6DC-DB353352D7CD}"/>
                </a:ext>
              </a:extLst>
            </p:cNvPr>
            <p:cNvSpPr/>
            <p:nvPr/>
          </p:nvSpPr>
          <p:spPr>
            <a:xfrm>
              <a:off x="9367445" y="3805106"/>
              <a:ext cx="1367790" cy="1231900"/>
            </a:xfrm>
            <a:custGeom>
              <a:avLst/>
              <a:gdLst/>
              <a:ahLst/>
              <a:cxnLst/>
              <a:rect l="l" t="t" r="r" b="b"/>
              <a:pathLst>
                <a:path w="1367790" h="1231900">
                  <a:moveTo>
                    <a:pt x="9880" y="0"/>
                  </a:moveTo>
                  <a:lnTo>
                    <a:pt x="7226" y="4191"/>
                  </a:lnTo>
                  <a:lnTo>
                    <a:pt x="3886" y="7899"/>
                  </a:lnTo>
                  <a:lnTo>
                    <a:pt x="0" y="10960"/>
                  </a:lnTo>
                  <a:lnTo>
                    <a:pt x="1327124" y="1209700"/>
                  </a:lnTo>
                  <a:lnTo>
                    <a:pt x="1361871" y="1231303"/>
                  </a:lnTo>
                  <a:lnTo>
                    <a:pt x="1363560" y="1229436"/>
                  </a:lnTo>
                  <a:lnTo>
                    <a:pt x="1365389" y="1227721"/>
                  </a:lnTo>
                  <a:lnTo>
                    <a:pt x="1367370" y="1226159"/>
                  </a:lnTo>
                  <a:lnTo>
                    <a:pt x="9880" y="0"/>
                  </a:lnTo>
                  <a:close/>
                </a:path>
              </a:pathLst>
            </a:custGeom>
            <a:solidFill>
              <a:srgbClr val="EF3D60">
                <a:alpha val="50999"/>
              </a:srgbClr>
            </a:solidFill>
          </p:spPr>
          <p:txBody>
            <a:bodyPr wrap="square" lIns="0" tIns="0" rIns="0" bIns="0" rtlCol="0"/>
            <a:lstStyle/>
            <a:p>
              <a:endParaRPr sz="2968"/>
            </a:p>
          </p:txBody>
        </p:sp>
        <p:sp>
          <p:nvSpPr>
            <p:cNvPr id="107" name="object 105">
              <a:extLst>
                <a:ext uri="{FF2B5EF4-FFF2-40B4-BE49-F238E27FC236}">
                  <a16:creationId xmlns:a16="http://schemas.microsoft.com/office/drawing/2014/main" id="{D0B1B141-B76F-4D42-A067-6ADAB9E79EEB}"/>
                </a:ext>
              </a:extLst>
            </p:cNvPr>
            <p:cNvSpPr/>
            <p:nvPr/>
          </p:nvSpPr>
          <p:spPr>
            <a:xfrm>
              <a:off x="9097867" y="4027246"/>
              <a:ext cx="1631950" cy="1022350"/>
            </a:xfrm>
            <a:custGeom>
              <a:avLst/>
              <a:gdLst/>
              <a:ahLst/>
              <a:cxnLst/>
              <a:rect l="l" t="t" r="r" b="b"/>
              <a:pathLst>
                <a:path w="1631950" h="1022350">
                  <a:moveTo>
                    <a:pt x="8026" y="0"/>
                  </a:moveTo>
                  <a:lnTo>
                    <a:pt x="6108" y="4762"/>
                  </a:lnTo>
                  <a:lnTo>
                    <a:pt x="3378" y="9105"/>
                  </a:lnTo>
                  <a:lnTo>
                    <a:pt x="0" y="12865"/>
                  </a:lnTo>
                  <a:lnTo>
                    <a:pt x="927" y="13423"/>
                  </a:lnTo>
                  <a:lnTo>
                    <a:pt x="1623453" y="1022032"/>
                  </a:lnTo>
                  <a:lnTo>
                    <a:pt x="1625358" y="1017269"/>
                  </a:lnTo>
                  <a:lnTo>
                    <a:pt x="1628076" y="1012926"/>
                  </a:lnTo>
                  <a:lnTo>
                    <a:pt x="1631454" y="1009167"/>
                  </a:lnTo>
                  <a:lnTo>
                    <a:pt x="8026" y="0"/>
                  </a:lnTo>
                  <a:close/>
                </a:path>
              </a:pathLst>
            </a:custGeom>
            <a:solidFill>
              <a:srgbClr val="EF3D60">
                <a:alpha val="50999"/>
              </a:srgbClr>
            </a:solidFill>
          </p:spPr>
          <p:txBody>
            <a:bodyPr wrap="square" lIns="0" tIns="0" rIns="0" bIns="0" rtlCol="0"/>
            <a:lstStyle/>
            <a:p>
              <a:endParaRPr sz="2968"/>
            </a:p>
          </p:txBody>
        </p:sp>
        <p:sp>
          <p:nvSpPr>
            <p:cNvPr id="108" name="object 106">
              <a:extLst>
                <a:ext uri="{FF2B5EF4-FFF2-40B4-BE49-F238E27FC236}">
                  <a16:creationId xmlns:a16="http://schemas.microsoft.com/office/drawing/2014/main" id="{9D309EF7-ECDB-8942-92F6-0F1DA8E86EDC}"/>
                </a:ext>
              </a:extLst>
            </p:cNvPr>
            <p:cNvSpPr/>
            <p:nvPr/>
          </p:nvSpPr>
          <p:spPr>
            <a:xfrm>
              <a:off x="8933271" y="5085160"/>
              <a:ext cx="1800225" cy="1427480"/>
            </a:xfrm>
            <a:custGeom>
              <a:avLst/>
              <a:gdLst/>
              <a:ahLst/>
              <a:cxnLst/>
              <a:rect l="l" t="t" r="r" b="b"/>
              <a:pathLst>
                <a:path w="1800225" h="1427479">
                  <a:moveTo>
                    <a:pt x="1789696" y="0"/>
                  </a:moveTo>
                  <a:lnTo>
                    <a:pt x="0" y="1414043"/>
                  </a:lnTo>
                  <a:lnTo>
                    <a:pt x="4305" y="1417726"/>
                  </a:lnTo>
                  <a:lnTo>
                    <a:pt x="7886" y="1422222"/>
                  </a:lnTo>
                  <a:lnTo>
                    <a:pt x="10490" y="1427314"/>
                  </a:lnTo>
                  <a:lnTo>
                    <a:pt x="1800174" y="13258"/>
                  </a:lnTo>
                  <a:lnTo>
                    <a:pt x="1795881" y="9588"/>
                  </a:lnTo>
                  <a:lnTo>
                    <a:pt x="1792300" y="5079"/>
                  </a:lnTo>
                  <a:lnTo>
                    <a:pt x="1789696" y="0"/>
                  </a:lnTo>
                  <a:close/>
                </a:path>
              </a:pathLst>
            </a:custGeom>
            <a:solidFill>
              <a:srgbClr val="EF3D60">
                <a:alpha val="50999"/>
              </a:srgbClr>
            </a:solidFill>
          </p:spPr>
          <p:txBody>
            <a:bodyPr wrap="square" lIns="0" tIns="0" rIns="0" bIns="0" rtlCol="0"/>
            <a:lstStyle/>
            <a:p>
              <a:endParaRPr sz="2968"/>
            </a:p>
          </p:txBody>
        </p:sp>
        <p:sp>
          <p:nvSpPr>
            <p:cNvPr id="109" name="object 107">
              <a:extLst>
                <a:ext uri="{FF2B5EF4-FFF2-40B4-BE49-F238E27FC236}">
                  <a16:creationId xmlns:a16="http://schemas.microsoft.com/office/drawing/2014/main" id="{C5AB199B-8BEB-CE48-BD4A-6BA4137FE7C3}"/>
                </a:ext>
              </a:extLst>
            </p:cNvPr>
            <p:cNvSpPr/>
            <p:nvPr/>
          </p:nvSpPr>
          <p:spPr>
            <a:xfrm>
              <a:off x="8121467" y="5066438"/>
              <a:ext cx="2599055" cy="234315"/>
            </a:xfrm>
            <a:custGeom>
              <a:avLst/>
              <a:gdLst/>
              <a:ahLst/>
              <a:cxnLst/>
              <a:rect l="l" t="t" r="r" b="b"/>
              <a:pathLst>
                <a:path w="2599054" h="234314">
                  <a:moveTo>
                    <a:pt x="1450759" y="91351"/>
                  </a:moveTo>
                  <a:lnTo>
                    <a:pt x="0" y="215353"/>
                  </a:lnTo>
                  <a:lnTo>
                    <a:pt x="1244" y="219405"/>
                  </a:lnTo>
                  <a:lnTo>
                    <a:pt x="1930" y="223710"/>
                  </a:lnTo>
                  <a:lnTo>
                    <a:pt x="1803" y="231940"/>
                  </a:lnTo>
                  <a:lnTo>
                    <a:pt x="1574" y="233768"/>
                  </a:lnTo>
                  <a:lnTo>
                    <a:pt x="1455064" y="109524"/>
                  </a:lnTo>
                  <a:lnTo>
                    <a:pt x="1452397" y="104025"/>
                  </a:lnTo>
                  <a:lnTo>
                    <a:pt x="1450860" y="97853"/>
                  </a:lnTo>
                  <a:lnTo>
                    <a:pt x="1450759" y="91351"/>
                  </a:lnTo>
                  <a:close/>
                </a:path>
                <a:path w="2599054" h="234314">
                  <a:moveTo>
                    <a:pt x="2120569" y="48894"/>
                  </a:moveTo>
                  <a:lnTo>
                    <a:pt x="1537309" y="95542"/>
                  </a:lnTo>
                  <a:lnTo>
                    <a:pt x="1537042" y="97967"/>
                  </a:lnTo>
                  <a:lnTo>
                    <a:pt x="1536573" y="100329"/>
                  </a:lnTo>
                  <a:lnTo>
                    <a:pt x="1535912" y="102615"/>
                  </a:lnTo>
                  <a:lnTo>
                    <a:pt x="1974202" y="65150"/>
                  </a:lnTo>
                  <a:lnTo>
                    <a:pt x="2120569" y="48894"/>
                  </a:lnTo>
                  <a:close/>
                </a:path>
                <a:path w="2599054" h="234314">
                  <a:moveTo>
                    <a:pt x="2598572" y="11404"/>
                  </a:moveTo>
                  <a:lnTo>
                    <a:pt x="2583395" y="13080"/>
                  </a:lnTo>
                  <a:lnTo>
                    <a:pt x="2598674" y="11785"/>
                  </a:lnTo>
                  <a:lnTo>
                    <a:pt x="2598572" y="11404"/>
                  </a:lnTo>
                  <a:close/>
                </a:path>
                <a:path w="2599054" h="234314">
                  <a:moveTo>
                    <a:pt x="2519565" y="0"/>
                  </a:moveTo>
                  <a:lnTo>
                    <a:pt x="2464498" y="4698"/>
                  </a:lnTo>
                  <a:lnTo>
                    <a:pt x="2521610" y="139"/>
                  </a:lnTo>
                  <a:lnTo>
                    <a:pt x="2519565" y="0"/>
                  </a:lnTo>
                  <a:close/>
                </a:path>
              </a:pathLst>
            </a:custGeom>
            <a:solidFill>
              <a:srgbClr val="EF3D60">
                <a:alpha val="50999"/>
              </a:srgbClr>
            </a:solidFill>
          </p:spPr>
          <p:txBody>
            <a:bodyPr wrap="square" lIns="0" tIns="0" rIns="0" bIns="0" rtlCol="0"/>
            <a:lstStyle/>
            <a:p>
              <a:endParaRPr sz="2968"/>
            </a:p>
          </p:txBody>
        </p:sp>
        <p:sp>
          <p:nvSpPr>
            <p:cNvPr id="110" name="object 108">
              <a:extLst>
                <a:ext uri="{FF2B5EF4-FFF2-40B4-BE49-F238E27FC236}">
                  <a16:creationId xmlns:a16="http://schemas.microsoft.com/office/drawing/2014/main" id="{DD8A8EC2-02BF-ED46-865E-ED089F505F75}"/>
                </a:ext>
              </a:extLst>
            </p:cNvPr>
            <p:cNvSpPr/>
            <p:nvPr/>
          </p:nvSpPr>
          <p:spPr>
            <a:xfrm>
              <a:off x="8121666" y="4875750"/>
              <a:ext cx="2556510" cy="191135"/>
            </a:xfrm>
            <a:custGeom>
              <a:avLst/>
              <a:gdLst/>
              <a:ahLst/>
              <a:cxnLst/>
              <a:rect l="l" t="t" r="r" b="b"/>
              <a:pathLst>
                <a:path w="2556509" h="191135">
                  <a:moveTo>
                    <a:pt x="1270" y="0"/>
                  </a:moveTo>
                  <a:lnTo>
                    <a:pt x="1562" y="2057"/>
                  </a:lnTo>
                  <a:lnTo>
                    <a:pt x="1727" y="4165"/>
                  </a:lnTo>
                  <a:lnTo>
                    <a:pt x="1727" y="10528"/>
                  </a:lnTo>
                  <a:lnTo>
                    <a:pt x="1117" y="14592"/>
                  </a:lnTo>
                  <a:lnTo>
                    <a:pt x="0" y="18440"/>
                  </a:lnTo>
                  <a:lnTo>
                    <a:pt x="2521407" y="190817"/>
                  </a:lnTo>
                  <a:lnTo>
                    <a:pt x="2555900" y="188061"/>
                  </a:lnTo>
                  <a:lnTo>
                    <a:pt x="2323719" y="158775"/>
                  </a:lnTo>
                  <a:lnTo>
                    <a:pt x="1270" y="0"/>
                  </a:lnTo>
                  <a:close/>
                </a:path>
              </a:pathLst>
            </a:custGeom>
            <a:solidFill>
              <a:srgbClr val="EF3D60">
                <a:alpha val="50999"/>
              </a:srgbClr>
            </a:solidFill>
          </p:spPr>
          <p:txBody>
            <a:bodyPr wrap="square" lIns="0" tIns="0" rIns="0" bIns="0" rtlCol="0"/>
            <a:lstStyle/>
            <a:p>
              <a:endParaRPr sz="2968"/>
            </a:p>
          </p:txBody>
        </p:sp>
        <p:sp>
          <p:nvSpPr>
            <p:cNvPr id="111" name="object 109">
              <a:extLst>
                <a:ext uri="{FF2B5EF4-FFF2-40B4-BE49-F238E27FC236}">
                  <a16:creationId xmlns:a16="http://schemas.microsoft.com/office/drawing/2014/main" id="{CA73CE31-B2C0-D340-B8DF-B1CFD29A93CA}"/>
                </a:ext>
              </a:extLst>
            </p:cNvPr>
            <p:cNvSpPr/>
            <p:nvPr/>
          </p:nvSpPr>
          <p:spPr>
            <a:xfrm>
              <a:off x="8258612" y="4740979"/>
              <a:ext cx="2462530" cy="323215"/>
            </a:xfrm>
            <a:custGeom>
              <a:avLst/>
              <a:gdLst/>
              <a:ahLst/>
              <a:cxnLst/>
              <a:rect l="l" t="t" r="r" b="b"/>
              <a:pathLst>
                <a:path w="2462529" h="323214">
                  <a:moveTo>
                    <a:pt x="2222" y="0"/>
                  </a:moveTo>
                  <a:lnTo>
                    <a:pt x="2311" y="1181"/>
                  </a:lnTo>
                  <a:lnTo>
                    <a:pt x="2374" y="8547"/>
                  </a:lnTo>
                  <a:lnTo>
                    <a:pt x="1523" y="13322"/>
                  </a:lnTo>
                  <a:lnTo>
                    <a:pt x="0" y="17767"/>
                  </a:lnTo>
                  <a:lnTo>
                    <a:pt x="2418956" y="322834"/>
                  </a:lnTo>
                  <a:lnTo>
                    <a:pt x="2459888" y="319557"/>
                  </a:lnTo>
                  <a:lnTo>
                    <a:pt x="2460243" y="316331"/>
                  </a:lnTo>
                  <a:lnTo>
                    <a:pt x="2460955" y="313207"/>
                  </a:lnTo>
                  <a:lnTo>
                    <a:pt x="2461983" y="310235"/>
                  </a:lnTo>
                  <a:lnTo>
                    <a:pt x="2222" y="0"/>
                  </a:lnTo>
                  <a:close/>
                </a:path>
              </a:pathLst>
            </a:custGeom>
            <a:solidFill>
              <a:srgbClr val="EF3D60">
                <a:alpha val="50999"/>
              </a:srgbClr>
            </a:solidFill>
          </p:spPr>
          <p:txBody>
            <a:bodyPr wrap="square" lIns="0" tIns="0" rIns="0" bIns="0" rtlCol="0"/>
            <a:lstStyle/>
            <a:p>
              <a:endParaRPr sz="2968"/>
            </a:p>
          </p:txBody>
        </p:sp>
        <p:sp>
          <p:nvSpPr>
            <p:cNvPr id="112" name="object 110">
              <a:extLst>
                <a:ext uri="{FF2B5EF4-FFF2-40B4-BE49-F238E27FC236}">
                  <a16:creationId xmlns:a16="http://schemas.microsoft.com/office/drawing/2014/main" id="{5113F6B9-4FC8-134E-935C-608BEF64B0E4}"/>
                </a:ext>
              </a:extLst>
            </p:cNvPr>
            <p:cNvSpPr/>
            <p:nvPr/>
          </p:nvSpPr>
          <p:spPr>
            <a:xfrm>
              <a:off x="10796388" y="4284915"/>
              <a:ext cx="966469" cy="758825"/>
            </a:xfrm>
            <a:custGeom>
              <a:avLst/>
              <a:gdLst/>
              <a:ahLst/>
              <a:cxnLst/>
              <a:rect l="l" t="t" r="r" b="b"/>
              <a:pathLst>
                <a:path w="966470" h="758825">
                  <a:moveTo>
                    <a:pt x="279831" y="528269"/>
                  </a:moveTo>
                  <a:lnTo>
                    <a:pt x="23063" y="727976"/>
                  </a:lnTo>
                  <a:lnTo>
                    <a:pt x="0" y="754443"/>
                  </a:lnTo>
                  <a:lnTo>
                    <a:pt x="1015" y="755815"/>
                  </a:lnTo>
                  <a:lnTo>
                    <a:pt x="1968" y="757250"/>
                  </a:lnTo>
                  <a:lnTo>
                    <a:pt x="2844" y="758736"/>
                  </a:lnTo>
                  <a:lnTo>
                    <a:pt x="295224" y="531342"/>
                  </a:lnTo>
                  <a:lnTo>
                    <a:pt x="279831" y="528269"/>
                  </a:lnTo>
                  <a:close/>
                </a:path>
                <a:path w="966470" h="758825">
                  <a:moveTo>
                    <a:pt x="651344" y="239306"/>
                  </a:moveTo>
                  <a:lnTo>
                    <a:pt x="291541" y="519163"/>
                  </a:lnTo>
                  <a:lnTo>
                    <a:pt x="306933" y="522249"/>
                  </a:lnTo>
                  <a:lnTo>
                    <a:pt x="659841" y="247789"/>
                  </a:lnTo>
                  <a:lnTo>
                    <a:pt x="651344" y="239306"/>
                  </a:lnTo>
                  <a:close/>
                </a:path>
                <a:path w="966470" h="758825">
                  <a:moveTo>
                    <a:pt x="773442" y="144348"/>
                  </a:moveTo>
                  <a:lnTo>
                    <a:pt x="662990" y="230263"/>
                  </a:lnTo>
                  <a:lnTo>
                    <a:pt x="671474" y="238734"/>
                  </a:lnTo>
                  <a:lnTo>
                    <a:pt x="779627" y="154622"/>
                  </a:lnTo>
                  <a:lnTo>
                    <a:pt x="773442" y="144348"/>
                  </a:lnTo>
                  <a:close/>
                </a:path>
                <a:path w="966470" h="758825">
                  <a:moveTo>
                    <a:pt x="959027" y="0"/>
                  </a:moveTo>
                  <a:lnTo>
                    <a:pt x="786853" y="133908"/>
                  </a:lnTo>
                  <a:lnTo>
                    <a:pt x="793051" y="144183"/>
                  </a:lnTo>
                  <a:lnTo>
                    <a:pt x="966355" y="9410"/>
                  </a:lnTo>
                  <a:lnTo>
                    <a:pt x="963498" y="6629"/>
                  </a:lnTo>
                  <a:lnTo>
                    <a:pt x="961034" y="3467"/>
                  </a:lnTo>
                  <a:lnTo>
                    <a:pt x="959027" y="0"/>
                  </a:lnTo>
                  <a:close/>
                </a:path>
              </a:pathLst>
            </a:custGeom>
            <a:solidFill>
              <a:srgbClr val="EF3D60">
                <a:alpha val="50999"/>
              </a:srgbClr>
            </a:solidFill>
          </p:spPr>
          <p:txBody>
            <a:bodyPr wrap="square" lIns="0" tIns="0" rIns="0" bIns="0" rtlCol="0"/>
            <a:lstStyle/>
            <a:p>
              <a:endParaRPr sz="2968"/>
            </a:p>
          </p:txBody>
        </p:sp>
        <p:sp>
          <p:nvSpPr>
            <p:cNvPr id="113" name="object 111">
              <a:extLst>
                <a:ext uri="{FF2B5EF4-FFF2-40B4-BE49-F238E27FC236}">
                  <a16:creationId xmlns:a16="http://schemas.microsoft.com/office/drawing/2014/main" id="{D6E2C278-0221-0C41-9B6C-FB3C70EFA89B}"/>
                </a:ext>
              </a:extLst>
            </p:cNvPr>
            <p:cNvSpPr/>
            <p:nvPr/>
          </p:nvSpPr>
          <p:spPr>
            <a:xfrm>
              <a:off x="8740481" y="5077121"/>
              <a:ext cx="1979930" cy="220979"/>
            </a:xfrm>
            <a:custGeom>
              <a:avLst/>
              <a:gdLst/>
              <a:ahLst/>
              <a:cxnLst/>
              <a:rect l="l" t="t" r="r" b="b"/>
              <a:pathLst>
                <a:path w="1979929" h="220979">
                  <a:moveTo>
                    <a:pt x="844956" y="111163"/>
                  </a:moveTo>
                  <a:lnTo>
                    <a:pt x="0" y="205041"/>
                  </a:lnTo>
                  <a:lnTo>
                    <a:pt x="1193" y="208991"/>
                  </a:lnTo>
                  <a:lnTo>
                    <a:pt x="1816" y="213156"/>
                  </a:lnTo>
                  <a:lnTo>
                    <a:pt x="1714" y="220459"/>
                  </a:lnTo>
                  <a:lnTo>
                    <a:pt x="875461" y="123393"/>
                  </a:lnTo>
                  <a:lnTo>
                    <a:pt x="875157" y="123393"/>
                  </a:lnTo>
                  <a:lnTo>
                    <a:pt x="866585" y="122546"/>
                  </a:lnTo>
                  <a:lnTo>
                    <a:pt x="858585" y="120116"/>
                  </a:lnTo>
                  <a:lnTo>
                    <a:pt x="851320" y="116267"/>
                  </a:lnTo>
                  <a:lnTo>
                    <a:pt x="844956" y="111163"/>
                  </a:lnTo>
                  <a:close/>
                </a:path>
                <a:path w="1979929" h="220979">
                  <a:moveTo>
                    <a:pt x="1979345" y="0"/>
                  </a:moveTo>
                  <a:lnTo>
                    <a:pt x="1501559" y="38214"/>
                  </a:lnTo>
                  <a:lnTo>
                    <a:pt x="911479" y="103771"/>
                  </a:lnTo>
                  <a:lnTo>
                    <a:pt x="906254" y="110272"/>
                  </a:lnTo>
                  <a:lnTo>
                    <a:pt x="899898" y="115657"/>
                  </a:lnTo>
                  <a:lnTo>
                    <a:pt x="892581" y="119754"/>
                  </a:lnTo>
                  <a:lnTo>
                    <a:pt x="884478" y="122389"/>
                  </a:lnTo>
                  <a:lnTo>
                    <a:pt x="1979549" y="723"/>
                  </a:lnTo>
                  <a:lnTo>
                    <a:pt x="1979345" y="0"/>
                  </a:lnTo>
                  <a:close/>
                </a:path>
              </a:pathLst>
            </a:custGeom>
            <a:solidFill>
              <a:srgbClr val="EF3D60">
                <a:alpha val="50999"/>
              </a:srgbClr>
            </a:solidFill>
          </p:spPr>
          <p:txBody>
            <a:bodyPr wrap="square" lIns="0" tIns="0" rIns="0" bIns="0" rtlCol="0"/>
            <a:lstStyle/>
            <a:p>
              <a:endParaRPr sz="2968"/>
            </a:p>
          </p:txBody>
        </p:sp>
        <p:sp>
          <p:nvSpPr>
            <p:cNvPr id="114" name="object 112">
              <a:extLst>
                <a:ext uri="{FF2B5EF4-FFF2-40B4-BE49-F238E27FC236}">
                  <a16:creationId xmlns:a16="http://schemas.microsoft.com/office/drawing/2014/main" id="{C912CE21-E0F8-894F-B7F5-C5A2D1D80CB9}"/>
                </a:ext>
              </a:extLst>
            </p:cNvPr>
            <p:cNvSpPr/>
            <p:nvPr/>
          </p:nvSpPr>
          <p:spPr>
            <a:xfrm>
              <a:off x="10796742" y="5075661"/>
              <a:ext cx="2061845" cy="965200"/>
            </a:xfrm>
            <a:custGeom>
              <a:avLst/>
              <a:gdLst/>
              <a:ahLst/>
              <a:cxnLst/>
              <a:rect l="l" t="t" r="r" b="b"/>
              <a:pathLst>
                <a:path w="2061845" h="965200">
                  <a:moveTo>
                    <a:pt x="1725853" y="794664"/>
                  </a:moveTo>
                  <a:lnTo>
                    <a:pt x="1744078" y="821664"/>
                  </a:lnTo>
                  <a:lnTo>
                    <a:pt x="2054263" y="965073"/>
                  </a:lnTo>
                  <a:lnTo>
                    <a:pt x="2055609" y="959472"/>
                  </a:lnTo>
                  <a:lnTo>
                    <a:pt x="2058047" y="954290"/>
                  </a:lnTo>
                  <a:lnTo>
                    <a:pt x="2061337" y="949782"/>
                  </a:lnTo>
                  <a:lnTo>
                    <a:pt x="1725853" y="794664"/>
                  </a:lnTo>
                  <a:close/>
                </a:path>
                <a:path w="2061845" h="965200">
                  <a:moveTo>
                    <a:pt x="1199807" y="551446"/>
                  </a:moveTo>
                  <a:lnTo>
                    <a:pt x="1202270" y="571157"/>
                  </a:lnTo>
                  <a:lnTo>
                    <a:pt x="1715681" y="808532"/>
                  </a:lnTo>
                  <a:lnTo>
                    <a:pt x="1697456" y="781532"/>
                  </a:lnTo>
                  <a:lnTo>
                    <a:pt x="1199807" y="551446"/>
                  </a:lnTo>
                  <a:close/>
                </a:path>
                <a:path w="2061845" h="965200">
                  <a:moveTo>
                    <a:pt x="809180" y="370840"/>
                  </a:moveTo>
                  <a:lnTo>
                    <a:pt x="799807" y="385076"/>
                  </a:lnTo>
                  <a:lnTo>
                    <a:pt x="1186865" y="564032"/>
                  </a:lnTo>
                  <a:lnTo>
                    <a:pt x="1184402" y="544322"/>
                  </a:lnTo>
                  <a:lnTo>
                    <a:pt x="809180" y="370840"/>
                  </a:lnTo>
                  <a:close/>
                </a:path>
                <a:path w="2061845" h="965200">
                  <a:moveTo>
                    <a:pt x="7099" y="0"/>
                  </a:moveTo>
                  <a:lnTo>
                    <a:pt x="5740" y="5588"/>
                  </a:lnTo>
                  <a:lnTo>
                    <a:pt x="3302" y="10769"/>
                  </a:lnTo>
                  <a:lnTo>
                    <a:pt x="0" y="15290"/>
                  </a:lnTo>
                  <a:lnTo>
                    <a:pt x="785520" y="378472"/>
                  </a:lnTo>
                  <a:lnTo>
                    <a:pt x="794893" y="364236"/>
                  </a:lnTo>
                  <a:lnTo>
                    <a:pt x="7099" y="0"/>
                  </a:lnTo>
                  <a:close/>
                </a:path>
              </a:pathLst>
            </a:custGeom>
            <a:solidFill>
              <a:srgbClr val="EF3D60">
                <a:alpha val="50999"/>
              </a:srgbClr>
            </a:solidFill>
          </p:spPr>
          <p:txBody>
            <a:bodyPr wrap="square" lIns="0" tIns="0" rIns="0" bIns="0" rtlCol="0"/>
            <a:lstStyle/>
            <a:p>
              <a:endParaRPr sz="2968"/>
            </a:p>
          </p:txBody>
        </p:sp>
        <p:sp>
          <p:nvSpPr>
            <p:cNvPr id="115" name="object 113">
              <a:extLst>
                <a:ext uri="{FF2B5EF4-FFF2-40B4-BE49-F238E27FC236}">
                  <a16:creationId xmlns:a16="http://schemas.microsoft.com/office/drawing/2014/main" id="{B40D307E-49CD-FC4C-A384-A96834D95B9A}"/>
                </a:ext>
              </a:extLst>
            </p:cNvPr>
            <p:cNvSpPr/>
            <p:nvPr/>
          </p:nvSpPr>
          <p:spPr>
            <a:xfrm>
              <a:off x="10782682" y="3120363"/>
              <a:ext cx="1677035" cy="1919605"/>
            </a:xfrm>
            <a:custGeom>
              <a:avLst/>
              <a:gdLst/>
              <a:ahLst/>
              <a:cxnLst/>
              <a:rect l="l" t="t" r="r" b="b"/>
              <a:pathLst>
                <a:path w="1677034" h="1919604">
                  <a:moveTo>
                    <a:pt x="202679" y="1674647"/>
                  </a:moveTo>
                  <a:lnTo>
                    <a:pt x="0" y="1907057"/>
                  </a:lnTo>
                  <a:lnTo>
                    <a:pt x="5372" y="1910029"/>
                  </a:lnTo>
                  <a:lnTo>
                    <a:pt x="10032" y="1914105"/>
                  </a:lnTo>
                  <a:lnTo>
                    <a:pt x="13703" y="1918995"/>
                  </a:lnTo>
                  <a:lnTo>
                    <a:pt x="223215" y="1678749"/>
                  </a:lnTo>
                  <a:lnTo>
                    <a:pt x="202679" y="1674647"/>
                  </a:lnTo>
                  <a:close/>
                </a:path>
                <a:path w="1677034" h="1919604">
                  <a:moveTo>
                    <a:pt x="544220" y="1283030"/>
                  </a:moveTo>
                  <a:lnTo>
                    <a:pt x="211175" y="1664906"/>
                  </a:lnTo>
                  <a:lnTo>
                    <a:pt x="231711" y="1669008"/>
                  </a:lnTo>
                  <a:lnTo>
                    <a:pt x="557098" y="1295908"/>
                  </a:lnTo>
                  <a:lnTo>
                    <a:pt x="544220" y="1283030"/>
                  </a:lnTo>
                  <a:close/>
                </a:path>
                <a:path w="1677034" h="1919604">
                  <a:moveTo>
                    <a:pt x="678700" y="1128826"/>
                  </a:moveTo>
                  <a:lnTo>
                    <a:pt x="553859" y="1271981"/>
                  </a:lnTo>
                  <a:lnTo>
                    <a:pt x="566737" y="1284858"/>
                  </a:lnTo>
                  <a:lnTo>
                    <a:pt x="688543" y="1145184"/>
                  </a:lnTo>
                  <a:lnTo>
                    <a:pt x="678700" y="1128826"/>
                  </a:lnTo>
                  <a:close/>
                </a:path>
                <a:path w="1677034" h="1919604">
                  <a:moveTo>
                    <a:pt x="964018" y="801674"/>
                  </a:moveTo>
                  <a:lnTo>
                    <a:pt x="690359" y="1115466"/>
                  </a:lnTo>
                  <a:lnTo>
                    <a:pt x="700214" y="1131824"/>
                  </a:lnTo>
                  <a:lnTo>
                    <a:pt x="967435" y="825411"/>
                  </a:lnTo>
                  <a:lnTo>
                    <a:pt x="964018" y="801674"/>
                  </a:lnTo>
                  <a:close/>
                </a:path>
                <a:path w="1677034" h="1919604">
                  <a:moveTo>
                    <a:pt x="1046899" y="706628"/>
                  </a:moveTo>
                  <a:lnTo>
                    <a:pt x="980211" y="783094"/>
                  </a:lnTo>
                  <a:lnTo>
                    <a:pt x="983627" y="806843"/>
                  </a:lnTo>
                  <a:lnTo>
                    <a:pt x="1048524" y="732434"/>
                  </a:lnTo>
                  <a:lnTo>
                    <a:pt x="1046899" y="706628"/>
                  </a:lnTo>
                  <a:close/>
                </a:path>
                <a:path w="1677034" h="1919604">
                  <a:moveTo>
                    <a:pt x="1426400" y="271487"/>
                  </a:moveTo>
                  <a:lnTo>
                    <a:pt x="1058735" y="693064"/>
                  </a:lnTo>
                  <a:lnTo>
                    <a:pt x="1060348" y="718870"/>
                  </a:lnTo>
                  <a:lnTo>
                    <a:pt x="1419390" y="307200"/>
                  </a:lnTo>
                  <a:lnTo>
                    <a:pt x="1426400" y="271487"/>
                  </a:lnTo>
                  <a:close/>
                </a:path>
                <a:path w="1677034" h="1919604">
                  <a:moveTo>
                    <a:pt x="1663166" y="0"/>
                  </a:moveTo>
                  <a:lnTo>
                    <a:pt x="1450301" y="244081"/>
                  </a:lnTo>
                  <a:lnTo>
                    <a:pt x="1443291" y="279793"/>
                  </a:lnTo>
                  <a:lnTo>
                    <a:pt x="1676882" y="11937"/>
                  </a:lnTo>
                  <a:lnTo>
                    <a:pt x="1671510" y="8966"/>
                  </a:lnTo>
                  <a:lnTo>
                    <a:pt x="1666836" y="4876"/>
                  </a:lnTo>
                  <a:lnTo>
                    <a:pt x="1663166" y="0"/>
                  </a:lnTo>
                  <a:close/>
                </a:path>
              </a:pathLst>
            </a:custGeom>
            <a:solidFill>
              <a:srgbClr val="EF3D60">
                <a:alpha val="50999"/>
              </a:srgbClr>
            </a:solidFill>
          </p:spPr>
          <p:txBody>
            <a:bodyPr wrap="square" lIns="0" tIns="0" rIns="0" bIns="0" rtlCol="0"/>
            <a:lstStyle/>
            <a:p>
              <a:endParaRPr sz="2968"/>
            </a:p>
          </p:txBody>
        </p:sp>
        <p:sp>
          <p:nvSpPr>
            <p:cNvPr id="116" name="object 114">
              <a:extLst>
                <a:ext uri="{FF2B5EF4-FFF2-40B4-BE49-F238E27FC236}">
                  <a16:creationId xmlns:a16="http://schemas.microsoft.com/office/drawing/2014/main" id="{20AC794A-4D45-1640-BF9A-7ABFA6883A2F}"/>
                </a:ext>
              </a:extLst>
            </p:cNvPr>
            <p:cNvSpPr/>
            <p:nvPr/>
          </p:nvSpPr>
          <p:spPr>
            <a:xfrm>
              <a:off x="10686415" y="2999233"/>
              <a:ext cx="81915" cy="2023745"/>
            </a:xfrm>
            <a:custGeom>
              <a:avLst/>
              <a:gdLst/>
              <a:ahLst/>
              <a:cxnLst/>
              <a:rect l="l" t="t" r="r" b="b"/>
              <a:pathLst>
                <a:path w="81915" h="2023745">
                  <a:moveTo>
                    <a:pt x="78752" y="1933346"/>
                  </a:moveTo>
                  <a:lnTo>
                    <a:pt x="78752" y="2022894"/>
                  </a:lnTo>
                  <a:lnTo>
                    <a:pt x="79743" y="2022970"/>
                  </a:lnTo>
                  <a:lnTo>
                    <a:pt x="81686" y="2023224"/>
                  </a:lnTo>
                  <a:lnTo>
                    <a:pt x="78752" y="1933346"/>
                  </a:lnTo>
                  <a:close/>
                </a:path>
                <a:path w="81915" h="2023745">
                  <a:moveTo>
                    <a:pt x="58204" y="1785277"/>
                  </a:moveTo>
                  <a:lnTo>
                    <a:pt x="65989" y="2023732"/>
                  </a:lnTo>
                  <a:lnTo>
                    <a:pt x="67830" y="2023338"/>
                  </a:lnTo>
                  <a:lnTo>
                    <a:pt x="69710" y="2023059"/>
                  </a:lnTo>
                  <a:lnTo>
                    <a:pt x="71628" y="2022894"/>
                  </a:lnTo>
                  <a:lnTo>
                    <a:pt x="71628" y="1788591"/>
                  </a:lnTo>
                  <a:lnTo>
                    <a:pt x="66903" y="1788198"/>
                  </a:lnTo>
                  <a:lnTo>
                    <a:pt x="62382" y="1787055"/>
                  </a:lnTo>
                  <a:lnTo>
                    <a:pt x="58204" y="1785277"/>
                  </a:lnTo>
                  <a:close/>
                </a:path>
                <a:path w="81915" h="2023745">
                  <a:moveTo>
                    <a:pt x="25730" y="789393"/>
                  </a:moveTo>
                  <a:lnTo>
                    <a:pt x="55638" y="1706562"/>
                  </a:lnTo>
                  <a:lnTo>
                    <a:pt x="60401" y="1704149"/>
                  </a:lnTo>
                  <a:lnTo>
                    <a:pt x="65646" y="1702600"/>
                  </a:lnTo>
                  <a:lnTo>
                    <a:pt x="71208" y="1702092"/>
                  </a:lnTo>
                  <a:lnTo>
                    <a:pt x="58826" y="1322400"/>
                  </a:lnTo>
                  <a:lnTo>
                    <a:pt x="58064" y="1299476"/>
                  </a:lnTo>
                  <a:lnTo>
                    <a:pt x="41960" y="805624"/>
                  </a:lnTo>
                  <a:lnTo>
                    <a:pt x="25730" y="789393"/>
                  </a:lnTo>
                  <a:close/>
                </a:path>
                <a:path w="81915" h="2023745">
                  <a:moveTo>
                    <a:pt x="0" y="507"/>
                  </a:moveTo>
                  <a:lnTo>
                    <a:pt x="25031" y="767994"/>
                  </a:lnTo>
                  <a:lnTo>
                    <a:pt x="41262" y="784237"/>
                  </a:lnTo>
                  <a:lnTo>
                    <a:pt x="15716" y="977"/>
                  </a:lnTo>
                  <a:lnTo>
                    <a:pt x="4254" y="977"/>
                  </a:lnTo>
                  <a:lnTo>
                    <a:pt x="2095" y="812"/>
                  </a:lnTo>
                  <a:lnTo>
                    <a:pt x="0" y="507"/>
                  </a:lnTo>
                  <a:close/>
                </a:path>
                <a:path w="81915" h="2023745">
                  <a:moveTo>
                    <a:pt x="15684" y="0"/>
                  </a:moveTo>
                  <a:lnTo>
                    <a:pt x="12712" y="635"/>
                  </a:lnTo>
                  <a:lnTo>
                    <a:pt x="9626" y="977"/>
                  </a:lnTo>
                  <a:lnTo>
                    <a:pt x="15716" y="977"/>
                  </a:lnTo>
                  <a:lnTo>
                    <a:pt x="15684" y="0"/>
                  </a:lnTo>
                  <a:close/>
                </a:path>
              </a:pathLst>
            </a:custGeom>
            <a:solidFill>
              <a:srgbClr val="EF3D60">
                <a:alpha val="50999"/>
              </a:srgbClr>
            </a:solidFill>
          </p:spPr>
          <p:txBody>
            <a:bodyPr wrap="square" lIns="0" tIns="0" rIns="0" bIns="0" rtlCol="0"/>
            <a:lstStyle/>
            <a:p>
              <a:endParaRPr sz="2968"/>
            </a:p>
          </p:txBody>
        </p:sp>
        <p:sp>
          <p:nvSpPr>
            <p:cNvPr id="117" name="object 115">
              <a:extLst>
                <a:ext uri="{FF2B5EF4-FFF2-40B4-BE49-F238E27FC236}">
                  <a16:creationId xmlns:a16="http://schemas.microsoft.com/office/drawing/2014/main" id="{96B114CA-7004-814D-866F-6CDFBE23EC0B}"/>
                </a:ext>
              </a:extLst>
            </p:cNvPr>
            <p:cNvSpPr/>
            <p:nvPr/>
          </p:nvSpPr>
          <p:spPr>
            <a:xfrm>
              <a:off x="10761606" y="4787820"/>
              <a:ext cx="0" cy="233679"/>
            </a:xfrm>
            <a:custGeom>
              <a:avLst/>
              <a:gdLst/>
              <a:ahLst/>
              <a:cxnLst/>
              <a:rect l="l" t="t" r="r" b="b"/>
              <a:pathLst>
                <a:path h="233679">
                  <a:moveTo>
                    <a:pt x="0" y="0"/>
                  </a:moveTo>
                  <a:lnTo>
                    <a:pt x="0" y="233679"/>
                  </a:lnTo>
                </a:path>
              </a:pathLst>
            </a:custGeom>
            <a:ln w="7124">
              <a:solidFill>
                <a:srgbClr val="EF3D60"/>
              </a:solidFill>
            </a:ln>
          </p:spPr>
          <p:txBody>
            <a:bodyPr wrap="square" lIns="0" tIns="0" rIns="0" bIns="0" rtlCol="0"/>
            <a:lstStyle/>
            <a:p>
              <a:endParaRPr sz="2968"/>
            </a:p>
          </p:txBody>
        </p:sp>
        <p:sp>
          <p:nvSpPr>
            <p:cNvPr id="118" name="object 116">
              <a:extLst>
                <a:ext uri="{FF2B5EF4-FFF2-40B4-BE49-F238E27FC236}">
                  <a16:creationId xmlns:a16="http://schemas.microsoft.com/office/drawing/2014/main" id="{EC1D4A99-2E59-FB49-B54B-C696629CBA1F}"/>
                </a:ext>
              </a:extLst>
            </p:cNvPr>
            <p:cNvSpPr/>
            <p:nvPr/>
          </p:nvSpPr>
          <p:spPr>
            <a:xfrm>
              <a:off x="10762832" y="5021982"/>
              <a:ext cx="2540" cy="635"/>
            </a:xfrm>
            <a:custGeom>
              <a:avLst/>
              <a:gdLst/>
              <a:ahLst/>
              <a:cxnLst/>
              <a:rect l="l" t="t" r="r" b="b"/>
              <a:pathLst>
                <a:path w="2540" h="635">
                  <a:moveTo>
                    <a:pt x="2336" y="0"/>
                  </a:moveTo>
                  <a:lnTo>
                    <a:pt x="0" y="0"/>
                  </a:lnTo>
                  <a:lnTo>
                    <a:pt x="1168" y="50"/>
                  </a:lnTo>
                  <a:lnTo>
                    <a:pt x="2336" y="152"/>
                  </a:lnTo>
                  <a:lnTo>
                    <a:pt x="2336" y="0"/>
                  </a:lnTo>
                  <a:close/>
                </a:path>
              </a:pathLst>
            </a:custGeom>
            <a:solidFill>
              <a:srgbClr val="EF3D60">
                <a:alpha val="50999"/>
              </a:srgbClr>
            </a:solidFill>
          </p:spPr>
          <p:txBody>
            <a:bodyPr wrap="square" lIns="0" tIns="0" rIns="0" bIns="0" rtlCol="0"/>
            <a:lstStyle/>
            <a:p>
              <a:endParaRPr sz="2968"/>
            </a:p>
          </p:txBody>
        </p:sp>
        <p:sp>
          <p:nvSpPr>
            <p:cNvPr id="119" name="object 117">
              <a:extLst>
                <a:ext uri="{FF2B5EF4-FFF2-40B4-BE49-F238E27FC236}">
                  <a16:creationId xmlns:a16="http://schemas.microsoft.com/office/drawing/2014/main" id="{05EB878A-D437-7F46-802E-03F5A18CDFD7}"/>
                </a:ext>
              </a:extLst>
            </p:cNvPr>
            <p:cNvSpPr/>
            <p:nvPr/>
          </p:nvSpPr>
          <p:spPr>
            <a:xfrm>
              <a:off x="10762832" y="4787832"/>
              <a:ext cx="2540" cy="635"/>
            </a:xfrm>
            <a:custGeom>
              <a:avLst/>
              <a:gdLst/>
              <a:ahLst/>
              <a:cxnLst/>
              <a:rect l="l" t="t" r="r" b="b"/>
              <a:pathLst>
                <a:path w="2540" h="635">
                  <a:moveTo>
                    <a:pt x="2336" y="0"/>
                  </a:moveTo>
                  <a:lnTo>
                    <a:pt x="1168" y="88"/>
                  </a:lnTo>
                  <a:lnTo>
                    <a:pt x="0" y="139"/>
                  </a:lnTo>
                  <a:lnTo>
                    <a:pt x="2336" y="139"/>
                  </a:lnTo>
                  <a:lnTo>
                    <a:pt x="2336" y="0"/>
                  </a:lnTo>
                  <a:close/>
                </a:path>
              </a:pathLst>
            </a:custGeom>
            <a:solidFill>
              <a:srgbClr val="EF3D60">
                <a:alpha val="50999"/>
              </a:srgbClr>
            </a:solidFill>
          </p:spPr>
          <p:txBody>
            <a:bodyPr wrap="square" lIns="0" tIns="0" rIns="0" bIns="0" rtlCol="0"/>
            <a:lstStyle/>
            <a:p>
              <a:endParaRPr sz="2968"/>
            </a:p>
          </p:txBody>
        </p:sp>
        <p:sp>
          <p:nvSpPr>
            <p:cNvPr id="120" name="object 118">
              <a:extLst>
                <a:ext uri="{FF2B5EF4-FFF2-40B4-BE49-F238E27FC236}">
                  <a16:creationId xmlns:a16="http://schemas.microsoft.com/office/drawing/2014/main" id="{07A12070-F6EA-F24D-895F-3426D53284D9}"/>
                </a:ext>
              </a:extLst>
            </p:cNvPr>
            <p:cNvSpPr/>
            <p:nvPr/>
          </p:nvSpPr>
          <p:spPr>
            <a:xfrm>
              <a:off x="9878344" y="5107405"/>
              <a:ext cx="873125" cy="1870710"/>
            </a:xfrm>
            <a:custGeom>
              <a:avLst/>
              <a:gdLst/>
              <a:ahLst/>
              <a:cxnLst/>
              <a:rect l="l" t="t" r="r" b="b"/>
              <a:pathLst>
                <a:path w="873125" h="1870709">
                  <a:moveTo>
                    <a:pt x="872274" y="0"/>
                  </a:moveTo>
                  <a:lnTo>
                    <a:pt x="432295" y="921829"/>
                  </a:lnTo>
                  <a:lnTo>
                    <a:pt x="0" y="1864055"/>
                  </a:lnTo>
                  <a:lnTo>
                    <a:pt x="5257" y="1865363"/>
                  </a:lnTo>
                  <a:lnTo>
                    <a:pt x="10147" y="1867649"/>
                  </a:lnTo>
                  <a:lnTo>
                    <a:pt x="14439" y="1870684"/>
                  </a:lnTo>
                  <a:lnTo>
                    <a:pt x="872693" y="114"/>
                  </a:lnTo>
                  <a:lnTo>
                    <a:pt x="872274" y="0"/>
                  </a:lnTo>
                  <a:close/>
                </a:path>
              </a:pathLst>
            </a:custGeom>
            <a:solidFill>
              <a:srgbClr val="EF3D60">
                <a:alpha val="50999"/>
              </a:srgbClr>
            </a:solidFill>
          </p:spPr>
          <p:txBody>
            <a:bodyPr wrap="square" lIns="0" tIns="0" rIns="0" bIns="0" rtlCol="0"/>
            <a:lstStyle/>
            <a:p>
              <a:endParaRPr sz="2968"/>
            </a:p>
          </p:txBody>
        </p:sp>
        <p:sp>
          <p:nvSpPr>
            <p:cNvPr id="121" name="object 119">
              <a:extLst>
                <a:ext uri="{FF2B5EF4-FFF2-40B4-BE49-F238E27FC236}">
                  <a16:creationId xmlns:a16="http://schemas.microsoft.com/office/drawing/2014/main" id="{93703778-A6B9-B54F-BCBF-CC6E982AB40E}"/>
                </a:ext>
              </a:extLst>
            </p:cNvPr>
            <p:cNvSpPr/>
            <p:nvPr/>
          </p:nvSpPr>
          <p:spPr>
            <a:xfrm>
              <a:off x="9810017" y="5100344"/>
              <a:ext cx="941069" cy="1947545"/>
            </a:xfrm>
            <a:custGeom>
              <a:avLst/>
              <a:gdLst/>
              <a:ahLst/>
              <a:cxnLst/>
              <a:rect l="l" t="t" r="r" b="b"/>
              <a:pathLst>
                <a:path w="941070" h="1947545">
                  <a:moveTo>
                    <a:pt x="14490" y="1909699"/>
                  </a:moveTo>
                  <a:lnTo>
                    <a:pt x="0" y="1940039"/>
                  </a:lnTo>
                  <a:lnTo>
                    <a:pt x="5372" y="1941436"/>
                  </a:lnTo>
                  <a:lnTo>
                    <a:pt x="10337" y="1943849"/>
                  </a:lnTo>
                  <a:lnTo>
                    <a:pt x="14681" y="1947037"/>
                  </a:lnTo>
                  <a:lnTo>
                    <a:pt x="20307" y="1935238"/>
                  </a:lnTo>
                  <a:lnTo>
                    <a:pt x="16522" y="1928787"/>
                  </a:lnTo>
                  <a:lnTo>
                    <a:pt x="14350" y="1921268"/>
                  </a:lnTo>
                  <a:lnTo>
                    <a:pt x="14389" y="1910867"/>
                  </a:lnTo>
                  <a:lnTo>
                    <a:pt x="14490" y="1909699"/>
                  </a:lnTo>
                  <a:close/>
                </a:path>
                <a:path w="941070" h="1947545">
                  <a:moveTo>
                    <a:pt x="925855" y="0"/>
                  </a:moveTo>
                  <a:lnTo>
                    <a:pt x="27787" y="1881822"/>
                  </a:lnTo>
                  <a:lnTo>
                    <a:pt x="32857" y="1877666"/>
                  </a:lnTo>
                  <a:lnTo>
                    <a:pt x="38523" y="1874304"/>
                  </a:lnTo>
                  <a:lnTo>
                    <a:pt x="44702" y="1871817"/>
                  </a:lnTo>
                  <a:lnTo>
                    <a:pt x="51307" y="1870290"/>
                  </a:lnTo>
                  <a:lnTo>
                    <a:pt x="940600" y="7061"/>
                  </a:lnTo>
                  <a:lnTo>
                    <a:pt x="935202" y="5651"/>
                  </a:lnTo>
                  <a:lnTo>
                    <a:pt x="930211" y="3225"/>
                  </a:lnTo>
                  <a:lnTo>
                    <a:pt x="925855" y="0"/>
                  </a:lnTo>
                  <a:close/>
                </a:path>
              </a:pathLst>
            </a:custGeom>
            <a:solidFill>
              <a:srgbClr val="EF3D60">
                <a:alpha val="50999"/>
              </a:srgbClr>
            </a:solidFill>
          </p:spPr>
          <p:txBody>
            <a:bodyPr wrap="square" lIns="0" tIns="0" rIns="0" bIns="0" rtlCol="0"/>
            <a:lstStyle/>
            <a:p>
              <a:endParaRPr sz="2968"/>
            </a:p>
          </p:txBody>
        </p:sp>
        <p:sp>
          <p:nvSpPr>
            <p:cNvPr id="122" name="object 120">
              <a:extLst>
                <a:ext uri="{FF2B5EF4-FFF2-40B4-BE49-F238E27FC236}">
                  <a16:creationId xmlns:a16="http://schemas.microsoft.com/office/drawing/2014/main" id="{CAE627BE-D628-EA46-9C80-8AAA6119C322}"/>
                </a:ext>
              </a:extLst>
            </p:cNvPr>
            <p:cNvSpPr/>
            <p:nvPr/>
          </p:nvSpPr>
          <p:spPr>
            <a:xfrm>
              <a:off x="9657460" y="4969441"/>
              <a:ext cx="2208530" cy="193040"/>
            </a:xfrm>
            <a:custGeom>
              <a:avLst/>
              <a:gdLst/>
              <a:ahLst/>
              <a:cxnLst/>
              <a:rect l="l" t="t" r="r" b="b"/>
              <a:pathLst>
                <a:path w="2208529" h="193039">
                  <a:moveTo>
                    <a:pt x="1061034" y="91097"/>
                  </a:moveTo>
                  <a:lnTo>
                    <a:pt x="0" y="175971"/>
                  </a:lnTo>
                  <a:lnTo>
                    <a:pt x="1041" y="179692"/>
                  </a:lnTo>
                  <a:lnTo>
                    <a:pt x="1587" y="183603"/>
                  </a:lnTo>
                  <a:lnTo>
                    <a:pt x="1498" y="190931"/>
                  </a:lnTo>
                  <a:lnTo>
                    <a:pt x="1320" y="192544"/>
                  </a:lnTo>
                  <a:lnTo>
                    <a:pt x="1062367" y="107683"/>
                  </a:lnTo>
                  <a:lnTo>
                    <a:pt x="1061326" y="103949"/>
                  </a:lnTo>
                  <a:lnTo>
                    <a:pt x="1060767" y="100025"/>
                  </a:lnTo>
                  <a:lnTo>
                    <a:pt x="1060856" y="92697"/>
                  </a:lnTo>
                  <a:lnTo>
                    <a:pt x="1061034" y="91097"/>
                  </a:lnTo>
                  <a:close/>
                </a:path>
                <a:path w="2208529" h="193039">
                  <a:moveTo>
                    <a:pt x="2199944" y="0"/>
                  </a:moveTo>
                  <a:lnTo>
                    <a:pt x="1146022" y="84302"/>
                  </a:lnTo>
                  <a:lnTo>
                    <a:pt x="1147038" y="88011"/>
                  </a:lnTo>
                  <a:lnTo>
                    <a:pt x="1147610" y="91922"/>
                  </a:lnTo>
                  <a:lnTo>
                    <a:pt x="1147508" y="99263"/>
                  </a:lnTo>
                  <a:lnTo>
                    <a:pt x="1147318" y="100888"/>
                  </a:lnTo>
                  <a:lnTo>
                    <a:pt x="2208364" y="16027"/>
                  </a:lnTo>
                  <a:lnTo>
                    <a:pt x="2207336" y="12306"/>
                  </a:lnTo>
                  <a:lnTo>
                    <a:pt x="2206777" y="8369"/>
                  </a:lnTo>
                  <a:lnTo>
                    <a:pt x="2206879" y="1384"/>
                  </a:lnTo>
                  <a:lnTo>
                    <a:pt x="2199944" y="0"/>
                  </a:lnTo>
                  <a:close/>
                </a:path>
              </a:pathLst>
            </a:custGeom>
            <a:solidFill>
              <a:srgbClr val="EF3D60">
                <a:alpha val="50999"/>
              </a:srgbClr>
            </a:solidFill>
          </p:spPr>
          <p:txBody>
            <a:bodyPr wrap="square" lIns="0" tIns="0" rIns="0" bIns="0" rtlCol="0"/>
            <a:lstStyle/>
            <a:p>
              <a:endParaRPr sz="2968"/>
            </a:p>
          </p:txBody>
        </p:sp>
        <p:sp>
          <p:nvSpPr>
            <p:cNvPr id="123" name="object 121">
              <a:extLst>
                <a:ext uri="{FF2B5EF4-FFF2-40B4-BE49-F238E27FC236}">
                  <a16:creationId xmlns:a16="http://schemas.microsoft.com/office/drawing/2014/main" id="{D0E4CDD2-0945-C040-B432-594FB18D982D}"/>
                </a:ext>
              </a:extLst>
            </p:cNvPr>
            <p:cNvSpPr/>
            <p:nvPr/>
          </p:nvSpPr>
          <p:spPr>
            <a:xfrm>
              <a:off x="11941290" y="4995422"/>
              <a:ext cx="1739264" cy="1602740"/>
            </a:xfrm>
            <a:custGeom>
              <a:avLst/>
              <a:gdLst/>
              <a:ahLst/>
              <a:cxnLst/>
              <a:rect l="l" t="t" r="r" b="b"/>
              <a:pathLst>
                <a:path w="1739265" h="1602740">
                  <a:moveTo>
                    <a:pt x="4000" y="0"/>
                  </a:moveTo>
                  <a:lnTo>
                    <a:pt x="2832" y="2044"/>
                  </a:lnTo>
                  <a:lnTo>
                    <a:pt x="1485" y="3975"/>
                  </a:lnTo>
                  <a:lnTo>
                    <a:pt x="0" y="5791"/>
                  </a:lnTo>
                  <a:lnTo>
                    <a:pt x="85674" y="99415"/>
                  </a:lnTo>
                  <a:lnTo>
                    <a:pt x="1738704" y="1602181"/>
                  </a:lnTo>
                  <a:lnTo>
                    <a:pt x="1738704" y="1577006"/>
                  </a:lnTo>
                  <a:lnTo>
                    <a:pt x="4000" y="0"/>
                  </a:lnTo>
                  <a:close/>
                </a:path>
              </a:pathLst>
            </a:custGeom>
            <a:solidFill>
              <a:srgbClr val="EF3D60">
                <a:alpha val="50999"/>
              </a:srgbClr>
            </a:solidFill>
          </p:spPr>
          <p:txBody>
            <a:bodyPr wrap="square" lIns="0" tIns="0" rIns="0" bIns="0" rtlCol="0"/>
            <a:lstStyle/>
            <a:p>
              <a:endParaRPr sz="2968"/>
            </a:p>
          </p:txBody>
        </p:sp>
        <p:sp>
          <p:nvSpPr>
            <p:cNvPr id="124" name="object 122">
              <a:extLst>
                <a:ext uri="{FF2B5EF4-FFF2-40B4-BE49-F238E27FC236}">
                  <a16:creationId xmlns:a16="http://schemas.microsoft.com/office/drawing/2014/main" id="{FE34210B-F429-3344-9C32-60B9F776ADA3}"/>
                </a:ext>
              </a:extLst>
            </p:cNvPr>
            <p:cNvSpPr/>
            <p:nvPr/>
          </p:nvSpPr>
          <p:spPr>
            <a:xfrm>
              <a:off x="11924796" y="5009736"/>
              <a:ext cx="1203960" cy="1767205"/>
            </a:xfrm>
            <a:custGeom>
              <a:avLst/>
              <a:gdLst/>
              <a:ahLst/>
              <a:cxnLst/>
              <a:rect l="l" t="t" r="r" b="b"/>
              <a:pathLst>
                <a:path w="1203959" h="1767204">
                  <a:moveTo>
                    <a:pt x="7175" y="0"/>
                  </a:moveTo>
                  <a:lnTo>
                    <a:pt x="4914" y="1524"/>
                  </a:lnTo>
                  <a:lnTo>
                    <a:pt x="2514" y="2844"/>
                  </a:lnTo>
                  <a:lnTo>
                    <a:pt x="0" y="3924"/>
                  </a:lnTo>
                  <a:lnTo>
                    <a:pt x="1189964" y="1766785"/>
                  </a:lnTo>
                  <a:lnTo>
                    <a:pt x="1193800" y="1762975"/>
                  </a:lnTo>
                  <a:lnTo>
                    <a:pt x="1198346" y="1759877"/>
                  </a:lnTo>
                  <a:lnTo>
                    <a:pt x="1203388" y="1757705"/>
                  </a:lnTo>
                  <a:lnTo>
                    <a:pt x="44170" y="40436"/>
                  </a:lnTo>
                  <a:lnTo>
                    <a:pt x="7175" y="0"/>
                  </a:lnTo>
                  <a:close/>
                </a:path>
              </a:pathLst>
            </a:custGeom>
            <a:solidFill>
              <a:srgbClr val="EF3D60">
                <a:alpha val="50999"/>
              </a:srgbClr>
            </a:solidFill>
          </p:spPr>
          <p:txBody>
            <a:bodyPr wrap="square" lIns="0" tIns="0" rIns="0" bIns="0" rtlCol="0"/>
            <a:lstStyle/>
            <a:p>
              <a:endParaRPr sz="2968"/>
            </a:p>
          </p:txBody>
        </p:sp>
        <p:sp>
          <p:nvSpPr>
            <p:cNvPr id="125" name="object 123">
              <a:extLst>
                <a:ext uri="{FF2B5EF4-FFF2-40B4-BE49-F238E27FC236}">
                  <a16:creationId xmlns:a16="http://schemas.microsoft.com/office/drawing/2014/main" id="{F58EDCB0-BF1F-1849-AAA4-A9109E82FE12}"/>
                </a:ext>
              </a:extLst>
            </p:cNvPr>
            <p:cNvSpPr/>
            <p:nvPr/>
          </p:nvSpPr>
          <p:spPr>
            <a:xfrm>
              <a:off x="11905792" y="5015368"/>
              <a:ext cx="233045" cy="1750695"/>
            </a:xfrm>
            <a:custGeom>
              <a:avLst/>
              <a:gdLst/>
              <a:ahLst/>
              <a:cxnLst/>
              <a:rect l="l" t="t" r="r" b="b"/>
              <a:pathLst>
                <a:path w="233045" h="1750695">
                  <a:moveTo>
                    <a:pt x="14287" y="0"/>
                  </a:moveTo>
                  <a:lnTo>
                    <a:pt x="10350" y="1181"/>
                  </a:lnTo>
                  <a:lnTo>
                    <a:pt x="6172" y="1803"/>
                  </a:lnTo>
                  <a:lnTo>
                    <a:pt x="4" y="1803"/>
                  </a:lnTo>
                  <a:lnTo>
                    <a:pt x="218567" y="1750377"/>
                  </a:lnTo>
                  <a:lnTo>
                    <a:pt x="222516" y="1749183"/>
                  </a:lnTo>
                  <a:lnTo>
                    <a:pt x="226720" y="1748548"/>
                  </a:lnTo>
                  <a:lnTo>
                    <a:pt x="232849" y="1748548"/>
                  </a:lnTo>
                  <a:lnTo>
                    <a:pt x="14512" y="1803"/>
                  </a:lnTo>
                  <a:lnTo>
                    <a:pt x="1231" y="1803"/>
                  </a:lnTo>
                  <a:lnTo>
                    <a:pt x="0" y="1765"/>
                  </a:lnTo>
                  <a:lnTo>
                    <a:pt x="14508" y="1765"/>
                  </a:lnTo>
                  <a:lnTo>
                    <a:pt x="14287" y="0"/>
                  </a:lnTo>
                  <a:close/>
                </a:path>
                <a:path w="233045" h="1750695">
                  <a:moveTo>
                    <a:pt x="232849" y="1748548"/>
                  </a:moveTo>
                  <a:lnTo>
                    <a:pt x="231660" y="1748548"/>
                  </a:lnTo>
                  <a:lnTo>
                    <a:pt x="232854" y="1748586"/>
                  </a:lnTo>
                  <a:close/>
                </a:path>
              </a:pathLst>
            </a:custGeom>
            <a:solidFill>
              <a:srgbClr val="EF3D60">
                <a:alpha val="50999"/>
              </a:srgbClr>
            </a:solidFill>
          </p:spPr>
          <p:txBody>
            <a:bodyPr wrap="square" lIns="0" tIns="0" rIns="0" bIns="0" rtlCol="0"/>
            <a:lstStyle/>
            <a:p>
              <a:endParaRPr sz="2968"/>
            </a:p>
          </p:txBody>
        </p:sp>
        <p:sp>
          <p:nvSpPr>
            <p:cNvPr id="126" name="object 124">
              <a:extLst>
                <a:ext uri="{FF2B5EF4-FFF2-40B4-BE49-F238E27FC236}">
                  <a16:creationId xmlns:a16="http://schemas.microsoft.com/office/drawing/2014/main" id="{339950EA-EE1D-3040-A75E-4CBCB8FE6E63}"/>
                </a:ext>
              </a:extLst>
            </p:cNvPr>
            <p:cNvSpPr/>
            <p:nvPr/>
          </p:nvSpPr>
          <p:spPr>
            <a:xfrm>
              <a:off x="10778578" y="5005162"/>
              <a:ext cx="1112520" cy="1679575"/>
            </a:xfrm>
            <a:custGeom>
              <a:avLst/>
              <a:gdLst/>
              <a:ahLst/>
              <a:cxnLst/>
              <a:rect l="l" t="t" r="r" b="b"/>
              <a:pathLst>
                <a:path w="1112520" h="1679575">
                  <a:moveTo>
                    <a:pt x="1099083" y="0"/>
                  </a:moveTo>
                  <a:lnTo>
                    <a:pt x="0" y="1670481"/>
                  </a:lnTo>
                  <a:lnTo>
                    <a:pt x="4864" y="1672551"/>
                  </a:lnTo>
                  <a:lnTo>
                    <a:pt x="9271" y="1675460"/>
                  </a:lnTo>
                  <a:lnTo>
                    <a:pt x="13030" y="1679054"/>
                  </a:lnTo>
                  <a:lnTo>
                    <a:pt x="1112075" y="8559"/>
                  </a:lnTo>
                  <a:lnTo>
                    <a:pt x="1107224" y="6502"/>
                  </a:lnTo>
                  <a:lnTo>
                    <a:pt x="1102829" y="3581"/>
                  </a:lnTo>
                  <a:lnTo>
                    <a:pt x="1099083" y="0"/>
                  </a:lnTo>
                  <a:close/>
                </a:path>
              </a:pathLst>
            </a:custGeom>
            <a:solidFill>
              <a:srgbClr val="EF3D60">
                <a:alpha val="50999"/>
              </a:srgbClr>
            </a:solidFill>
          </p:spPr>
          <p:txBody>
            <a:bodyPr wrap="square" lIns="0" tIns="0" rIns="0" bIns="0" rtlCol="0"/>
            <a:lstStyle/>
            <a:p>
              <a:endParaRPr sz="2968"/>
            </a:p>
          </p:txBody>
        </p:sp>
        <p:sp>
          <p:nvSpPr>
            <p:cNvPr id="127" name="object 125">
              <a:extLst>
                <a:ext uri="{FF2B5EF4-FFF2-40B4-BE49-F238E27FC236}">
                  <a16:creationId xmlns:a16="http://schemas.microsoft.com/office/drawing/2014/main" id="{81FA7C6D-BC33-4D4E-8C0F-7DE4549A7B97}"/>
                </a:ext>
              </a:extLst>
            </p:cNvPr>
            <p:cNvSpPr/>
            <p:nvPr/>
          </p:nvSpPr>
          <p:spPr>
            <a:xfrm>
              <a:off x="11989486" y="3255211"/>
              <a:ext cx="1682114" cy="1643380"/>
            </a:xfrm>
            <a:custGeom>
              <a:avLst/>
              <a:gdLst/>
              <a:ahLst/>
              <a:cxnLst/>
              <a:rect l="l" t="t" r="r" b="b"/>
              <a:pathLst>
                <a:path w="1682115" h="1643379">
                  <a:moveTo>
                    <a:pt x="1669313" y="0"/>
                  </a:moveTo>
                  <a:lnTo>
                    <a:pt x="160896" y="1469783"/>
                  </a:lnTo>
                  <a:lnTo>
                    <a:pt x="0" y="1643367"/>
                  </a:lnTo>
                  <a:lnTo>
                    <a:pt x="42646" y="1609496"/>
                  </a:lnTo>
                  <a:lnTo>
                    <a:pt x="1681556" y="12585"/>
                  </a:lnTo>
                  <a:lnTo>
                    <a:pt x="1676679" y="9271"/>
                  </a:lnTo>
                  <a:lnTo>
                    <a:pt x="1672488" y="4978"/>
                  </a:lnTo>
                  <a:lnTo>
                    <a:pt x="1669313" y="0"/>
                  </a:lnTo>
                  <a:close/>
                </a:path>
              </a:pathLst>
            </a:custGeom>
            <a:solidFill>
              <a:srgbClr val="EF3D60">
                <a:alpha val="50999"/>
              </a:srgbClr>
            </a:solidFill>
          </p:spPr>
          <p:txBody>
            <a:bodyPr wrap="square" lIns="0" tIns="0" rIns="0" bIns="0" rtlCol="0"/>
            <a:lstStyle/>
            <a:p>
              <a:endParaRPr sz="2968"/>
            </a:p>
          </p:txBody>
        </p:sp>
        <p:sp>
          <p:nvSpPr>
            <p:cNvPr id="128" name="object 126">
              <a:extLst>
                <a:ext uri="{FF2B5EF4-FFF2-40B4-BE49-F238E27FC236}">
                  <a16:creationId xmlns:a16="http://schemas.microsoft.com/office/drawing/2014/main" id="{885294C2-6D47-7042-A258-927065FB699C}"/>
                </a:ext>
              </a:extLst>
            </p:cNvPr>
            <p:cNvSpPr/>
            <p:nvPr/>
          </p:nvSpPr>
          <p:spPr>
            <a:xfrm>
              <a:off x="11927309" y="3449068"/>
              <a:ext cx="836930" cy="1487805"/>
            </a:xfrm>
            <a:custGeom>
              <a:avLst/>
              <a:gdLst/>
              <a:ahLst/>
              <a:cxnLst/>
              <a:rect l="l" t="t" r="r" b="b"/>
              <a:pathLst>
                <a:path w="836929" h="1487804">
                  <a:moveTo>
                    <a:pt x="824153" y="0"/>
                  </a:moveTo>
                  <a:lnTo>
                    <a:pt x="7404" y="1461706"/>
                  </a:lnTo>
                  <a:lnTo>
                    <a:pt x="0" y="1485976"/>
                  </a:lnTo>
                  <a:lnTo>
                    <a:pt x="914" y="1486433"/>
                  </a:lnTo>
                  <a:lnTo>
                    <a:pt x="1803" y="1486928"/>
                  </a:lnTo>
                  <a:lnTo>
                    <a:pt x="2667" y="1487449"/>
                  </a:lnTo>
                  <a:lnTo>
                    <a:pt x="4521" y="1485442"/>
                  </a:lnTo>
                  <a:lnTo>
                    <a:pt x="20358" y="1467561"/>
                  </a:lnTo>
                  <a:lnTo>
                    <a:pt x="836523" y="6934"/>
                  </a:lnTo>
                  <a:lnTo>
                    <a:pt x="832002" y="5308"/>
                  </a:lnTo>
                  <a:lnTo>
                    <a:pt x="827824" y="2946"/>
                  </a:lnTo>
                  <a:lnTo>
                    <a:pt x="824153" y="0"/>
                  </a:lnTo>
                  <a:close/>
                </a:path>
              </a:pathLst>
            </a:custGeom>
            <a:solidFill>
              <a:srgbClr val="EF3D60">
                <a:alpha val="50999"/>
              </a:srgbClr>
            </a:solidFill>
          </p:spPr>
          <p:txBody>
            <a:bodyPr wrap="square" lIns="0" tIns="0" rIns="0" bIns="0" rtlCol="0"/>
            <a:lstStyle/>
            <a:p>
              <a:endParaRPr sz="2968"/>
            </a:p>
          </p:txBody>
        </p:sp>
        <p:sp>
          <p:nvSpPr>
            <p:cNvPr id="129" name="object 127">
              <a:extLst>
                <a:ext uri="{FF2B5EF4-FFF2-40B4-BE49-F238E27FC236}">
                  <a16:creationId xmlns:a16="http://schemas.microsoft.com/office/drawing/2014/main" id="{BF400D81-009D-DF42-898B-1D32C0137F60}"/>
                </a:ext>
              </a:extLst>
            </p:cNvPr>
            <p:cNvSpPr/>
            <p:nvPr/>
          </p:nvSpPr>
          <p:spPr>
            <a:xfrm>
              <a:off x="11812276" y="3549357"/>
              <a:ext cx="98425" cy="1369695"/>
            </a:xfrm>
            <a:custGeom>
              <a:avLst/>
              <a:gdLst/>
              <a:ahLst/>
              <a:cxnLst/>
              <a:rect l="l" t="t" r="r" b="b"/>
              <a:pathLst>
                <a:path w="98425" h="1369695">
                  <a:moveTo>
                    <a:pt x="0" y="787"/>
                  </a:moveTo>
                  <a:lnTo>
                    <a:pt x="76949" y="1230972"/>
                  </a:lnTo>
                  <a:lnTo>
                    <a:pt x="96901" y="1369390"/>
                  </a:lnTo>
                  <a:lnTo>
                    <a:pt x="97942" y="1364081"/>
                  </a:lnTo>
                  <a:lnTo>
                    <a:pt x="12695" y="939"/>
                  </a:lnTo>
                  <a:lnTo>
                    <a:pt x="2400" y="939"/>
                  </a:lnTo>
                  <a:lnTo>
                    <a:pt x="1193" y="889"/>
                  </a:lnTo>
                  <a:lnTo>
                    <a:pt x="0" y="787"/>
                  </a:lnTo>
                  <a:close/>
                </a:path>
                <a:path w="98425" h="1369695">
                  <a:moveTo>
                    <a:pt x="12636" y="0"/>
                  </a:moveTo>
                  <a:lnTo>
                    <a:pt x="9728" y="609"/>
                  </a:lnTo>
                  <a:lnTo>
                    <a:pt x="6718" y="939"/>
                  </a:lnTo>
                  <a:lnTo>
                    <a:pt x="12695" y="939"/>
                  </a:lnTo>
                  <a:lnTo>
                    <a:pt x="12636" y="0"/>
                  </a:lnTo>
                  <a:close/>
                </a:path>
              </a:pathLst>
            </a:custGeom>
            <a:solidFill>
              <a:srgbClr val="EF3D60">
                <a:alpha val="50999"/>
              </a:srgbClr>
            </a:solidFill>
          </p:spPr>
          <p:txBody>
            <a:bodyPr wrap="square" lIns="0" tIns="0" rIns="0" bIns="0" rtlCol="0"/>
            <a:lstStyle/>
            <a:p>
              <a:endParaRPr sz="2968"/>
            </a:p>
          </p:txBody>
        </p:sp>
        <p:sp>
          <p:nvSpPr>
            <p:cNvPr id="130" name="object 128">
              <a:extLst>
                <a:ext uri="{FF2B5EF4-FFF2-40B4-BE49-F238E27FC236}">
                  <a16:creationId xmlns:a16="http://schemas.microsoft.com/office/drawing/2014/main" id="{F51F2F5E-CDD1-3849-B6DE-A67203C283F4}"/>
                </a:ext>
              </a:extLst>
            </p:cNvPr>
            <p:cNvSpPr/>
            <p:nvPr/>
          </p:nvSpPr>
          <p:spPr>
            <a:xfrm>
              <a:off x="10603332" y="3669464"/>
              <a:ext cx="1275080" cy="1279525"/>
            </a:xfrm>
            <a:custGeom>
              <a:avLst/>
              <a:gdLst/>
              <a:ahLst/>
              <a:cxnLst/>
              <a:rect l="l" t="t" r="r" b="b"/>
              <a:pathLst>
                <a:path w="1275079" h="1279525">
                  <a:moveTo>
                    <a:pt x="10350" y="0"/>
                  </a:moveTo>
                  <a:lnTo>
                    <a:pt x="7505" y="4013"/>
                  </a:lnTo>
                  <a:lnTo>
                    <a:pt x="4000" y="7518"/>
                  </a:lnTo>
                  <a:lnTo>
                    <a:pt x="0" y="10350"/>
                  </a:lnTo>
                  <a:lnTo>
                    <a:pt x="1268869" y="1279220"/>
                  </a:lnTo>
                  <a:lnTo>
                    <a:pt x="1270685" y="1276654"/>
                  </a:lnTo>
                  <a:lnTo>
                    <a:pt x="1272768" y="1274305"/>
                  </a:lnTo>
                  <a:lnTo>
                    <a:pt x="1275079" y="1272197"/>
                  </a:lnTo>
                  <a:lnTo>
                    <a:pt x="1263827" y="1253515"/>
                  </a:lnTo>
                  <a:lnTo>
                    <a:pt x="10350" y="0"/>
                  </a:lnTo>
                  <a:close/>
                </a:path>
              </a:pathLst>
            </a:custGeom>
            <a:solidFill>
              <a:srgbClr val="EF3D60">
                <a:alpha val="50999"/>
              </a:srgbClr>
            </a:solidFill>
          </p:spPr>
          <p:txBody>
            <a:bodyPr wrap="square" lIns="0" tIns="0" rIns="0" bIns="0" rtlCol="0"/>
            <a:lstStyle/>
            <a:p>
              <a:endParaRPr sz="2968"/>
            </a:p>
          </p:txBody>
        </p:sp>
        <p:sp>
          <p:nvSpPr>
            <p:cNvPr id="131" name="object 129">
              <a:extLst>
                <a:ext uri="{FF2B5EF4-FFF2-40B4-BE49-F238E27FC236}">
                  <a16:creationId xmlns:a16="http://schemas.microsoft.com/office/drawing/2014/main" id="{48C9F8F9-5346-6A42-810C-8D3A25083370}"/>
                </a:ext>
              </a:extLst>
            </p:cNvPr>
            <p:cNvSpPr/>
            <p:nvPr/>
          </p:nvSpPr>
          <p:spPr>
            <a:xfrm>
              <a:off x="11931835" y="3396047"/>
              <a:ext cx="1374775" cy="1538605"/>
            </a:xfrm>
            <a:custGeom>
              <a:avLst/>
              <a:gdLst/>
              <a:ahLst/>
              <a:cxnLst/>
              <a:rect l="l" t="t" r="r" b="b"/>
              <a:pathLst>
                <a:path w="1374775" h="1538604">
                  <a:moveTo>
                    <a:pt x="1362544" y="0"/>
                  </a:moveTo>
                  <a:lnTo>
                    <a:pt x="0" y="1538465"/>
                  </a:lnTo>
                  <a:lnTo>
                    <a:pt x="477405" y="1023353"/>
                  </a:lnTo>
                  <a:lnTo>
                    <a:pt x="1374432" y="10515"/>
                  </a:lnTo>
                  <a:lnTo>
                    <a:pt x="1369847" y="7772"/>
                  </a:lnTo>
                  <a:lnTo>
                    <a:pt x="1365821" y="4191"/>
                  </a:lnTo>
                  <a:lnTo>
                    <a:pt x="1362544" y="0"/>
                  </a:lnTo>
                  <a:close/>
                </a:path>
              </a:pathLst>
            </a:custGeom>
            <a:solidFill>
              <a:srgbClr val="EF3D60">
                <a:alpha val="50999"/>
              </a:srgbClr>
            </a:solidFill>
          </p:spPr>
          <p:txBody>
            <a:bodyPr wrap="square" lIns="0" tIns="0" rIns="0" bIns="0" rtlCol="0"/>
            <a:lstStyle/>
            <a:p>
              <a:endParaRPr sz="2968"/>
            </a:p>
          </p:txBody>
        </p:sp>
        <p:sp>
          <p:nvSpPr>
            <p:cNvPr id="132" name="object 130">
              <a:extLst>
                <a:ext uri="{FF2B5EF4-FFF2-40B4-BE49-F238E27FC236}">
                  <a16:creationId xmlns:a16="http://schemas.microsoft.com/office/drawing/2014/main" id="{B5817CEB-4B9A-F245-8269-D61099C30B7A}"/>
                </a:ext>
              </a:extLst>
            </p:cNvPr>
            <p:cNvSpPr/>
            <p:nvPr/>
          </p:nvSpPr>
          <p:spPr>
            <a:xfrm>
              <a:off x="11795435" y="4305698"/>
              <a:ext cx="62865" cy="387985"/>
            </a:xfrm>
            <a:custGeom>
              <a:avLst/>
              <a:gdLst/>
              <a:ahLst/>
              <a:cxnLst/>
              <a:rect l="l" t="t" r="r" b="b"/>
              <a:pathLst>
                <a:path w="62865" h="387985">
                  <a:moveTo>
                    <a:pt x="6540" y="0"/>
                  </a:moveTo>
                  <a:lnTo>
                    <a:pt x="4406" y="444"/>
                  </a:lnTo>
                  <a:lnTo>
                    <a:pt x="2222" y="736"/>
                  </a:lnTo>
                  <a:lnTo>
                    <a:pt x="0" y="850"/>
                  </a:lnTo>
                  <a:lnTo>
                    <a:pt x="62356" y="387438"/>
                  </a:lnTo>
                  <a:lnTo>
                    <a:pt x="6540" y="0"/>
                  </a:lnTo>
                  <a:close/>
                </a:path>
              </a:pathLst>
            </a:custGeom>
            <a:solidFill>
              <a:srgbClr val="EF3D60">
                <a:alpha val="50999"/>
              </a:srgbClr>
            </a:solidFill>
          </p:spPr>
          <p:txBody>
            <a:bodyPr wrap="square" lIns="0" tIns="0" rIns="0" bIns="0" rtlCol="0"/>
            <a:lstStyle/>
            <a:p>
              <a:endParaRPr sz="2968"/>
            </a:p>
          </p:txBody>
        </p:sp>
        <p:sp>
          <p:nvSpPr>
            <p:cNvPr id="133" name="object 131">
              <a:extLst>
                <a:ext uri="{FF2B5EF4-FFF2-40B4-BE49-F238E27FC236}">
                  <a16:creationId xmlns:a16="http://schemas.microsoft.com/office/drawing/2014/main" id="{B09DC091-C323-334D-A0BB-5673B1C1C0E0}"/>
                </a:ext>
              </a:extLst>
            </p:cNvPr>
            <p:cNvSpPr/>
            <p:nvPr/>
          </p:nvSpPr>
          <p:spPr>
            <a:xfrm>
              <a:off x="11931972" y="5001209"/>
              <a:ext cx="937260" cy="1022350"/>
            </a:xfrm>
            <a:custGeom>
              <a:avLst/>
              <a:gdLst/>
              <a:ahLst/>
              <a:cxnLst/>
              <a:rect l="l" t="t" r="r" b="b"/>
              <a:pathLst>
                <a:path w="937259" h="1022350">
                  <a:moveTo>
                    <a:pt x="9321" y="0"/>
                  </a:moveTo>
                  <a:lnTo>
                    <a:pt x="6654" y="3276"/>
                  </a:lnTo>
                  <a:lnTo>
                    <a:pt x="3505" y="6159"/>
                  </a:lnTo>
                  <a:lnTo>
                    <a:pt x="0" y="8521"/>
                  </a:lnTo>
                  <a:lnTo>
                    <a:pt x="927569" y="1022337"/>
                  </a:lnTo>
                  <a:lnTo>
                    <a:pt x="930236" y="1019060"/>
                  </a:lnTo>
                  <a:lnTo>
                    <a:pt x="933373" y="1016190"/>
                  </a:lnTo>
                  <a:lnTo>
                    <a:pt x="936866" y="1013815"/>
                  </a:lnTo>
                  <a:lnTo>
                    <a:pt x="9321" y="0"/>
                  </a:lnTo>
                  <a:close/>
                </a:path>
              </a:pathLst>
            </a:custGeom>
            <a:solidFill>
              <a:srgbClr val="EF3D60">
                <a:alpha val="50999"/>
              </a:srgbClr>
            </a:solidFill>
          </p:spPr>
          <p:txBody>
            <a:bodyPr wrap="square" lIns="0" tIns="0" rIns="0" bIns="0" rtlCol="0"/>
            <a:lstStyle/>
            <a:p>
              <a:endParaRPr sz="2968"/>
            </a:p>
          </p:txBody>
        </p:sp>
        <p:sp>
          <p:nvSpPr>
            <p:cNvPr id="134" name="object 132">
              <a:extLst>
                <a:ext uri="{FF2B5EF4-FFF2-40B4-BE49-F238E27FC236}">
                  <a16:creationId xmlns:a16="http://schemas.microsoft.com/office/drawing/2014/main" id="{3D3AC7A4-B6BE-BF40-A2ED-6F25CF38DC67}"/>
                </a:ext>
              </a:extLst>
            </p:cNvPr>
            <p:cNvSpPr/>
            <p:nvPr/>
          </p:nvSpPr>
          <p:spPr>
            <a:xfrm>
              <a:off x="11943084" y="3664763"/>
              <a:ext cx="1609725" cy="1289050"/>
            </a:xfrm>
            <a:custGeom>
              <a:avLst/>
              <a:gdLst/>
              <a:ahLst/>
              <a:cxnLst/>
              <a:rect l="l" t="t" r="r" b="b"/>
              <a:pathLst>
                <a:path w="1609725" h="1289050">
                  <a:moveTo>
                    <a:pt x="1599323" y="0"/>
                  </a:moveTo>
                  <a:lnTo>
                    <a:pt x="46405" y="1233817"/>
                  </a:lnTo>
                  <a:lnTo>
                    <a:pt x="0" y="1283893"/>
                  </a:lnTo>
                  <a:lnTo>
                    <a:pt x="1066" y="1285405"/>
                  </a:lnTo>
                  <a:lnTo>
                    <a:pt x="2044" y="1287005"/>
                  </a:lnTo>
                  <a:lnTo>
                    <a:pt x="2933" y="1288656"/>
                  </a:lnTo>
                  <a:lnTo>
                    <a:pt x="1609166" y="12382"/>
                  </a:lnTo>
                  <a:lnTo>
                    <a:pt x="1605178" y="8902"/>
                  </a:lnTo>
                  <a:lnTo>
                    <a:pt x="1601825" y="4711"/>
                  </a:lnTo>
                  <a:lnTo>
                    <a:pt x="1599323" y="0"/>
                  </a:lnTo>
                  <a:close/>
                </a:path>
              </a:pathLst>
            </a:custGeom>
            <a:solidFill>
              <a:srgbClr val="EF3D60">
                <a:alpha val="50999"/>
              </a:srgbClr>
            </a:solidFill>
          </p:spPr>
          <p:txBody>
            <a:bodyPr wrap="square" lIns="0" tIns="0" rIns="0" bIns="0" rtlCol="0"/>
            <a:lstStyle/>
            <a:p>
              <a:endParaRPr sz="2968"/>
            </a:p>
          </p:txBody>
        </p:sp>
        <p:sp>
          <p:nvSpPr>
            <p:cNvPr id="135" name="object 133">
              <a:extLst>
                <a:ext uri="{FF2B5EF4-FFF2-40B4-BE49-F238E27FC236}">
                  <a16:creationId xmlns:a16="http://schemas.microsoft.com/office/drawing/2014/main" id="{204C6DA6-857F-E847-AB88-492A057A52E2}"/>
                </a:ext>
              </a:extLst>
            </p:cNvPr>
            <p:cNvSpPr/>
            <p:nvPr/>
          </p:nvSpPr>
          <p:spPr>
            <a:xfrm>
              <a:off x="11909164" y="2446649"/>
              <a:ext cx="503555" cy="2484120"/>
            </a:xfrm>
            <a:custGeom>
              <a:avLst/>
              <a:gdLst/>
              <a:ahLst/>
              <a:cxnLst/>
              <a:rect l="l" t="t" r="r" b="b"/>
              <a:pathLst>
                <a:path w="503554" h="2484120">
                  <a:moveTo>
                    <a:pt x="485571" y="0"/>
                  </a:moveTo>
                  <a:lnTo>
                    <a:pt x="0" y="2472105"/>
                  </a:lnTo>
                  <a:lnTo>
                    <a:pt x="1689" y="2483815"/>
                  </a:lnTo>
                  <a:lnTo>
                    <a:pt x="2400" y="2483866"/>
                  </a:lnTo>
                  <a:lnTo>
                    <a:pt x="3797" y="2484018"/>
                  </a:lnTo>
                  <a:lnTo>
                    <a:pt x="38633" y="2369731"/>
                  </a:lnTo>
                  <a:lnTo>
                    <a:pt x="503402" y="3505"/>
                  </a:lnTo>
                  <a:lnTo>
                    <a:pt x="496608" y="3505"/>
                  </a:lnTo>
                  <a:lnTo>
                    <a:pt x="490829" y="2260"/>
                  </a:lnTo>
                  <a:lnTo>
                    <a:pt x="485571" y="0"/>
                  </a:lnTo>
                  <a:close/>
                </a:path>
              </a:pathLst>
            </a:custGeom>
            <a:solidFill>
              <a:srgbClr val="EF3D60">
                <a:alpha val="50999"/>
              </a:srgbClr>
            </a:solidFill>
          </p:spPr>
          <p:txBody>
            <a:bodyPr wrap="square" lIns="0" tIns="0" rIns="0" bIns="0" rtlCol="0"/>
            <a:lstStyle/>
            <a:p>
              <a:endParaRPr sz="2968"/>
            </a:p>
          </p:txBody>
        </p:sp>
        <p:sp>
          <p:nvSpPr>
            <p:cNvPr id="136" name="object 134">
              <a:extLst>
                <a:ext uri="{FF2B5EF4-FFF2-40B4-BE49-F238E27FC236}">
                  <a16:creationId xmlns:a16="http://schemas.microsoft.com/office/drawing/2014/main" id="{7D025ADA-DD7C-F84B-AA59-627B1964A148}"/>
                </a:ext>
              </a:extLst>
            </p:cNvPr>
            <p:cNvSpPr/>
            <p:nvPr/>
          </p:nvSpPr>
          <p:spPr>
            <a:xfrm>
              <a:off x="11929972" y="3119381"/>
              <a:ext cx="1697355" cy="1829435"/>
            </a:xfrm>
            <a:custGeom>
              <a:avLst/>
              <a:gdLst/>
              <a:ahLst/>
              <a:cxnLst/>
              <a:rect l="l" t="t" r="r" b="b"/>
              <a:pathLst>
                <a:path w="1697355" h="1829435">
                  <a:moveTo>
                    <a:pt x="1684134" y="0"/>
                  </a:moveTo>
                  <a:lnTo>
                    <a:pt x="1439887" y="263537"/>
                  </a:lnTo>
                  <a:lnTo>
                    <a:pt x="1436010" y="272067"/>
                  </a:lnTo>
                  <a:lnTo>
                    <a:pt x="1430461" y="279492"/>
                  </a:lnTo>
                  <a:lnTo>
                    <a:pt x="1423478" y="285569"/>
                  </a:lnTo>
                  <a:lnTo>
                    <a:pt x="1415300" y="290055"/>
                  </a:lnTo>
                  <a:lnTo>
                    <a:pt x="0" y="1817128"/>
                  </a:lnTo>
                  <a:lnTo>
                    <a:pt x="5168" y="1820240"/>
                  </a:lnTo>
                  <a:lnTo>
                    <a:pt x="9639" y="1824380"/>
                  </a:lnTo>
                  <a:lnTo>
                    <a:pt x="13106" y="1829282"/>
                  </a:lnTo>
                  <a:lnTo>
                    <a:pt x="1697240" y="12166"/>
                  </a:lnTo>
                  <a:lnTo>
                    <a:pt x="1692071" y="9055"/>
                  </a:lnTo>
                  <a:lnTo>
                    <a:pt x="1687614" y="4902"/>
                  </a:lnTo>
                  <a:lnTo>
                    <a:pt x="1684134" y="0"/>
                  </a:lnTo>
                  <a:close/>
                </a:path>
              </a:pathLst>
            </a:custGeom>
            <a:solidFill>
              <a:srgbClr val="EF3D60">
                <a:alpha val="50999"/>
              </a:srgbClr>
            </a:solidFill>
          </p:spPr>
          <p:txBody>
            <a:bodyPr wrap="square" lIns="0" tIns="0" rIns="0" bIns="0" rtlCol="0"/>
            <a:lstStyle/>
            <a:p>
              <a:endParaRPr sz="2968"/>
            </a:p>
          </p:txBody>
        </p:sp>
        <p:sp>
          <p:nvSpPr>
            <p:cNvPr id="137" name="object 135">
              <a:extLst>
                <a:ext uri="{FF2B5EF4-FFF2-40B4-BE49-F238E27FC236}">
                  <a16:creationId xmlns:a16="http://schemas.microsoft.com/office/drawing/2014/main" id="{FE6D3CF5-9E45-604A-B884-F454C07B44F7}"/>
                </a:ext>
              </a:extLst>
            </p:cNvPr>
            <p:cNvSpPr/>
            <p:nvPr/>
          </p:nvSpPr>
          <p:spPr>
            <a:xfrm>
              <a:off x="11912955" y="3133035"/>
              <a:ext cx="562610" cy="1802130"/>
            </a:xfrm>
            <a:custGeom>
              <a:avLst/>
              <a:gdLst/>
              <a:ahLst/>
              <a:cxnLst/>
              <a:rect l="l" t="t" r="r" b="b"/>
              <a:pathLst>
                <a:path w="562609" h="1802129">
                  <a:moveTo>
                    <a:pt x="547979" y="0"/>
                  </a:moveTo>
                  <a:lnTo>
                    <a:pt x="0" y="1797621"/>
                  </a:lnTo>
                  <a:lnTo>
                    <a:pt x="5118" y="1798256"/>
                  </a:lnTo>
                  <a:lnTo>
                    <a:pt x="9944" y="1799755"/>
                  </a:lnTo>
                  <a:lnTo>
                    <a:pt x="14363" y="1802002"/>
                  </a:lnTo>
                  <a:lnTo>
                    <a:pt x="562356" y="4368"/>
                  </a:lnTo>
                  <a:lnTo>
                    <a:pt x="557237" y="3746"/>
                  </a:lnTo>
                  <a:lnTo>
                    <a:pt x="552386" y="2235"/>
                  </a:lnTo>
                  <a:lnTo>
                    <a:pt x="547979" y="0"/>
                  </a:lnTo>
                  <a:close/>
                </a:path>
              </a:pathLst>
            </a:custGeom>
            <a:solidFill>
              <a:srgbClr val="EF3D60">
                <a:alpha val="50999"/>
              </a:srgbClr>
            </a:solidFill>
          </p:spPr>
          <p:txBody>
            <a:bodyPr wrap="square" lIns="0" tIns="0" rIns="0" bIns="0" rtlCol="0"/>
            <a:lstStyle/>
            <a:p>
              <a:endParaRPr sz="2968"/>
            </a:p>
          </p:txBody>
        </p:sp>
        <p:sp>
          <p:nvSpPr>
            <p:cNvPr id="138" name="object 136">
              <a:extLst>
                <a:ext uri="{FF2B5EF4-FFF2-40B4-BE49-F238E27FC236}">
                  <a16:creationId xmlns:a16="http://schemas.microsoft.com/office/drawing/2014/main" id="{CE9A2049-C9C7-EF4B-AD50-0DA04D358C0D}"/>
                </a:ext>
              </a:extLst>
            </p:cNvPr>
            <p:cNvSpPr/>
            <p:nvPr/>
          </p:nvSpPr>
          <p:spPr>
            <a:xfrm>
              <a:off x="10707636" y="2988914"/>
              <a:ext cx="1184910" cy="1953260"/>
            </a:xfrm>
            <a:custGeom>
              <a:avLst/>
              <a:gdLst/>
              <a:ahLst/>
              <a:cxnLst/>
              <a:rect l="l" t="t" r="r" b="b"/>
              <a:pathLst>
                <a:path w="1184909" h="1953260">
                  <a:moveTo>
                    <a:pt x="14452" y="0"/>
                  </a:moveTo>
                  <a:lnTo>
                    <a:pt x="10287" y="3784"/>
                  </a:lnTo>
                  <a:lnTo>
                    <a:pt x="5397" y="6769"/>
                  </a:lnTo>
                  <a:lnTo>
                    <a:pt x="0" y="8724"/>
                  </a:lnTo>
                  <a:lnTo>
                    <a:pt x="1170774" y="1952739"/>
                  </a:lnTo>
                  <a:lnTo>
                    <a:pt x="1174813" y="1949069"/>
                  </a:lnTo>
                  <a:lnTo>
                    <a:pt x="1179537" y="1946148"/>
                  </a:lnTo>
                  <a:lnTo>
                    <a:pt x="1184732" y="1944192"/>
                  </a:lnTo>
                  <a:lnTo>
                    <a:pt x="1184541" y="1942858"/>
                  </a:lnTo>
                  <a:lnTo>
                    <a:pt x="14452" y="0"/>
                  </a:lnTo>
                  <a:close/>
                </a:path>
              </a:pathLst>
            </a:custGeom>
            <a:solidFill>
              <a:srgbClr val="EF3D60">
                <a:alpha val="50999"/>
              </a:srgbClr>
            </a:solidFill>
          </p:spPr>
          <p:txBody>
            <a:bodyPr wrap="square" lIns="0" tIns="0" rIns="0" bIns="0" rtlCol="0"/>
            <a:lstStyle/>
            <a:p>
              <a:endParaRPr sz="2968"/>
            </a:p>
          </p:txBody>
        </p:sp>
        <p:sp>
          <p:nvSpPr>
            <p:cNvPr id="139" name="object 137">
              <a:extLst>
                <a:ext uri="{FF2B5EF4-FFF2-40B4-BE49-F238E27FC236}">
                  <a16:creationId xmlns:a16="http://schemas.microsoft.com/office/drawing/2014/main" id="{846F1F6C-7316-FB40-9709-9B1412E009E3}"/>
                </a:ext>
              </a:extLst>
            </p:cNvPr>
            <p:cNvSpPr/>
            <p:nvPr/>
          </p:nvSpPr>
          <p:spPr>
            <a:xfrm>
              <a:off x="11514805" y="2309848"/>
              <a:ext cx="396240" cy="2623820"/>
            </a:xfrm>
            <a:custGeom>
              <a:avLst/>
              <a:gdLst/>
              <a:ahLst/>
              <a:cxnLst/>
              <a:rect l="l" t="t" r="r" b="b"/>
              <a:pathLst>
                <a:path w="396240" h="2623820">
                  <a:moveTo>
                    <a:pt x="304863" y="1987638"/>
                  </a:moveTo>
                  <a:lnTo>
                    <a:pt x="299758" y="1991614"/>
                  </a:lnTo>
                  <a:lnTo>
                    <a:pt x="293738" y="1994471"/>
                  </a:lnTo>
                  <a:lnTo>
                    <a:pt x="287172" y="1995855"/>
                  </a:lnTo>
                  <a:lnTo>
                    <a:pt x="377558" y="2623261"/>
                  </a:lnTo>
                  <a:lnTo>
                    <a:pt x="382308" y="2621470"/>
                  </a:lnTo>
                  <a:lnTo>
                    <a:pt x="387464" y="2620492"/>
                  </a:lnTo>
                  <a:lnTo>
                    <a:pt x="396033" y="2620492"/>
                  </a:lnTo>
                  <a:lnTo>
                    <a:pt x="304863" y="1987638"/>
                  </a:lnTo>
                  <a:close/>
                </a:path>
                <a:path w="396240" h="2623820">
                  <a:moveTo>
                    <a:pt x="396033" y="2620492"/>
                  </a:moveTo>
                  <a:lnTo>
                    <a:pt x="393928" y="2620492"/>
                  </a:lnTo>
                  <a:lnTo>
                    <a:pt x="394995" y="2620530"/>
                  </a:lnTo>
                  <a:lnTo>
                    <a:pt x="396049" y="2620606"/>
                  </a:lnTo>
                  <a:close/>
                </a:path>
                <a:path w="396240" h="2623820">
                  <a:moveTo>
                    <a:pt x="293662" y="1909940"/>
                  </a:moveTo>
                  <a:lnTo>
                    <a:pt x="283819" y="1909940"/>
                  </a:lnTo>
                  <a:lnTo>
                    <a:pt x="289178" y="1911007"/>
                  </a:lnTo>
                  <a:lnTo>
                    <a:pt x="294093" y="1912937"/>
                  </a:lnTo>
                  <a:lnTo>
                    <a:pt x="293662" y="1909940"/>
                  </a:lnTo>
                  <a:close/>
                </a:path>
                <a:path w="396240" h="2623820">
                  <a:moveTo>
                    <a:pt x="0" y="2654"/>
                  </a:moveTo>
                  <a:lnTo>
                    <a:pt x="273862" y="1903564"/>
                  </a:lnTo>
                  <a:lnTo>
                    <a:pt x="274815" y="1910067"/>
                  </a:lnTo>
                  <a:lnTo>
                    <a:pt x="275932" y="1909991"/>
                  </a:lnTo>
                  <a:lnTo>
                    <a:pt x="277063" y="1909940"/>
                  </a:lnTo>
                  <a:lnTo>
                    <a:pt x="293662" y="1909940"/>
                  </a:lnTo>
                  <a:lnTo>
                    <a:pt x="18902" y="2768"/>
                  </a:lnTo>
                  <a:lnTo>
                    <a:pt x="2108" y="2768"/>
                  </a:lnTo>
                  <a:lnTo>
                    <a:pt x="1054" y="2730"/>
                  </a:lnTo>
                  <a:lnTo>
                    <a:pt x="0" y="2654"/>
                  </a:lnTo>
                  <a:close/>
                </a:path>
                <a:path w="396240" h="2623820">
                  <a:moveTo>
                    <a:pt x="18503" y="0"/>
                  </a:moveTo>
                  <a:lnTo>
                    <a:pt x="13728" y="1790"/>
                  </a:lnTo>
                  <a:lnTo>
                    <a:pt x="8572" y="2768"/>
                  </a:lnTo>
                  <a:lnTo>
                    <a:pt x="18902" y="2768"/>
                  </a:lnTo>
                  <a:lnTo>
                    <a:pt x="18503" y="0"/>
                  </a:lnTo>
                  <a:close/>
                </a:path>
              </a:pathLst>
            </a:custGeom>
            <a:solidFill>
              <a:srgbClr val="EF3D60">
                <a:alpha val="50999"/>
              </a:srgbClr>
            </a:solidFill>
          </p:spPr>
          <p:txBody>
            <a:bodyPr wrap="square" lIns="0" tIns="0" rIns="0" bIns="0" rtlCol="0"/>
            <a:lstStyle/>
            <a:p>
              <a:endParaRPr sz="2968"/>
            </a:p>
          </p:txBody>
        </p:sp>
        <p:sp>
          <p:nvSpPr>
            <p:cNvPr id="140" name="object 138">
              <a:extLst>
                <a:ext uri="{FF2B5EF4-FFF2-40B4-BE49-F238E27FC236}">
                  <a16:creationId xmlns:a16="http://schemas.microsoft.com/office/drawing/2014/main" id="{F95ABDDD-A979-D146-A393-C3CAF85F9510}"/>
                </a:ext>
              </a:extLst>
            </p:cNvPr>
            <p:cNvSpPr/>
            <p:nvPr/>
          </p:nvSpPr>
          <p:spPr>
            <a:xfrm>
              <a:off x="10802766" y="4747482"/>
              <a:ext cx="1064260" cy="223520"/>
            </a:xfrm>
            <a:custGeom>
              <a:avLst/>
              <a:gdLst/>
              <a:ahLst/>
              <a:cxnLst/>
              <a:rect l="l" t="t" r="r" b="b"/>
              <a:pathLst>
                <a:path w="1064259" h="223520">
                  <a:moveTo>
                    <a:pt x="2197" y="0"/>
                  </a:moveTo>
                  <a:lnTo>
                    <a:pt x="1943" y="3822"/>
                  </a:lnTo>
                  <a:lnTo>
                    <a:pt x="1193" y="7518"/>
                  </a:lnTo>
                  <a:lnTo>
                    <a:pt x="0" y="11010"/>
                  </a:lnTo>
                  <a:lnTo>
                    <a:pt x="1061567" y="223342"/>
                  </a:lnTo>
                  <a:lnTo>
                    <a:pt x="1061821" y="219519"/>
                  </a:lnTo>
                  <a:lnTo>
                    <a:pt x="1062570" y="215823"/>
                  </a:lnTo>
                  <a:lnTo>
                    <a:pt x="1063752" y="212331"/>
                  </a:lnTo>
                  <a:lnTo>
                    <a:pt x="2197" y="0"/>
                  </a:lnTo>
                  <a:close/>
                </a:path>
              </a:pathLst>
            </a:custGeom>
            <a:solidFill>
              <a:srgbClr val="EF3D60">
                <a:alpha val="50999"/>
              </a:srgbClr>
            </a:solidFill>
          </p:spPr>
          <p:txBody>
            <a:bodyPr wrap="square" lIns="0" tIns="0" rIns="0" bIns="0" rtlCol="0"/>
            <a:lstStyle/>
            <a:p>
              <a:endParaRPr sz="2968"/>
            </a:p>
          </p:txBody>
        </p:sp>
        <p:sp>
          <p:nvSpPr>
            <p:cNvPr id="141" name="object 139">
              <a:extLst>
                <a:ext uri="{FF2B5EF4-FFF2-40B4-BE49-F238E27FC236}">
                  <a16:creationId xmlns:a16="http://schemas.microsoft.com/office/drawing/2014/main" id="{4023F09F-9659-A04F-B0B1-2E71A3576545}"/>
                </a:ext>
              </a:extLst>
            </p:cNvPr>
            <p:cNvSpPr/>
            <p:nvPr/>
          </p:nvSpPr>
          <p:spPr>
            <a:xfrm>
              <a:off x="404266" y="5297036"/>
              <a:ext cx="86855" cy="86829"/>
            </a:xfrm>
            <a:prstGeom prst="rect">
              <a:avLst/>
            </a:prstGeom>
            <a:blipFill>
              <a:blip r:embed="rId3" cstate="print"/>
              <a:stretch>
                <a:fillRect/>
              </a:stretch>
            </a:blipFill>
          </p:spPr>
          <p:txBody>
            <a:bodyPr wrap="square" lIns="0" tIns="0" rIns="0" bIns="0" rtlCol="0"/>
            <a:lstStyle/>
            <a:p>
              <a:endParaRPr sz="2968"/>
            </a:p>
          </p:txBody>
        </p:sp>
        <p:sp>
          <p:nvSpPr>
            <p:cNvPr id="142" name="object 140">
              <a:extLst>
                <a:ext uri="{FF2B5EF4-FFF2-40B4-BE49-F238E27FC236}">
                  <a16:creationId xmlns:a16="http://schemas.microsoft.com/office/drawing/2014/main" id="{92A24C4B-406C-174D-A462-25823AE06CE1}"/>
                </a:ext>
              </a:extLst>
            </p:cNvPr>
            <p:cNvSpPr/>
            <p:nvPr/>
          </p:nvSpPr>
          <p:spPr>
            <a:xfrm>
              <a:off x="1871206" y="5480423"/>
              <a:ext cx="86842" cy="86829"/>
            </a:xfrm>
            <a:prstGeom prst="rect">
              <a:avLst/>
            </a:prstGeom>
            <a:blipFill>
              <a:blip r:embed="rId4" cstate="print"/>
              <a:stretch>
                <a:fillRect/>
              </a:stretch>
            </a:blipFill>
          </p:spPr>
          <p:txBody>
            <a:bodyPr wrap="square" lIns="0" tIns="0" rIns="0" bIns="0" rtlCol="0"/>
            <a:lstStyle/>
            <a:p>
              <a:endParaRPr sz="2968"/>
            </a:p>
          </p:txBody>
        </p:sp>
        <p:sp>
          <p:nvSpPr>
            <p:cNvPr id="143" name="object 141">
              <a:extLst>
                <a:ext uri="{FF2B5EF4-FFF2-40B4-BE49-F238E27FC236}">
                  <a16:creationId xmlns:a16="http://schemas.microsoft.com/office/drawing/2014/main" id="{C771624B-1E36-2C4D-B31D-793B7FBC6A14}"/>
                </a:ext>
              </a:extLst>
            </p:cNvPr>
            <p:cNvSpPr/>
            <p:nvPr/>
          </p:nvSpPr>
          <p:spPr>
            <a:xfrm>
              <a:off x="771050" y="4563622"/>
              <a:ext cx="86842" cy="86829"/>
            </a:xfrm>
            <a:prstGeom prst="rect">
              <a:avLst/>
            </a:prstGeom>
            <a:blipFill>
              <a:blip r:embed="rId5" cstate="print"/>
              <a:stretch>
                <a:fillRect/>
              </a:stretch>
            </a:blipFill>
          </p:spPr>
          <p:txBody>
            <a:bodyPr wrap="square" lIns="0" tIns="0" rIns="0" bIns="0" rtlCol="0"/>
            <a:lstStyle/>
            <a:p>
              <a:endParaRPr sz="2968"/>
            </a:p>
          </p:txBody>
        </p:sp>
        <p:sp>
          <p:nvSpPr>
            <p:cNvPr id="144" name="object 142">
              <a:extLst>
                <a:ext uri="{FF2B5EF4-FFF2-40B4-BE49-F238E27FC236}">
                  <a16:creationId xmlns:a16="http://schemas.microsoft.com/office/drawing/2014/main" id="{49936E75-CDCE-224E-BC77-E4727748A3B8}"/>
                </a:ext>
              </a:extLst>
            </p:cNvPr>
            <p:cNvSpPr/>
            <p:nvPr/>
          </p:nvSpPr>
          <p:spPr>
            <a:xfrm>
              <a:off x="3292170" y="5572064"/>
              <a:ext cx="86842" cy="86829"/>
            </a:xfrm>
            <a:prstGeom prst="rect">
              <a:avLst/>
            </a:prstGeom>
            <a:blipFill>
              <a:blip r:embed="rId6" cstate="print"/>
              <a:stretch>
                <a:fillRect/>
              </a:stretch>
            </a:blipFill>
          </p:spPr>
          <p:txBody>
            <a:bodyPr wrap="square" lIns="0" tIns="0" rIns="0" bIns="0" rtlCol="0"/>
            <a:lstStyle/>
            <a:p>
              <a:endParaRPr sz="2968"/>
            </a:p>
          </p:txBody>
        </p:sp>
        <p:sp>
          <p:nvSpPr>
            <p:cNvPr id="145" name="object 143">
              <a:extLst>
                <a:ext uri="{FF2B5EF4-FFF2-40B4-BE49-F238E27FC236}">
                  <a16:creationId xmlns:a16="http://schemas.microsoft.com/office/drawing/2014/main" id="{E53DF25D-ECC2-8043-8344-30D487A93740}"/>
                </a:ext>
              </a:extLst>
            </p:cNvPr>
            <p:cNvSpPr/>
            <p:nvPr/>
          </p:nvSpPr>
          <p:spPr>
            <a:xfrm>
              <a:off x="4621539" y="3371794"/>
              <a:ext cx="86842" cy="86829"/>
            </a:xfrm>
            <a:prstGeom prst="rect">
              <a:avLst/>
            </a:prstGeom>
            <a:blipFill>
              <a:blip r:embed="rId7" cstate="print"/>
              <a:stretch>
                <a:fillRect/>
              </a:stretch>
            </a:blipFill>
          </p:spPr>
          <p:txBody>
            <a:bodyPr wrap="square" lIns="0" tIns="0" rIns="0" bIns="0" rtlCol="0"/>
            <a:lstStyle/>
            <a:p>
              <a:endParaRPr sz="2968"/>
            </a:p>
          </p:txBody>
        </p:sp>
        <p:sp>
          <p:nvSpPr>
            <p:cNvPr id="146" name="object 144">
              <a:extLst>
                <a:ext uri="{FF2B5EF4-FFF2-40B4-BE49-F238E27FC236}">
                  <a16:creationId xmlns:a16="http://schemas.microsoft.com/office/drawing/2014/main" id="{23593EB5-8751-324A-97C9-8877287CAAF8}"/>
                </a:ext>
              </a:extLst>
            </p:cNvPr>
            <p:cNvSpPr/>
            <p:nvPr/>
          </p:nvSpPr>
          <p:spPr>
            <a:xfrm>
              <a:off x="3383864" y="4426083"/>
              <a:ext cx="86842" cy="86829"/>
            </a:xfrm>
            <a:prstGeom prst="rect">
              <a:avLst/>
            </a:prstGeom>
            <a:blipFill>
              <a:blip r:embed="rId8" cstate="print"/>
              <a:stretch>
                <a:fillRect/>
              </a:stretch>
            </a:blipFill>
          </p:spPr>
          <p:txBody>
            <a:bodyPr wrap="square" lIns="0" tIns="0" rIns="0" bIns="0" rtlCol="0"/>
            <a:lstStyle/>
            <a:p>
              <a:endParaRPr sz="2968"/>
            </a:p>
          </p:txBody>
        </p:sp>
        <p:sp>
          <p:nvSpPr>
            <p:cNvPr id="147" name="object 145">
              <a:extLst>
                <a:ext uri="{FF2B5EF4-FFF2-40B4-BE49-F238E27FC236}">
                  <a16:creationId xmlns:a16="http://schemas.microsoft.com/office/drawing/2014/main" id="{39841799-B685-EB41-8F4D-305517E45EE4}"/>
                </a:ext>
              </a:extLst>
            </p:cNvPr>
            <p:cNvSpPr/>
            <p:nvPr/>
          </p:nvSpPr>
          <p:spPr>
            <a:xfrm>
              <a:off x="2192088" y="4426083"/>
              <a:ext cx="86842" cy="86829"/>
            </a:xfrm>
            <a:prstGeom prst="rect">
              <a:avLst/>
            </a:prstGeom>
            <a:blipFill>
              <a:blip r:embed="rId9" cstate="print"/>
              <a:stretch>
                <a:fillRect/>
              </a:stretch>
            </a:blipFill>
          </p:spPr>
          <p:txBody>
            <a:bodyPr wrap="square" lIns="0" tIns="0" rIns="0" bIns="0" rtlCol="0"/>
            <a:lstStyle/>
            <a:p>
              <a:endParaRPr sz="2968"/>
            </a:p>
          </p:txBody>
        </p:sp>
        <p:sp>
          <p:nvSpPr>
            <p:cNvPr id="148" name="object 146">
              <a:extLst>
                <a:ext uri="{FF2B5EF4-FFF2-40B4-BE49-F238E27FC236}">
                  <a16:creationId xmlns:a16="http://schemas.microsoft.com/office/drawing/2014/main" id="{92AEDBEE-070E-304F-8048-AA16796F0EA7}"/>
                </a:ext>
              </a:extLst>
            </p:cNvPr>
            <p:cNvSpPr/>
            <p:nvPr/>
          </p:nvSpPr>
          <p:spPr>
            <a:xfrm>
              <a:off x="4621539" y="5572064"/>
              <a:ext cx="86842" cy="86829"/>
            </a:xfrm>
            <a:prstGeom prst="rect">
              <a:avLst/>
            </a:prstGeom>
            <a:blipFill>
              <a:blip r:embed="rId10" cstate="print"/>
              <a:stretch>
                <a:fillRect/>
              </a:stretch>
            </a:blipFill>
          </p:spPr>
          <p:txBody>
            <a:bodyPr wrap="square" lIns="0" tIns="0" rIns="0" bIns="0" rtlCol="0"/>
            <a:lstStyle/>
            <a:p>
              <a:endParaRPr sz="2968"/>
            </a:p>
          </p:txBody>
        </p:sp>
        <p:sp>
          <p:nvSpPr>
            <p:cNvPr id="149" name="object 147">
              <a:extLst>
                <a:ext uri="{FF2B5EF4-FFF2-40B4-BE49-F238E27FC236}">
                  <a16:creationId xmlns:a16="http://schemas.microsoft.com/office/drawing/2014/main" id="{AC7AF37A-A32F-6D48-B9D4-6398A0AF5326}"/>
                </a:ext>
              </a:extLst>
            </p:cNvPr>
            <p:cNvSpPr/>
            <p:nvPr/>
          </p:nvSpPr>
          <p:spPr>
            <a:xfrm>
              <a:off x="4438181" y="4288567"/>
              <a:ext cx="86855" cy="86829"/>
            </a:xfrm>
            <a:prstGeom prst="rect">
              <a:avLst/>
            </a:prstGeom>
            <a:blipFill>
              <a:blip r:embed="rId5" cstate="print"/>
              <a:stretch>
                <a:fillRect/>
              </a:stretch>
            </a:blipFill>
          </p:spPr>
          <p:txBody>
            <a:bodyPr wrap="square" lIns="0" tIns="0" rIns="0" bIns="0" rtlCol="0"/>
            <a:lstStyle/>
            <a:p>
              <a:endParaRPr sz="2968"/>
            </a:p>
          </p:txBody>
        </p:sp>
        <p:sp>
          <p:nvSpPr>
            <p:cNvPr id="150" name="object 148">
              <a:extLst>
                <a:ext uri="{FF2B5EF4-FFF2-40B4-BE49-F238E27FC236}">
                  <a16:creationId xmlns:a16="http://schemas.microsoft.com/office/drawing/2014/main" id="{2E52238F-EDB0-6D49-B694-CD8FB24CB70A}"/>
                </a:ext>
              </a:extLst>
            </p:cNvPr>
            <p:cNvSpPr/>
            <p:nvPr/>
          </p:nvSpPr>
          <p:spPr>
            <a:xfrm>
              <a:off x="4300688" y="3967669"/>
              <a:ext cx="86842" cy="86829"/>
            </a:xfrm>
            <a:prstGeom prst="rect">
              <a:avLst/>
            </a:prstGeom>
            <a:blipFill>
              <a:blip r:embed="rId11" cstate="print"/>
              <a:stretch>
                <a:fillRect/>
              </a:stretch>
            </a:blipFill>
          </p:spPr>
          <p:txBody>
            <a:bodyPr wrap="square" lIns="0" tIns="0" rIns="0" bIns="0" rtlCol="0"/>
            <a:lstStyle/>
            <a:p>
              <a:endParaRPr sz="2968"/>
            </a:p>
          </p:txBody>
        </p:sp>
        <p:sp>
          <p:nvSpPr>
            <p:cNvPr id="151" name="object 149">
              <a:extLst>
                <a:ext uri="{FF2B5EF4-FFF2-40B4-BE49-F238E27FC236}">
                  <a16:creationId xmlns:a16="http://schemas.microsoft.com/office/drawing/2014/main" id="{7AA1BCB2-3CB1-C24E-9974-5C805A7C33C6}"/>
                </a:ext>
              </a:extLst>
            </p:cNvPr>
            <p:cNvSpPr/>
            <p:nvPr/>
          </p:nvSpPr>
          <p:spPr>
            <a:xfrm>
              <a:off x="6455115" y="5572064"/>
              <a:ext cx="86842" cy="86829"/>
            </a:xfrm>
            <a:prstGeom prst="rect">
              <a:avLst/>
            </a:prstGeom>
            <a:blipFill>
              <a:blip r:embed="rId12" cstate="print"/>
              <a:stretch>
                <a:fillRect/>
              </a:stretch>
            </a:blipFill>
          </p:spPr>
          <p:txBody>
            <a:bodyPr wrap="square" lIns="0" tIns="0" rIns="0" bIns="0" rtlCol="0"/>
            <a:lstStyle/>
            <a:p>
              <a:endParaRPr sz="2968"/>
            </a:p>
          </p:txBody>
        </p:sp>
        <p:sp>
          <p:nvSpPr>
            <p:cNvPr id="152" name="object 150">
              <a:extLst>
                <a:ext uri="{FF2B5EF4-FFF2-40B4-BE49-F238E27FC236}">
                  <a16:creationId xmlns:a16="http://schemas.microsoft.com/office/drawing/2014/main" id="{1352DFD0-C6E9-D74D-B7E6-51F82FD307DD}"/>
                </a:ext>
              </a:extLst>
            </p:cNvPr>
            <p:cNvSpPr/>
            <p:nvPr/>
          </p:nvSpPr>
          <p:spPr>
            <a:xfrm>
              <a:off x="6776041" y="5113680"/>
              <a:ext cx="86855" cy="86829"/>
            </a:xfrm>
            <a:prstGeom prst="rect">
              <a:avLst/>
            </a:prstGeom>
            <a:blipFill>
              <a:blip r:embed="rId13" cstate="print"/>
              <a:stretch>
                <a:fillRect/>
              </a:stretch>
            </a:blipFill>
          </p:spPr>
          <p:txBody>
            <a:bodyPr wrap="square" lIns="0" tIns="0" rIns="0" bIns="0" rtlCol="0"/>
            <a:lstStyle/>
            <a:p>
              <a:endParaRPr sz="2968"/>
            </a:p>
          </p:txBody>
        </p:sp>
        <p:sp>
          <p:nvSpPr>
            <p:cNvPr id="153" name="object 151">
              <a:extLst>
                <a:ext uri="{FF2B5EF4-FFF2-40B4-BE49-F238E27FC236}">
                  <a16:creationId xmlns:a16="http://schemas.microsoft.com/office/drawing/2014/main" id="{45DBF576-EFE7-584A-9AD9-FA938A393DBC}"/>
                </a:ext>
              </a:extLst>
            </p:cNvPr>
            <p:cNvSpPr/>
            <p:nvPr/>
          </p:nvSpPr>
          <p:spPr>
            <a:xfrm>
              <a:off x="5446699" y="4151030"/>
              <a:ext cx="86842" cy="86829"/>
            </a:xfrm>
            <a:prstGeom prst="rect">
              <a:avLst/>
            </a:prstGeom>
            <a:blipFill>
              <a:blip r:embed="rId14" cstate="print"/>
              <a:stretch>
                <a:fillRect/>
              </a:stretch>
            </a:blipFill>
          </p:spPr>
          <p:txBody>
            <a:bodyPr wrap="square" lIns="0" tIns="0" rIns="0" bIns="0" rtlCol="0"/>
            <a:lstStyle/>
            <a:p>
              <a:endParaRPr sz="2968"/>
            </a:p>
          </p:txBody>
        </p:sp>
        <p:sp>
          <p:nvSpPr>
            <p:cNvPr id="154" name="object 152">
              <a:extLst>
                <a:ext uri="{FF2B5EF4-FFF2-40B4-BE49-F238E27FC236}">
                  <a16:creationId xmlns:a16="http://schemas.microsoft.com/office/drawing/2014/main" id="{3BE204FC-6419-364F-945D-C1B6BC42BED3}"/>
                </a:ext>
              </a:extLst>
            </p:cNvPr>
            <p:cNvSpPr/>
            <p:nvPr/>
          </p:nvSpPr>
          <p:spPr>
            <a:xfrm>
              <a:off x="6867662" y="4059340"/>
              <a:ext cx="86842" cy="86829"/>
            </a:xfrm>
            <a:prstGeom prst="rect">
              <a:avLst/>
            </a:prstGeom>
            <a:blipFill>
              <a:blip r:embed="rId5" cstate="print"/>
              <a:stretch>
                <a:fillRect/>
              </a:stretch>
            </a:blipFill>
          </p:spPr>
          <p:txBody>
            <a:bodyPr wrap="square" lIns="0" tIns="0" rIns="0" bIns="0" rtlCol="0"/>
            <a:lstStyle/>
            <a:p>
              <a:endParaRPr sz="2968"/>
            </a:p>
          </p:txBody>
        </p:sp>
        <p:sp>
          <p:nvSpPr>
            <p:cNvPr id="155" name="object 153">
              <a:extLst>
                <a:ext uri="{FF2B5EF4-FFF2-40B4-BE49-F238E27FC236}">
                  <a16:creationId xmlns:a16="http://schemas.microsoft.com/office/drawing/2014/main" id="{63AB7D36-FB04-FE42-938C-66B028AC0FC5}"/>
                </a:ext>
              </a:extLst>
            </p:cNvPr>
            <p:cNvSpPr/>
            <p:nvPr/>
          </p:nvSpPr>
          <p:spPr>
            <a:xfrm>
              <a:off x="5675805" y="4196852"/>
              <a:ext cx="86842" cy="86829"/>
            </a:xfrm>
            <a:prstGeom prst="rect">
              <a:avLst/>
            </a:prstGeom>
            <a:blipFill>
              <a:blip r:embed="rId5" cstate="print"/>
              <a:stretch>
                <a:fillRect/>
              </a:stretch>
            </a:blipFill>
          </p:spPr>
          <p:txBody>
            <a:bodyPr wrap="square" lIns="0" tIns="0" rIns="0" bIns="0" rtlCol="0"/>
            <a:lstStyle/>
            <a:p>
              <a:endParaRPr sz="2968"/>
            </a:p>
          </p:txBody>
        </p:sp>
        <p:sp>
          <p:nvSpPr>
            <p:cNvPr id="156" name="object 154">
              <a:extLst>
                <a:ext uri="{FF2B5EF4-FFF2-40B4-BE49-F238E27FC236}">
                  <a16:creationId xmlns:a16="http://schemas.microsoft.com/office/drawing/2014/main" id="{3DEFD01B-6507-AB49-A1F9-67149B247FB4}"/>
                </a:ext>
              </a:extLst>
            </p:cNvPr>
            <p:cNvSpPr/>
            <p:nvPr/>
          </p:nvSpPr>
          <p:spPr>
            <a:xfrm>
              <a:off x="7784486" y="5434552"/>
              <a:ext cx="86842" cy="86829"/>
            </a:xfrm>
            <a:prstGeom prst="rect">
              <a:avLst/>
            </a:prstGeom>
            <a:blipFill>
              <a:blip r:embed="rId15" cstate="print"/>
              <a:stretch>
                <a:fillRect/>
              </a:stretch>
            </a:blipFill>
          </p:spPr>
          <p:txBody>
            <a:bodyPr wrap="square" lIns="0" tIns="0" rIns="0" bIns="0" rtlCol="0"/>
            <a:lstStyle/>
            <a:p>
              <a:endParaRPr sz="2968"/>
            </a:p>
          </p:txBody>
        </p:sp>
        <p:sp>
          <p:nvSpPr>
            <p:cNvPr id="157" name="object 155">
              <a:extLst>
                <a:ext uri="{FF2B5EF4-FFF2-40B4-BE49-F238E27FC236}">
                  <a16:creationId xmlns:a16="http://schemas.microsoft.com/office/drawing/2014/main" id="{3B0E0D49-07F4-404B-A979-599D7AF2369F}"/>
                </a:ext>
              </a:extLst>
            </p:cNvPr>
            <p:cNvSpPr/>
            <p:nvPr/>
          </p:nvSpPr>
          <p:spPr>
            <a:xfrm>
              <a:off x="8059511" y="5892963"/>
              <a:ext cx="86842" cy="86829"/>
            </a:xfrm>
            <a:prstGeom prst="rect">
              <a:avLst/>
            </a:prstGeom>
            <a:blipFill>
              <a:blip r:embed="rId16" cstate="print"/>
              <a:stretch>
                <a:fillRect/>
              </a:stretch>
            </a:blipFill>
          </p:spPr>
          <p:txBody>
            <a:bodyPr wrap="square" lIns="0" tIns="0" rIns="0" bIns="0" rtlCol="0"/>
            <a:lstStyle/>
            <a:p>
              <a:endParaRPr sz="2968"/>
            </a:p>
          </p:txBody>
        </p:sp>
        <p:sp>
          <p:nvSpPr>
            <p:cNvPr id="158" name="object 156">
              <a:extLst>
                <a:ext uri="{FF2B5EF4-FFF2-40B4-BE49-F238E27FC236}">
                  <a16:creationId xmlns:a16="http://schemas.microsoft.com/office/drawing/2014/main" id="{28C9ADB6-E938-384E-B543-B13628A64F21}"/>
                </a:ext>
              </a:extLst>
            </p:cNvPr>
            <p:cNvSpPr/>
            <p:nvPr/>
          </p:nvSpPr>
          <p:spPr>
            <a:xfrm>
              <a:off x="7967819" y="3967669"/>
              <a:ext cx="86842" cy="86829"/>
            </a:xfrm>
            <a:prstGeom prst="rect">
              <a:avLst/>
            </a:prstGeom>
            <a:blipFill>
              <a:blip r:embed="rId5" cstate="print"/>
              <a:stretch>
                <a:fillRect/>
              </a:stretch>
            </a:blipFill>
          </p:spPr>
          <p:txBody>
            <a:bodyPr wrap="square" lIns="0" tIns="0" rIns="0" bIns="0" rtlCol="0"/>
            <a:lstStyle/>
            <a:p>
              <a:endParaRPr sz="2968"/>
            </a:p>
          </p:txBody>
        </p:sp>
        <p:sp>
          <p:nvSpPr>
            <p:cNvPr id="159" name="object 157">
              <a:extLst>
                <a:ext uri="{FF2B5EF4-FFF2-40B4-BE49-F238E27FC236}">
                  <a16:creationId xmlns:a16="http://schemas.microsoft.com/office/drawing/2014/main" id="{A6BEFEC3-860E-2541-A541-C074D98558CE}"/>
                </a:ext>
              </a:extLst>
            </p:cNvPr>
            <p:cNvSpPr/>
            <p:nvPr/>
          </p:nvSpPr>
          <p:spPr>
            <a:xfrm>
              <a:off x="9480547" y="2500815"/>
              <a:ext cx="86842" cy="86829"/>
            </a:xfrm>
            <a:prstGeom prst="rect">
              <a:avLst/>
            </a:prstGeom>
            <a:blipFill>
              <a:blip r:embed="rId17" cstate="print"/>
              <a:stretch>
                <a:fillRect/>
              </a:stretch>
            </a:blipFill>
          </p:spPr>
          <p:txBody>
            <a:bodyPr wrap="square" lIns="0" tIns="0" rIns="0" bIns="0" rtlCol="0"/>
            <a:lstStyle/>
            <a:p>
              <a:endParaRPr sz="2968"/>
            </a:p>
          </p:txBody>
        </p:sp>
        <p:sp>
          <p:nvSpPr>
            <p:cNvPr id="160" name="object 158">
              <a:extLst>
                <a:ext uri="{FF2B5EF4-FFF2-40B4-BE49-F238E27FC236}">
                  <a16:creationId xmlns:a16="http://schemas.microsoft.com/office/drawing/2014/main" id="{2D222E04-6A27-7949-AABC-B530F9E62F83}"/>
                </a:ext>
              </a:extLst>
            </p:cNvPr>
            <p:cNvSpPr/>
            <p:nvPr/>
          </p:nvSpPr>
          <p:spPr>
            <a:xfrm>
              <a:off x="8586679" y="2844623"/>
              <a:ext cx="86842" cy="86855"/>
            </a:xfrm>
            <a:prstGeom prst="rect">
              <a:avLst/>
            </a:prstGeom>
            <a:blipFill>
              <a:blip r:embed="rId8" cstate="print"/>
              <a:stretch>
                <a:fillRect/>
              </a:stretch>
            </a:blipFill>
          </p:spPr>
          <p:txBody>
            <a:bodyPr wrap="square" lIns="0" tIns="0" rIns="0" bIns="0" rtlCol="0"/>
            <a:lstStyle/>
            <a:p>
              <a:endParaRPr sz="2968"/>
            </a:p>
          </p:txBody>
        </p:sp>
        <p:sp>
          <p:nvSpPr>
            <p:cNvPr id="161" name="object 159">
              <a:extLst>
                <a:ext uri="{FF2B5EF4-FFF2-40B4-BE49-F238E27FC236}">
                  <a16:creationId xmlns:a16="http://schemas.microsoft.com/office/drawing/2014/main" id="{01409612-F2E9-9F44-B30A-C8CC99CCB4CC}"/>
                </a:ext>
              </a:extLst>
            </p:cNvPr>
            <p:cNvSpPr/>
            <p:nvPr/>
          </p:nvSpPr>
          <p:spPr>
            <a:xfrm>
              <a:off x="9297188" y="6351327"/>
              <a:ext cx="86842" cy="86829"/>
            </a:xfrm>
            <a:prstGeom prst="rect">
              <a:avLst/>
            </a:prstGeom>
            <a:blipFill>
              <a:blip r:embed="rId18" cstate="print"/>
              <a:stretch>
                <a:fillRect/>
              </a:stretch>
            </a:blipFill>
          </p:spPr>
          <p:txBody>
            <a:bodyPr wrap="square" lIns="0" tIns="0" rIns="0" bIns="0" rtlCol="0"/>
            <a:lstStyle/>
            <a:p>
              <a:endParaRPr sz="2968"/>
            </a:p>
          </p:txBody>
        </p:sp>
        <p:sp>
          <p:nvSpPr>
            <p:cNvPr id="162" name="object 160">
              <a:extLst>
                <a:ext uri="{FF2B5EF4-FFF2-40B4-BE49-F238E27FC236}">
                  <a16:creationId xmlns:a16="http://schemas.microsoft.com/office/drawing/2014/main" id="{3A89ABBB-7302-2B4F-A971-A2241EB61362}"/>
                </a:ext>
              </a:extLst>
            </p:cNvPr>
            <p:cNvSpPr/>
            <p:nvPr/>
          </p:nvSpPr>
          <p:spPr>
            <a:xfrm>
              <a:off x="9297188" y="3738511"/>
              <a:ext cx="86842" cy="86829"/>
            </a:xfrm>
            <a:prstGeom prst="rect">
              <a:avLst/>
            </a:prstGeom>
            <a:blipFill>
              <a:blip r:embed="rId5" cstate="print"/>
              <a:stretch>
                <a:fillRect/>
              </a:stretch>
            </a:blipFill>
          </p:spPr>
          <p:txBody>
            <a:bodyPr wrap="square" lIns="0" tIns="0" rIns="0" bIns="0" rtlCol="0"/>
            <a:lstStyle/>
            <a:p>
              <a:endParaRPr sz="2968"/>
            </a:p>
          </p:txBody>
        </p:sp>
        <p:sp>
          <p:nvSpPr>
            <p:cNvPr id="163" name="object 161">
              <a:extLst>
                <a:ext uri="{FF2B5EF4-FFF2-40B4-BE49-F238E27FC236}">
                  <a16:creationId xmlns:a16="http://schemas.microsoft.com/office/drawing/2014/main" id="{F3E31A3B-7198-2647-A7AB-09DDA6ED58B3}"/>
                </a:ext>
              </a:extLst>
            </p:cNvPr>
            <p:cNvSpPr/>
            <p:nvPr/>
          </p:nvSpPr>
          <p:spPr>
            <a:xfrm>
              <a:off x="9022166" y="3967669"/>
              <a:ext cx="86829" cy="86829"/>
            </a:xfrm>
            <a:prstGeom prst="rect">
              <a:avLst/>
            </a:prstGeom>
            <a:blipFill>
              <a:blip r:embed="rId19" cstate="print"/>
              <a:stretch>
                <a:fillRect/>
              </a:stretch>
            </a:blipFill>
          </p:spPr>
          <p:txBody>
            <a:bodyPr wrap="square" lIns="0" tIns="0" rIns="0" bIns="0" rtlCol="0"/>
            <a:lstStyle/>
            <a:p>
              <a:endParaRPr sz="2968"/>
            </a:p>
          </p:txBody>
        </p:sp>
        <p:sp>
          <p:nvSpPr>
            <p:cNvPr id="164" name="object 162">
              <a:extLst>
                <a:ext uri="{FF2B5EF4-FFF2-40B4-BE49-F238E27FC236}">
                  <a16:creationId xmlns:a16="http://schemas.microsoft.com/office/drawing/2014/main" id="{7D8F6708-416E-9B46-81D1-6D80B1E8CCAA}"/>
                </a:ext>
              </a:extLst>
            </p:cNvPr>
            <p:cNvSpPr/>
            <p:nvPr/>
          </p:nvSpPr>
          <p:spPr>
            <a:xfrm>
              <a:off x="8861686" y="6488843"/>
              <a:ext cx="86842" cy="86829"/>
            </a:xfrm>
            <a:prstGeom prst="rect">
              <a:avLst/>
            </a:prstGeom>
            <a:blipFill>
              <a:blip r:embed="rId20" cstate="print"/>
              <a:stretch>
                <a:fillRect/>
              </a:stretch>
            </a:blipFill>
          </p:spPr>
          <p:txBody>
            <a:bodyPr wrap="square" lIns="0" tIns="0" rIns="0" bIns="0" rtlCol="0"/>
            <a:lstStyle/>
            <a:p>
              <a:endParaRPr sz="2968"/>
            </a:p>
          </p:txBody>
        </p:sp>
        <p:sp>
          <p:nvSpPr>
            <p:cNvPr id="165" name="object 163">
              <a:extLst>
                <a:ext uri="{FF2B5EF4-FFF2-40B4-BE49-F238E27FC236}">
                  <a16:creationId xmlns:a16="http://schemas.microsoft.com/office/drawing/2014/main" id="{33D95EE2-5BD7-6B48-8CC7-4A553E7E4B80}"/>
                </a:ext>
              </a:extLst>
            </p:cNvPr>
            <p:cNvSpPr/>
            <p:nvPr/>
          </p:nvSpPr>
          <p:spPr>
            <a:xfrm>
              <a:off x="8036555" y="5251191"/>
              <a:ext cx="86842" cy="86829"/>
            </a:xfrm>
            <a:prstGeom prst="rect">
              <a:avLst/>
            </a:prstGeom>
            <a:blipFill>
              <a:blip r:embed="rId21" cstate="print"/>
              <a:stretch>
                <a:fillRect/>
              </a:stretch>
            </a:blipFill>
          </p:spPr>
          <p:txBody>
            <a:bodyPr wrap="square" lIns="0" tIns="0" rIns="0" bIns="0" rtlCol="0"/>
            <a:lstStyle/>
            <a:p>
              <a:endParaRPr sz="2968"/>
            </a:p>
          </p:txBody>
        </p:sp>
        <p:sp>
          <p:nvSpPr>
            <p:cNvPr id="166" name="object 164">
              <a:extLst>
                <a:ext uri="{FF2B5EF4-FFF2-40B4-BE49-F238E27FC236}">
                  <a16:creationId xmlns:a16="http://schemas.microsoft.com/office/drawing/2014/main" id="{2C9E5CFC-58EB-1543-82C5-DED2B92F3AC6}"/>
                </a:ext>
              </a:extLst>
            </p:cNvPr>
            <p:cNvSpPr/>
            <p:nvPr/>
          </p:nvSpPr>
          <p:spPr>
            <a:xfrm>
              <a:off x="8036555" y="4838646"/>
              <a:ext cx="86842" cy="86829"/>
            </a:xfrm>
            <a:prstGeom prst="rect">
              <a:avLst/>
            </a:prstGeom>
            <a:blipFill>
              <a:blip r:embed="rId22" cstate="print"/>
              <a:stretch>
                <a:fillRect/>
              </a:stretch>
            </a:blipFill>
          </p:spPr>
          <p:txBody>
            <a:bodyPr wrap="square" lIns="0" tIns="0" rIns="0" bIns="0" rtlCol="0"/>
            <a:lstStyle/>
            <a:p>
              <a:endParaRPr sz="2968"/>
            </a:p>
          </p:txBody>
        </p:sp>
        <p:sp>
          <p:nvSpPr>
            <p:cNvPr id="167" name="object 165">
              <a:extLst>
                <a:ext uri="{FF2B5EF4-FFF2-40B4-BE49-F238E27FC236}">
                  <a16:creationId xmlns:a16="http://schemas.microsoft.com/office/drawing/2014/main" id="{09725869-73A3-9B4A-9CED-AA900FE22FF5}"/>
                </a:ext>
              </a:extLst>
            </p:cNvPr>
            <p:cNvSpPr/>
            <p:nvPr/>
          </p:nvSpPr>
          <p:spPr>
            <a:xfrm>
              <a:off x="8174141" y="4701136"/>
              <a:ext cx="86842" cy="86829"/>
            </a:xfrm>
            <a:prstGeom prst="rect">
              <a:avLst/>
            </a:prstGeom>
            <a:blipFill>
              <a:blip r:embed="rId23" cstate="print"/>
              <a:stretch>
                <a:fillRect/>
              </a:stretch>
            </a:blipFill>
          </p:spPr>
          <p:txBody>
            <a:bodyPr wrap="square" lIns="0" tIns="0" rIns="0" bIns="0" rtlCol="0"/>
            <a:lstStyle/>
            <a:p>
              <a:endParaRPr sz="2968"/>
            </a:p>
          </p:txBody>
        </p:sp>
        <p:sp>
          <p:nvSpPr>
            <p:cNvPr id="168" name="object 166">
              <a:extLst>
                <a:ext uri="{FF2B5EF4-FFF2-40B4-BE49-F238E27FC236}">
                  <a16:creationId xmlns:a16="http://schemas.microsoft.com/office/drawing/2014/main" id="{3F0A50C9-04F3-824C-8B5F-3491C0C39302}"/>
                </a:ext>
              </a:extLst>
            </p:cNvPr>
            <p:cNvSpPr/>
            <p:nvPr/>
          </p:nvSpPr>
          <p:spPr>
            <a:xfrm>
              <a:off x="8655462" y="5251191"/>
              <a:ext cx="86842" cy="86829"/>
            </a:xfrm>
            <a:prstGeom prst="rect">
              <a:avLst/>
            </a:prstGeom>
            <a:blipFill>
              <a:blip r:embed="rId24" cstate="print"/>
              <a:stretch>
                <a:fillRect/>
              </a:stretch>
            </a:blipFill>
          </p:spPr>
          <p:txBody>
            <a:bodyPr wrap="square" lIns="0" tIns="0" rIns="0" bIns="0" rtlCol="0"/>
            <a:lstStyle/>
            <a:p>
              <a:endParaRPr sz="2968"/>
            </a:p>
          </p:txBody>
        </p:sp>
        <p:sp>
          <p:nvSpPr>
            <p:cNvPr id="169" name="object 167">
              <a:extLst>
                <a:ext uri="{FF2B5EF4-FFF2-40B4-BE49-F238E27FC236}">
                  <a16:creationId xmlns:a16="http://schemas.microsoft.com/office/drawing/2014/main" id="{AA7885E8-8C5D-0B48-8DE8-2FA02802F4F3}"/>
                </a:ext>
              </a:extLst>
            </p:cNvPr>
            <p:cNvSpPr/>
            <p:nvPr/>
          </p:nvSpPr>
          <p:spPr>
            <a:xfrm>
              <a:off x="9755571" y="6970163"/>
              <a:ext cx="155627" cy="155637"/>
            </a:xfrm>
            <a:prstGeom prst="rect">
              <a:avLst/>
            </a:prstGeom>
            <a:blipFill>
              <a:blip r:embed="rId25" cstate="print"/>
              <a:stretch>
                <a:fillRect/>
              </a:stretch>
            </a:blipFill>
          </p:spPr>
          <p:txBody>
            <a:bodyPr wrap="square" lIns="0" tIns="0" rIns="0" bIns="0" rtlCol="0"/>
            <a:lstStyle/>
            <a:p>
              <a:endParaRPr sz="2968"/>
            </a:p>
          </p:txBody>
        </p:sp>
        <p:sp>
          <p:nvSpPr>
            <p:cNvPr id="170" name="object 168">
              <a:extLst>
                <a:ext uri="{FF2B5EF4-FFF2-40B4-BE49-F238E27FC236}">
                  <a16:creationId xmlns:a16="http://schemas.microsoft.com/office/drawing/2014/main" id="{8B1DC149-0E84-F14D-A7E8-D30ED244E3D8}"/>
                </a:ext>
              </a:extLst>
            </p:cNvPr>
            <p:cNvSpPr/>
            <p:nvPr/>
          </p:nvSpPr>
          <p:spPr>
            <a:xfrm>
              <a:off x="10718225" y="5021985"/>
              <a:ext cx="86842" cy="86829"/>
            </a:xfrm>
            <a:prstGeom prst="rect">
              <a:avLst/>
            </a:prstGeom>
            <a:blipFill>
              <a:blip r:embed="rId5" cstate="print"/>
              <a:stretch>
                <a:fillRect/>
              </a:stretch>
            </a:blipFill>
          </p:spPr>
          <p:txBody>
            <a:bodyPr wrap="square" lIns="0" tIns="0" rIns="0" bIns="0" rtlCol="0"/>
            <a:lstStyle/>
            <a:p>
              <a:endParaRPr sz="2968"/>
            </a:p>
          </p:txBody>
        </p:sp>
        <p:sp>
          <p:nvSpPr>
            <p:cNvPr id="171" name="object 169">
              <a:extLst>
                <a:ext uri="{FF2B5EF4-FFF2-40B4-BE49-F238E27FC236}">
                  <a16:creationId xmlns:a16="http://schemas.microsoft.com/office/drawing/2014/main" id="{FB9F356D-A1B0-614A-B70E-13E950AAA2B9}"/>
                </a:ext>
              </a:extLst>
            </p:cNvPr>
            <p:cNvSpPr/>
            <p:nvPr/>
          </p:nvSpPr>
          <p:spPr>
            <a:xfrm>
              <a:off x="13101936" y="6763925"/>
              <a:ext cx="86829" cy="86829"/>
            </a:xfrm>
            <a:prstGeom prst="rect">
              <a:avLst/>
            </a:prstGeom>
            <a:blipFill>
              <a:blip r:embed="rId26" cstate="print"/>
              <a:stretch>
                <a:fillRect/>
              </a:stretch>
            </a:blipFill>
          </p:spPr>
          <p:txBody>
            <a:bodyPr wrap="square" lIns="0" tIns="0" rIns="0" bIns="0" rtlCol="0"/>
            <a:lstStyle/>
            <a:p>
              <a:endParaRPr sz="2968"/>
            </a:p>
          </p:txBody>
        </p:sp>
        <p:sp>
          <p:nvSpPr>
            <p:cNvPr id="172" name="object 170">
              <a:extLst>
                <a:ext uri="{FF2B5EF4-FFF2-40B4-BE49-F238E27FC236}">
                  <a16:creationId xmlns:a16="http://schemas.microsoft.com/office/drawing/2014/main" id="{0B239F29-7789-1D43-9CD3-ABF6A0E4F980}"/>
                </a:ext>
              </a:extLst>
            </p:cNvPr>
            <p:cNvSpPr/>
            <p:nvPr/>
          </p:nvSpPr>
          <p:spPr>
            <a:xfrm>
              <a:off x="9572213" y="5113680"/>
              <a:ext cx="86842" cy="86829"/>
            </a:xfrm>
            <a:prstGeom prst="rect">
              <a:avLst/>
            </a:prstGeom>
            <a:blipFill>
              <a:blip r:embed="rId13" cstate="print"/>
              <a:stretch>
                <a:fillRect/>
              </a:stretch>
            </a:blipFill>
          </p:spPr>
          <p:txBody>
            <a:bodyPr wrap="square" lIns="0" tIns="0" rIns="0" bIns="0" rtlCol="0"/>
            <a:lstStyle/>
            <a:p>
              <a:endParaRPr sz="2968"/>
            </a:p>
          </p:txBody>
        </p:sp>
        <p:sp>
          <p:nvSpPr>
            <p:cNvPr id="173" name="object 171">
              <a:extLst>
                <a:ext uri="{FF2B5EF4-FFF2-40B4-BE49-F238E27FC236}">
                  <a16:creationId xmlns:a16="http://schemas.microsoft.com/office/drawing/2014/main" id="{92CCEC61-98B4-D64F-A7AA-3D6B75933E84}"/>
                </a:ext>
              </a:extLst>
            </p:cNvPr>
            <p:cNvSpPr/>
            <p:nvPr/>
          </p:nvSpPr>
          <p:spPr>
            <a:xfrm>
              <a:off x="12093432" y="6763921"/>
              <a:ext cx="86842" cy="86829"/>
            </a:xfrm>
            <a:prstGeom prst="rect">
              <a:avLst/>
            </a:prstGeom>
            <a:blipFill>
              <a:blip r:embed="rId27" cstate="print"/>
              <a:stretch>
                <a:fillRect/>
              </a:stretch>
            </a:blipFill>
          </p:spPr>
          <p:txBody>
            <a:bodyPr wrap="square" lIns="0" tIns="0" rIns="0" bIns="0" rtlCol="0"/>
            <a:lstStyle/>
            <a:p>
              <a:endParaRPr sz="2968"/>
            </a:p>
          </p:txBody>
        </p:sp>
        <p:sp>
          <p:nvSpPr>
            <p:cNvPr id="174" name="object 172">
              <a:extLst>
                <a:ext uri="{FF2B5EF4-FFF2-40B4-BE49-F238E27FC236}">
                  <a16:creationId xmlns:a16="http://schemas.microsoft.com/office/drawing/2014/main" id="{220726E1-B72C-7041-A2C4-84C577408D23}"/>
                </a:ext>
              </a:extLst>
            </p:cNvPr>
            <p:cNvSpPr/>
            <p:nvPr/>
          </p:nvSpPr>
          <p:spPr>
            <a:xfrm>
              <a:off x="10718225" y="6672226"/>
              <a:ext cx="86842" cy="86829"/>
            </a:xfrm>
            <a:prstGeom prst="rect">
              <a:avLst/>
            </a:prstGeom>
            <a:blipFill>
              <a:blip r:embed="rId28" cstate="print"/>
              <a:stretch>
                <a:fillRect/>
              </a:stretch>
            </a:blipFill>
          </p:spPr>
          <p:txBody>
            <a:bodyPr wrap="square" lIns="0" tIns="0" rIns="0" bIns="0" rtlCol="0"/>
            <a:lstStyle/>
            <a:p>
              <a:endParaRPr sz="2968"/>
            </a:p>
          </p:txBody>
        </p:sp>
        <p:sp>
          <p:nvSpPr>
            <p:cNvPr id="175" name="object 173">
              <a:extLst>
                <a:ext uri="{FF2B5EF4-FFF2-40B4-BE49-F238E27FC236}">
                  <a16:creationId xmlns:a16="http://schemas.microsoft.com/office/drawing/2014/main" id="{06B1D5F5-866A-7647-AB4B-89C6E62D7A35}"/>
                </a:ext>
              </a:extLst>
            </p:cNvPr>
            <p:cNvSpPr/>
            <p:nvPr/>
          </p:nvSpPr>
          <p:spPr>
            <a:xfrm>
              <a:off x="13651983" y="3191537"/>
              <a:ext cx="28575" cy="81280"/>
            </a:xfrm>
            <a:custGeom>
              <a:avLst/>
              <a:gdLst/>
              <a:ahLst/>
              <a:cxnLst/>
              <a:rect l="l" t="t" r="r" b="b"/>
              <a:pathLst>
                <a:path w="28575" h="81279">
                  <a:moveTo>
                    <a:pt x="28012" y="0"/>
                  </a:moveTo>
                  <a:lnTo>
                    <a:pt x="26510" y="303"/>
                  </a:lnTo>
                  <a:lnTo>
                    <a:pt x="12709" y="9609"/>
                  </a:lnTo>
                  <a:lnTo>
                    <a:pt x="3409" y="23411"/>
                  </a:lnTo>
                  <a:lnTo>
                    <a:pt x="0" y="40311"/>
                  </a:lnTo>
                  <a:lnTo>
                    <a:pt x="0" y="48909"/>
                  </a:lnTo>
                  <a:lnTo>
                    <a:pt x="24529" y="79419"/>
                  </a:lnTo>
                  <a:lnTo>
                    <a:pt x="28012" y="80797"/>
                  </a:lnTo>
                  <a:lnTo>
                    <a:pt x="28012" y="0"/>
                  </a:lnTo>
                  <a:close/>
                </a:path>
              </a:pathLst>
            </a:custGeom>
            <a:solidFill>
              <a:srgbClr val="EF3D60">
                <a:alpha val="50999"/>
              </a:srgbClr>
            </a:solidFill>
          </p:spPr>
          <p:txBody>
            <a:bodyPr wrap="square" lIns="0" tIns="0" rIns="0" bIns="0" rtlCol="0"/>
            <a:lstStyle/>
            <a:p>
              <a:endParaRPr sz="2968"/>
            </a:p>
          </p:txBody>
        </p:sp>
        <p:sp>
          <p:nvSpPr>
            <p:cNvPr id="176" name="object 174">
              <a:extLst>
                <a:ext uri="{FF2B5EF4-FFF2-40B4-BE49-F238E27FC236}">
                  <a16:creationId xmlns:a16="http://schemas.microsoft.com/office/drawing/2014/main" id="{218F58D9-47B5-624E-B4A6-F543D560358B}"/>
                </a:ext>
              </a:extLst>
            </p:cNvPr>
            <p:cNvSpPr/>
            <p:nvPr/>
          </p:nvSpPr>
          <p:spPr>
            <a:xfrm>
              <a:off x="12735158" y="3371744"/>
              <a:ext cx="86842" cy="86829"/>
            </a:xfrm>
            <a:prstGeom prst="rect">
              <a:avLst/>
            </a:prstGeom>
            <a:blipFill>
              <a:blip r:embed="rId5" cstate="print"/>
              <a:stretch>
                <a:fillRect/>
              </a:stretch>
            </a:blipFill>
          </p:spPr>
          <p:txBody>
            <a:bodyPr wrap="square" lIns="0" tIns="0" rIns="0" bIns="0" rtlCol="0"/>
            <a:lstStyle/>
            <a:p>
              <a:endParaRPr sz="2968"/>
            </a:p>
          </p:txBody>
        </p:sp>
        <p:sp>
          <p:nvSpPr>
            <p:cNvPr id="177" name="object 175">
              <a:extLst>
                <a:ext uri="{FF2B5EF4-FFF2-40B4-BE49-F238E27FC236}">
                  <a16:creationId xmlns:a16="http://schemas.microsoft.com/office/drawing/2014/main" id="{FBA7E2F2-033E-CA4D-901A-648AA60E088F}"/>
                </a:ext>
              </a:extLst>
            </p:cNvPr>
            <p:cNvSpPr/>
            <p:nvPr/>
          </p:nvSpPr>
          <p:spPr>
            <a:xfrm>
              <a:off x="11772488" y="3463461"/>
              <a:ext cx="86842" cy="86829"/>
            </a:xfrm>
            <a:prstGeom prst="rect">
              <a:avLst/>
            </a:prstGeom>
            <a:blipFill>
              <a:blip r:embed="rId5" cstate="print"/>
              <a:stretch>
                <a:fillRect/>
              </a:stretch>
            </a:blipFill>
          </p:spPr>
          <p:txBody>
            <a:bodyPr wrap="square" lIns="0" tIns="0" rIns="0" bIns="0" rtlCol="0"/>
            <a:lstStyle/>
            <a:p>
              <a:endParaRPr sz="2968"/>
            </a:p>
          </p:txBody>
        </p:sp>
        <p:sp>
          <p:nvSpPr>
            <p:cNvPr id="178" name="object 176">
              <a:extLst>
                <a:ext uri="{FF2B5EF4-FFF2-40B4-BE49-F238E27FC236}">
                  <a16:creationId xmlns:a16="http://schemas.microsoft.com/office/drawing/2014/main" id="{4B26D714-B366-814D-A6A3-162C43E86F02}"/>
                </a:ext>
              </a:extLst>
            </p:cNvPr>
            <p:cNvSpPr/>
            <p:nvPr/>
          </p:nvSpPr>
          <p:spPr>
            <a:xfrm>
              <a:off x="13285192" y="3325916"/>
              <a:ext cx="86842" cy="86842"/>
            </a:xfrm>
            <a:prstGeom prst="rect">
              <a:avLst/>
            </a:prstGeom>
            <a:blipFill>
              <a:blip r:embed="rId29" cstate="print"/>
              <a:stretch>
                <a:fillRect/>
              </a:stretch>
            </a:blipFill>
          </p:spPr>
          <p:txBody>
            <a:bodyPr wrap="square" lIns="0" tIns="0" rIns="0" bIns="0" rtlCol="0"/>
            <a:lstStyle/>
            <a:p>
              <a:endParaRPr sz="2968"/>
            </a:p>
          </p:txBody>
        </p:sp>
        <p:sp>
          <p:nvSpPr>
            <p:cNvPr id="179" name="object 177">
              <a:extLst>
                <a:ext uri="{FF2B5EF4-FFF2-40B4-BE49-F238E27FC236}">
                  <a16:creationId xmlns:a16="http://schemas.microsoft.com/office/drawing/2014/main" id="{87D813BD-1AB8-2447-AE4B-C300BC7C433E}"/>
                </a:ext>
              </a:extLst>
            </p:cNvPr>
            <p:cNvSpPr/>
            <p:nvPr/>
          </p:nvSpPr>
          <p:spPr>
            <a:xfrm>
              <a:off x="10534809" y="3600974"/>
              <a:ext cx="86842" cy="86829"/>
            </a:xfrm>
            <a:prstGeom prst="rect">
              <a:avLst/>
            </a:prstGeom>
            <a:blipFill>
              <a:blip r:embed="rId8" cstate="print"/>
              <a:stretch>
                <a:fillRect/>
              </a:stretch>
            </a:blipFill>
          </p:spPr>
          <p:txBody>
            <a:bodyPr wrap="square" lIns="0" tIns="0" rIns="0" bIns="0" rtlCol="0"/>
            <a:lstStyle/>
            <a:p>
              <a:endParaRPr sz="2968"/>
            </a:p>
          </p:txBody>
        </p:sp>
        <p:sp>
          <p:nvSpPr>
            <p:cNvPr id="180" name="object 178">
              <a:extLst>
                <a:ext uri="{FF2B5EF4-FFF2-40B4-BE49-F238E27FC236}">
                  <a16:creationId xmlns:a16="http://schemas.microsoft.com/office/drawing/2014/main" id="{82014BAD-5723-D243-8CD3-E18F15258A5A}"/>
                </a:ext>
              </a:extLst>
            </p:cNvPr>
            <p:cNvSpPr/>
            <p:nvPr/>
          </p:nvSpPr>
          <p:spPr>
            <a:xfrm>
              <a:off x="11749609" y="4219787"/>
              <a:ext cx="86829" cy="86829"/>
            </a:xfrm>
            <a:prstGeom prst="rect">
              <a:avLst/>
            </a:prstGeom>
            <a:blipFill>
              <a:blip r:embed="rId5" cstate="print"/>
              <a:stretch>
                <a:fillRect/>
              </a:stretch>
            </a:blipFill>
          </p:spPr>
          <p:txBody>
            <a:bodyPr wrap="square" lIns="0" tIns="0" rIns="0" bIns="0" rtlCol="0"/>
            <a:lstStyle/>
            <a:p>
              <a:endParaRPr sz="2968"/>
            </a:p>
          </p:txBody>
        </p:sp>
        <p:sp>
          <p:nvSpPr>
            <p:cNvPr id="181" name="object 179">
              <a:extLst>
                <a:ext uri="{FF2B5EF4-FFF2-40B4-BE49-F238E27FC236}">
                  <a16:creationId xmlns:a16="http://schemas.microsoft.com/office/drawing/2014/main" id="{14E08E82-D3A5-A74D-AB0E-3CDD8D09D9C8}"/>
                </a:ext>
              </a:extLst>
            </p:cNvPr>
            <p:cNvSpPr/>
            <p:nvPr/>
          </p:nvSpPr>
          <p:spPr>
            <a:xfrm>
              <a:off x="12849790" y="6007539"/>
              <a:ext cx="86842" cy="86829"/>
            </a:xfrm>
            <a:prstGeom prst="rect">
              <a:avLst/>
            </a:prstGeom>
            <a:blipFill>
              <a:blip r:embed="rId30" cstate="print"/>
              <a:stretch>
                <a:fillRect/>
              </a:stretch>
            </a:blipFill>
          </p:spPr>
          <p:txBody>
            <a:bodyPr wrap="square" lIns="0" tIns="0" rIns="0" bIns="0" rtlCol="0"/>
            <a:lstStyle/>
            <a:p>
              <a:endParaRPr sz="2968"/>
            </a:p>
          </p:txBody>
        </p:sp>
        <p:sp>
          <p:nvSpPr>
            <p:cNvPr id="182" name="object 180">
              <a:extLst>
                <a:ext uri="{FF2B5EF4-FFF2-40B4-BE49-F238E27FC236}">
                  <a16:creationId xmlns:a16="http://schemas.microsoft.com/office/drawing/2014/main" id="{AC0D7F21-AE53-DB4D-BA35-E85617987ABC}"/>
                </a:ext>
              </a:extLst>
            </p:cNvPr>
            <p:cNvSpPr/>
            <p:nvPr/>
          </p:nvSpPr>
          <p:spPr>
            <a:xfrm>
              <a:off x="13537333" y="3600974"/>
              <a:ext cx="86842" cy="86829"/>
            </a:xfrm>
            <a:prstGeom prst="rect">
              <a:avLst/>
            </a:prstGeom>
            <a:blipFill>
              <a:blip r:embed="rId31" cstate="print"/>
              <a:stretch>
                <a:fillRect/>
              </a:stretch>
            </a:blipFill>
          </p:spPr>
          <p:txBody>
            <a:bodyPr wrap="square" lIns="0" tIns="0" rIns="0" bIns="0" rtlCol="0"/>
            <a:lstStyle/>
            <a:p>
              <a:endParaRPr sz="2968"/>
            </a:p>
          </p:txBody>
        </p:sp>
        <p:sp>
          <p:nvSpPr>
            <p:cNvPr id="183" name="object 181">
              <a:extLst>
                <a:ext uri="{FF2B5EF4-FFF2-40B4-BE49-F238E27FC236}">
                  <a16:creationId xmlns:a16="http://schemas.microsoft.com/office/drawing/2014/main" id="{86863256-7DFA-F448-9CBC-46B05A8E9CC7}"/>
                </a:ext>
              </a:extLst>
            </p:cNvPr>
            <p:cNvSpPr/>
            <p:nvPr/>
          </p:nvSpPr>
          <p:spPr>
            <a:xfrm>
              <a:off x="12368441" y="2363320"/>
              <a:ext cx="86842" cy="86829"/>
            </a:xfrm>
            <a:prstGeom prst="rect">
              <a:avLst/>
            </a:prstGeom>
            <a:blipFill>
              <a:blip r:embed="rId32" cstate="print"/>
              <a:stretch>
                <a:fillRect/>
              </a:stretch>
            </a:blipFill>
          </p:spPr>
          <p:txBody>
            <a:bodyPr wrap="square" lIns="0" tIns="0" rIns="0" bIns="0" rtlCol="0"/>
            <a:lstStyle/>
            <a:p>
              <a:endParaRPr sz="2968"/>
            </a:p>
          </p:txBody>
        </p:sp>
        <p:sp>
          <p:nvSpPr>
            <p:cNvPr id="184" name="object 182">
              <a:extLst>
                <a:ext uri="{FF2B5EF4-FFF2-40B4-BE49-F238E27FC236}">
                  <a16:creationId xmlns:a16="http://schemas.microsoft.com/office/drawing/2014/main" id="{2500ACAD-F6A9-BB49-8B44-DC028FAF0B6E}"/>
                </a:ext>
              </a:extLst>
            </p:cNvPr>
            <p:cNvSpPr/>
            <p:nvPr/>
          </p:nvSpPr>
          <p:spPr>
            <a:xfrm>
              <a:off x="13606138" y="3050901"/>
              <a:ext cx="73857" cy="86829"/>
            </a:xfrm>
            <a:prstGeom prst="rect">
              <a:avLst/>
            </a:prstGeom>
            <a:blipFill>
              <a:blip r:embed="rId33" cstate="print"/>
              <a:stretch>
                <a:fillRect/>
              </a:stretch>
            </a:blipFill>
          </p:spPr>
          <p:txBody>
            <a:bodyPr wrap="square" lIns="0" tIns="0" rIns="0" bIns="0" rtlCol="0"/>
            <a:lstStyle/>
            <a:p>
              <a:endParaRPr sz="2968"/>
            </a:p>
          </p:txBody>
        </p:sp>
        <p:sp>
          <p:nvSpPr>
            <p:cNvPr id="185" name="object 183">
              <a:extLst>
                <a:ext uri="{FF2B5EF4-FFF2-40B4-BE49-F238E27FC236}">
                  <a16:creationId xmlns:a16="http://schemas.microsoft.com/office/drawing/2014/main" id="{CF4F3B22-E777-C647-A22F-7B572B48905A}"/>
                </a:ext>
              </a:extLst>
            </p:cNvPr>
            <p:cNvSpPr/>
            <p:nvPr/>
          </p:nvSpPr>
          <p:spPr>
            <a:xfrm>
              <a:off x="12437171" y="3050901"/>
              <a:ext cx="86840" cy="86829"/>
            </a:xfrm>
            <a:prstGeom prst="rect">
              <a:avLst/>
            </a:prstGeom>
            <a:blipFill>
              <a:blip r:embed="rId34" cstate="print"/>
              <a:stretch>
                <a:fillRect/>
              </a:stretch>
            </a:blipFill>
          </p:spPr>
          <p:txBody>
            <a:bodyPr wrap="square" lIns="0" tIns="0" rIns="0" bIns="0" rtlCol="0"/>
            <a:lstStyle/>
            <a:p>
              <a:endParaRPr sz="2968"/>
            </a:p>
          </p:txBody>
        </p:sp>
        <p:sp>
          <p:nvSpPr>
            <p:cNvPr id="186" name="object 184">
              <a:extLst>
                <a:ext uri="{FF2B5EF4-FFF2-40B4-BE49-F238E27FC236}">
                  <a16:creationId xmlns:a16="http://schemas.microsoft.com/office/drawing/2014/main" id="{28C2B149-3AE1-5642-8836-C86ED47110B9}"/>
                </a:ext>
              </a:extLst>
            </p:cNvPr>
            <p:cNvSpPr/>
            <p:nvPr/>
          </p:nvSpPr>
          <p:spPr>
            <a:xfrm>
              <a:off x="10649442" y="2913378"/>
              <a:ext cx="86842" cy="86829"/>
            </a:xfrm>
            <a:prstGeom prst="rect">
              <a:avLst/>
            </a:prstGeom>
            <a:blipFill>
              <a:blip r:embed="rId13" cstate="print"/>
              <a:stretch>
                <a:fillRect/>
              </a:stretch>
            </a:blipFill>
          </p:spPr>
          <p:txBody>
            <a:bodyPr wrap="square" lIns="0" tIns="0" rIns="0" bIns="0" rtlCol="0"/>
            <a:lstStyle/>
            <a:p>
              <a:endParaRPr sz="2968"/>
            </a:p>
          </p:txBody>
        </p:sp>
        <p:sp>
          <p:nvSpPr>
            <p:cNvPr id="187" name="object 185">
              <a:extLst>
                <a:ext uri="{FF2B5EF4-FFF2-40B4-BE49-F238E27FC236}">
                  <a16:creationId xmlns:a16="http://schemas.microsoft.com/office/drawing/2014/main" id="{B9A56B8E-463C-3D4D-AEAE-8240F8B0C366}"/>
                </a:ext>
              </a:extLst>
            </p:cNvPr>
            <p:cNvSpPr/>
            <p:nvPr/>
          </p:nvSpPr>
          <p:spPr>
            <a:xfrm>
              <a:off x="11474571" y="2225781"/>
              <a:ext cx="86842" cy="86842"/>
            </a:xfrm>
            <a:prstGeom prst="rect">
              <a:avLst/>
            </a:prstGeom>
            <a:blipFill>
              <a:blip r:embed="rId35" cstate="print"/>
              <a:stretch>
                <a:fillRect/>
              </a:stretch>
            </a:blipFill>
          </p:spPr>
          <p:txBody>
            <a:bodyPr wrap="square" lIns="0" tIns="0" rIns="0" bIns="0" rtlCol="0"/>
            <a:lstStyle/>
            <a:p>
              <a:endParaRPr sz="2968"/>
            </a:p>
          </p:txBody>
        </p:sp>
        <p:sp>
          <p:nvSpPr>
            <p:cNvPr id="188" name="object 186">
              <a:extLst>
                <a:ext uri="{FF2B5EF4-FFF2-40B4-BE49-F238E27FC236}">
                  <a16:creationId xmlns:a16="http://schemas.microsoft.com/office/drawing/2014/main" id="{2891912C-1695-2E4D-8605-844C2ACE1BB9}"/>
                </a:ext>
              </a:extLst>
            </p:cNvPr>
            <p:cNvSpPr/>
            <p:nvPr/>
          </p:nvSpPr>
          <p:spPr>
            <a:xfrm>
              <a:off x="10718225" y="4701136"/>
              <a:ext cx="86842" cy="86829"/>
            </a:xfrm>
            <a:prstGeom prst="rect">
              <a:avLst/>
            </a:prstGeom>
            <a:blipFill>
              <a:blip r:embed="rId5" cstate="print"/>
              <a:stretch>
                <a:fillRect/>
              </a:stretch>
            </a:blipFill>
          </p:spPr>
          <p:txBody>
            <a:bodyPr wrap="square" lIns="0" tIns="0" rIns="0" bIns="0" rtlCol="0"/>
            <a:lstStyle/>
            <a:p>
              <a:endParaRPr sz="2968"/>
            </a:p>
          </p:txBody>
        </p:sp>
        <p:sp>
          <p:nvSpPr>
            <p:cNvPr id="189" name="object 187">
              <a:extLst>
                <a:ext uri="{FF2B5EF4-FFF2-40B4-BE49-F238E27FC236}">
                  <a16:creationId xmlns:a16="http://schemas.microsoft.com/office/drawing/2014/main" id="{C15FCD9A-2DF2-DE40-A7CB-532F67763772}"/>
                </a:ext>
              </a:extLst>
            </p:cNvPr>
            <p:cNvSpPr/>
            <p:nvPr/>
          </p:nvSpPr>
          <p:spPr>
            <a:xfrm>
              <a:off x="11864226" y="4930340"/>
              <a:ext cx="86842" cy="86829"/>
            </a:xfrm>
            <a:prstGeom prst="rect">
              <a:avLst/>
            </a:prstGeom>
            <a:blipFill>
              <a:blip r:embed="rId36" cstate="print"/>
              <a:stretch>
                <a:fillRect/>
              </a:stretch>
            </a:blipFill>
          </p:spPr>
          <p:txBody>
            <a:bodyPr wrap="square" lIns="0" tIns="0" rIns="0" bIns="0" rtlCol="0"/>
            <a:lstStyle/>
            <a:p>
              <a:endParaRPr sz="2968"/>
            </a:p>
          </p:txBody>
        </p:sp>
      </p:grpSp>
    </p:spTree>
    <p:extLst>
      <p:ext uri="{BB962C8B-B14F-4D97-AF65-F5344CB8AC3E}">
        <p14:creationId xmlns:p14="http://schemas.microsoft.com/office/powerpoint/2010/main" val="2335380088"/>
      </p:ext>
    </p:extLst>
  </p:cSld>
  <p:clrMapOvr>
    <a:overrideClrMapping bg1="lt1" tx1="dk1" bg2="lt2" tx2="dk2" accent1="accent1" accent2="accent2" accent3="accent3" accent4="accent4" accent5="accent5" accent6="accent6" hlink="hlink" folHlink="folHlink"/>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Contents-tilte white - 58px-purple background">
    <p:bg>
      <p:bgPr>
        <a:solidFill>
          <a:schemeClr val="tx2"/>
        </a:solidFill>
        <a:effectLst/>
      </p:bgPr>
    </p:bg>
    <p:spTree>
      <p:nvGrpSpPr>
        <p:cNvPr id="1" name=""/>
        <p:cNvGrpSpPr/>
        <p:nvPr/>
      </p:nvGrpSpPr>
      <p:grpSpPr>
        <a:xfrm>
          <a:off x="0" y="0"/>
          <a:ext cx="0" cy="0"/>
          <a:chOff x="0" y="0"/>
          <a:chExt cx="0" cy="0"/>
        </a:xfrm>
      </p:grpSpPr>
      <p:sp>
        <p:nvSpPr>
          <p:cNvPr id="14" name="Marcador de texto 19">
            <a:extLst>
              <a:ext uri="{FF2B5EF4-FFF2-40B4-BE49-F238E27FC236}">
                <a16:creationId xmlns:a16="http://schemas.microsoft.com/office/drawing/2014/main" id="{F0A5F956-78D9-483E-8513-18F922BFD069}"/>
              </a:ext>
            </a:extLst>
          </p:cNvPr>
          <p:cNvSpPr>
            <a:spLocks noGrp="1"/>
          </p:cNvSpPr>
          <p:nvPr>
            <p:ph type="body" sz="quarter" idx="10" hasCustomPrompt="1"/>
          </p:nvPr>
        </p:nvSpPr>
        <p:spPr>
          <a:xfrm>
            <a:off x="17185412" y="389504"/>
            <a:ext cx="2985439" cy="250572"/>
          </a:xfrm>
          <a:noFill/>
        </p:spPr>
        <p:txBody>
          <a:bodyPr wrap="square" lIns="0" tIns="0" rIns="0" bIns="0" rtlCol="0" anchor="ctr">
            <a:noAutofit/>
          </a:bodyPr>
          <a:lstStyle>
            <a:lvl1pPr marL="0" indent="0">
              <a:buNone/>
              <a:defRPr lang="es-ES" sz="1319" b="0" smtClean="0">
                <a:solidFill>
                  <a:schemeClr val="bg1"/>
                </a:solidFill>
              </a:defRPr>
            </a:lvl1pPr>
            <a:lvl2pPr marL="376961" indent="0">
              <a:buNone/>
              <a:defRPr lang="es-ES" sz="2968" smtClean="0"/>
            </a:lvl2pPr>
            <a:lvl3pPr marL="1130884" indent="0">
              <a:buNone/>
              <a:defRPr lang="es-ES" sz="2968" smtClean="0"/>
            </a:lvl3pPr>
            <a:lvl4pPr marL="1790567" indent="0">
              <a:buFont typeface="Arial" panose="020B0604020202020204" pitchFamily="34" charset="0"/>
              <a:buNone/>
              <a:defRPr lang="es-ES" smtClean="0"/>
            </a:lvl4pPr>
            <a:lvl5pPr marL="2638730" indent="0">
              <a:buNone/>
              <a:defRPr lang="es-ES"/>
            </a:lvl5pPr>
          </a:lstStyle>
          <a:p>
            <a:pPr marL="0" lvl="0"/>
            <a:r>
              <a:rPr lang="es-ES" noProof="0" dirty="0"/>
              <a:t>D</a:t>
            </a:r>
            <a:r>
              <a:rPr lang="en-GB" noProof="0" dirty="0" err="1"/>
              <a:t>ocument</a:t>
            </a:r>
            <a:r>
              <a:rPr lang="en-GB" noProof="0" dirty="0"/>
              <a:t> Title</a:t>
            </a:r>
          </a:p>
        </p:txBody>
      </p:sp>
      <p:pic>
        <p:nvPicPr>
          <p:cNvPr id="5" name="Imagen 18">
            <a:extLst>
              <a:ext uri="{FF2B5EF4-FFF2-40B4-BE49-F238E27FC236}">
                <a16:creationId xmlns:a16="http://schemas.microsoft.com/office/drawing/2014/main" id="{0210973B-74F8-4A55-A1EE-70AA8DC58AD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206379" y="10190981"/>
            <a:ext cx="1167349" cy="583716"/>
          </a:xfrm>
          <a:prstGeom prst="rect">
            <a:avLst/>
          </a:prstGeom>
        </p:spPr>
      </p:pic>
      <p:sp>
        <p:nvSpPr>
          <p:cNvPr id="6" name="Title 10">
            <a:extLst>
              <a:ext uri="{FF2B5EF4-FFF2-40B4-BE49-F238E27FC236}">
                <a16:creationId xmlns:a16="http://schemas.microsoft.com/office/drawing/2014/main" id="{E301087C-BD2B-7541-9238-92B3F39DCBCA}"/>
              </a:ext>
            </a:extLst>
          </p:cNvPr>
          <p:cNvSpPr>
            <a:spLocks noGrp="1"/>
          </p:cNvSpPr>
          <p:nvPr>
            <p:ph type="title" hasCustomPrompt="1"/>
          </p:nvPr>
        </p:nvSpPr>
        <p:spPr>
          <a:xfrm>
            <a:off x="615163" y="396486"/>
            <a:ext cx="8682983" cy="2546037"/>
          </a:xfrm>
        </p:spPr>
        <p:txBody>
          <a:bodyPr anchor="t">
            <a:normAutofit/>
          </a:bodyPr>
          <a:lstStyle>
            <a:lvl1pPr>
              <a:lnSpc>
                <a:spcPts val="8905"/>
              </a:lnSpc>
              <a:defRPr sz="9564">
                <a:solidFill>
                  <a:schemeClr val="bg1"/>
                </a:solidFill>
              </a:defRPr>
            </a:lvl1pPr>
          </a:lstStyle>
          <a:p>
            <a:r>
              <a:rPr lang="en-GB" noProof="0"/>
              <a:t>Title</a:t>
            </a:r>
          </a:p>
        </p:txBody>
      </p:sp>
    </p:spTree>
    <p:extLst>
      <p:ext uri="{BB962C8B-B14F-4D97-AF65-F5344CB8AC3E}">
        <p14:creationId xmlns:p14="http://schemas.microsoft.com/office/powerpoint/2010/main" val="2387522289"/>
      </p:ext>
    </p:extLst>
  </p:cSld>
  <p:clrMapOvr>
    <a:overrideClrMapping bg1="lt1" tx1="dk1" bg2="lt2" tx2="dk2" accent1="accent1" accent2="accent2" accent3="accent3" accent4="accent4" accent5="accent5" accent6="accent6" hlink="hlink" folHlink="folHlink"/>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Contents-tilte white - 40px-purple background">
    <p:bg>
      <p:bgPr>
        <a:solidFill>
          <a:schemeClr val="tx2"/>
        </a:solidFill>
        <a:effectLst/>
      </p:bgPr>
    </p:bg>
    <p:spTree>
      <p:nvGrpSpPr>
        <p:cNvPr id="1" name=""/>
        <p:cNvGrpSpPr/>
        <p:nvPr/>
      </p:nvGrpSpPr>
      <p:grpSpPr>
        <a:xfrm>
          <a:off x="0" y="0"/>
          <a:ext cx="0" cy="0"/>
          <a:chOff x="0" y="0"/>
          <a:chExt cx="0" cy="0"/>
        </a:xfrm>
      </p:grpSpPr>
      <p:sp>
        <p:nvSpPr>
          <p:cNvPr id="14" name="Marcador de texto 19">
            <a:extLst>
              <a:ext uri="{FF2B5EF4-FFF2-40B4-BE49-F238E27FC236}">
                <a16:creationId xmlns:a16="http://schemas.microsoft.com/office/drawing/2014/main" id="{F0A5F956-78D9-483E-8513-18F922BFD069}"/>
              </a:ext>
            </a:extLst>
          </p:cNvPr>
          <p:cNvSpPr>
            <a:spLocks noGrp="1"/>
          </p:cNvSpPr>
          <p:nvPr>
            <p:ph type="body" sz="quarter" idx="10" hasCustomPrompt="1"/>
          </p:nvPr>
        </p:nvSpPr>
        <p:spPr>
          <a:xfrm>
            <a:off x="17185412" y="389504"/>
            <a:ext cx="2985439" cy="250572"/>
          </a:xfrm>
          <a:noFill/>
        </p:spPr>
        <p:txBody>
          <a:bodyPr wrap="square" lIns="0" tIns="0" rIns="0" bIns="0" rtlCol="0" anchor="ctr">
            <a:noAutofit/>
          </a:bodyPr>
          <a:lstStyle>
            <a:lvl1pPr marL="0" indent="0">
              <a:buNone/>
              <a:defRPr lang="es-ES" sz="1319" b="0" smtClean="0">
                <a:solidFill>
                  <a:schemeClr val="bg1"/>
                </a:solidFill>
              </a:defRPr>
            </a:lvl1pPr>
            <a:lvl2pPr marL="376961" indent="0">
              <a:buNone/>
              <a:defRPr lang="es-ES" sz="2968" smtClean="0"/>
            </a:lvl2pPr>
            <a:lvl3pPr marL="1130884" indent="0">
              <a:buNone/>
              <a:defRPr lang="es-ES" sz="2968" smtClean="0"/>
            </a:lvl3pPr>
            <a:lvl4pPr marL="1790567" indent="0">
              <a:buFont typeface="Arial" panose="020B0604020202020204" pitchFamily="34" charset="0"/>
              <a:buNone/>
              <a:defRPr lang="es-ES" smtClean="0"/>
            </a:lvl4pPr>
            <a:lvl5pPr marL="2638730" indent="0">
              <a:buNone/>
              <a:defRPr lang="es-ES"/>
            </a:lvl5pPr>
          </a:lstStyle>
          <a:p>
            <a:pPr marL="0" lvl="0"/>
            <a:r>
              <a:rPr lang="es-ES" noProof="0" dirty="0"/>
              <a:t>D</a:t>
            </a:r>
            <a:r>
              <a:rPr lang="en-GB" noProof="0" dirty="0" err="1"/>
              <a:t>ocument</a:t>
            </a:r>
            <a:r>
              <a:rPr lang="en-GB" noProof="0" dirty="0"/>
              <a:t> Title</a:t>
            </a:r>
          </a:p>
        </p:txBody>
      </p:sp>
      <p:sp>
        <p:nvSpPr>
          <p:cNvPr id="11" name="Title 10">
            <a:extLst>
              <a:ext uri="{FF2B5EF4-FFF2-40B4-BE49-F238E27FC236}">
                <a16:creationId xmlns:a16="http://schemas.microsoft.com/office/drawing/2014/main" id="{B384F1BB-96E7-4D3C-AEA6-2038C6C940A2}"/>
              </a:ext>
            </a:extLst>
          </p:cNvPr>
          <p:cNvSpPr>
            <a:spLocks noGrp="1"/>
          </p:cNvSpPr>
          <p:nvPr>
            <p:ph type="title" hasCustomPrompt="1"/>
          </p:nvPr>
        </p:nvSpPr>
        <p:spPr>
          <a:xfrm>
            <a:off x="615163" y="396486"/>
            <a:ext cx="8682983" cy="2546037"/>
          </a:xfrm>
        </p:spPr>
        <p:txBody>
          <a:bodyPr anchor="t">
            <a:normAutofit/>
          </a:bodyPr>
          <a:lstStyle>
            <a:lvl1pPr>
              <a:lnSpc>
                <a:spcPts val="9234"/>
              </a:lnSpc>
              <a:defRPr sz="6596">
                <a:solidFill>
                  <a:schemeClr val="bg1"/>
                </a:solidFill>
              </a:defRPr>
            </a:lvl1pPr>
          </a:lstStyle>
          <a:p>
            <a:r>
              <a:rPr lang="en-GB" noProof="0" dirty="0"/>
              <a:t>Title</a:t>
            </a:r>
          </a:p>
        </p:txBody>
      </p:sp>
      <p:pic>
        <p:nvPicPr>
          <p:cNvPr id="5" name="Imagen 18">
            <a:extLst>
              <a:ext uri="{FF2B5EF4-FFF2-40B4-BE49-F238E27FC236}">
                <a16:creationId xmlns:a16="http://schemas.microsoft.com/office/drawing/2014/main" id="{0210973B-74F8-4A55-A1EE-70AA8DC58AD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206379" y="10190981"/>
            <a:ext cx="1167349" cy="583716"/>
          </a:xfrm>
          <a:prstGeom prst="rect">
            <a:avLst/>
          </a:prstGeom>
        </p:spPr>
      </p:pic>
    </p:spTree>
    <p:extLst>
      <p:ext uri="{BB962C8B-B14F-4D97-AF65-F5344CB8AC3E}">
        <p14:creationId xmlns:p14="http://schemas.microsoft.com/office/powerpoint/2010/main" val="1136078806"/>
      </p:ext>
    </p:extLst>
  </p:cSld>
  <p:clrMapOvr>
    <a:overrideClrMapping bg1="lt1" tx1="dk1" bg2="lt2" tx2="dk2" accent1="accent1" accent2="accent2" accent3="accent3" accent4="accent4" accent5="accent5" accent6="accent6" hlink="hlink" folHlink="folHlink"/>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Index 1">
    <p:bg>
      <p:bgPr>
        <a:solidFill>
          <a:schemeClr val="tx2"/>
        </a:solidFill>
        <a:effectLst/>
      </p:bgPr>
    </p:bg>
    <p:spTree>
      <p:nvGrpSpPr>
        <p:cNvPr id="1" name=""/>
        <p:cNvGrpSpPr/>
        <p:nvPr/>
      </p:nvGrpSpPr>
      <p:grpSpPr>
        <a:xfrm>
          <a:off x="0" y="0"/>
          <a:ext cx="0" cy="0"/>
          <a:chOff x="0" y="0"/>
          <a:chExt cx="0" cy="0"/>
        </a:xfrm>
      </p:grpSpPr>
      <p:sp>
        <p:nvSpPr>
          <p:cNvPr id="14" name="Marcador de texto 19">
            <a:extLst>
              <a:ext uri="{FF2B5EF4-FFF2-40B4-BE49-F238E27FC236}">
                <a16:creationId xmlns:a16="http://schemas.microsoft.com/office/drawing/2014/main" id="{F0A5F956-78D9-483E-8513-18F922BFD069}"/>
              </a:ext>
            </a:extLst>
          </p:cNvPr>
          <p:cNvSpPr>
            <a:spLocks noGrp="1"/>
          </p:cNvSpPr>
          <p:nvPr>
            <p:ph type="body" sz="quarter" idx="10" hasCustomPrompt="1"/>
          </p:nvPr>
        </p:nvSpPr>
        <p:spPr>
          <a:xfrm>
            <a:off x="17185412" y="389504"/>
            <a:ext cx="2985439" cy="250572"/>
          </a:xfrm>
          <a:noFill/>
        </p:spPr>
        <p:txBody>
          <a:bodyPr wrap="square" lIns="0" tIns="0" rIns="0" bIns="0" rtlCol="0" anchor="ctr">
            <a:noAutofit/>
          </a:bodyPr>
          <a:lstStyle>
            <a:lvl1pPr marL="0" indent="0">
              <a:buNone/>
              <a:defRPr lang="es-ES" sz="1319" b="0" smtClean="0">
                <a:solidFill>
                  <a:schemeClr val="bg1"/>
                </a:solidFill>
              </a:defRPr>
            </a:lvl1pPr>
            <a:lvl2pPr marL="376961" indent="0">
              <a:buNone/>
              <a:defRPr lang="es-ES" sz="2968" smtClean="0"/>
            </a:lvl2pPr>
            <a:lvl3pPr marL="1130884" indent="0">
              <a:buNone/>
              <a:defRPr lang="es-ES" sz="2968" smtClean="0"/>
            </a:lvl3pPr>
            <a:lvl4pPr marL="1790567" indent="0">
              <a:buFont typeface="Arial" panose="020B0604020202020204" pitchFamily="34" charset="0"/>
              <a:buNone/>
              <a:defRPr lang="es-ES" smtClean="0"/>
            </a:lvl4pPr>
            <a:lvl5pPr marL="2638730" indent="0">
              <a:buNone/>
              <a:defRPr lang="es-ES"/>
            </a:lvl5pPr>
          </a:lstStyle>
          <a:p>
            <a:pPr marL="0" lvl="0"/>
            <a:r>
              <a:rPr lang="es-ES" noProof="0" dirty="0"/>
              <a:t>D</a:t>
            </a:r>
            <a:r>
              <a:rPr lang="en-GB" noProof="0" dirty="0" err="1"/>
              <a:t>ocument</a:t>
            </a:r>
            <a:r>
              <a:rPr lang="en-GB" noProof="0" dirty="0"/>
              <a:t> Title</a:t>
            </a:r>
          </a:p>
        </p:txBody>
      </p:sp>
      <p:sp>
        <p:nvSpPr>
          <p:cNvPr id="11" name="Title 10">
            <a:extLst>
              <a:ext uri="{FF2B5EF4-FFF2-40B4-BE49-F238E27FC236}">
                <a16:creationId xmlns:a16="http://schemas.microsoft.com/office/drawing/2014/main" id="{B384F1BB-96E7-4D3C-AEA6-2038C6C940A2}"/>
              </a:ext>
            </a:extLst>
          </p:cNvPr>
          <p:cNvSpPr>
            <a:spLocks noGrp="1"/>
          </p:cNvSpPr>
          <p:nvPr>
            <p:ph type="title" hasCustomPrompt="1"/>
          </p:nvPr>
        </p:nvSpPr>
        <p:spPr>
          <a:xfrm>
            <a:off x="615163" y="396486"/>
            <a:ext cx="8682983" cy="1258031"/>
          </a:xfrm>
        </p:spPr>
        <p:txBody>
          <a:bodyPr anchor="t">
            <a:normAutofit/>
          </a:bodyPr>
          <a:lstStyle>
            <a:lvl1pPr>
              <a:lnSpc>
                <a:spcPct val="100000"/>
              </a:lnSpc>
              <a:defRPr sz="2968">
                <a:solidFill>
                  <a:schemeClr val="bg1"/>
                </a:solidFill>
              </a:defRPr>
            </a:lvl1pPr>
          </a:lstStyle>
          <a:p>
            <a:r>
              <a:rPr lang="en-GB" noProof="0" dirty="0"/>
              <a:t>Index</a:t>
            </a:r>
          </a:p>
        </p:txBody>
      </p:sp>
      <p:pic>
        <p:nvPicPr>
          <p:cNvPr id="5" name="Imagen 18">
            <a:extLst>
              <a:ext uri="{FF2B5EF4-FFF2-40B4-BE49-F238E27FC236}">
                <a16:creationId xmlns:a16="http://schemas.microsoft.com/office/drawing/2014/main" id="{0210973B-74F8-4A55-A1EE-70AA8DC58AD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206379" y="10190981"/>
            <a:ext cx="1167349" cy="583716"/>
          </a:xfrm>
          <a:prstGeom prst="rect">
            <a:avLst/>
          </a:prstGeom>
        </p:spPr>
      </p:pic>
    </p:spTree>
    <p:extLst>
      <p:ext uri="{BB962C8B-B14F-4D97-AF65-F5344CB8AC3E}">
        <p14:creationId xmlns:p14="http://schemas.microsoft.com/office/powerpoint/2010/main" val="2258611730"/>
      </p:ext>
    </p:extLst>
  </p:cSld>
  <p:clrMapOvr>
    <a:overrideClrMapping bg1="lt1" tx1="dk1" bg2="lt2" tx2="dk2" accent1="accent1" accent2="accent2" accent3="accent3" accent4="accent4" accent5="accent5" accent6="accent6" hlink="hlink" folHlink="folHlink"/>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Index 1 - white bakground">
    <p:bg>
      <p:bgRef idx="1001">
        <a:schemeClr val="bg1"/>
      </p:bgRef>
    </p:bg>
    <p:spTree>
      <p:nvGrpSpPr>
        <p:cNvPr id="1" name=""/>
        <p:cNvGrpSpPr/>
        <p:nvPr/>
      </p:nvGrpSpPr>
      <p:grpSpPr>
        <a:xfrm>
          <a:off x="0" y="0"/>
          <a:ext cx="0" cy="0"/>
          <a:chOff x="0" y="0"/>
          <a:chExt cx="0" cy="0"/>
        </a:xfrm>
      </p:grpSpPr>
      <p:sp>
        <p:nvSpPr>
          <p:cNvPr id="14" name="Marcador de texto 19">
            <a:extLst>
              <a:ext uri="{FF2B5EF4-FFF2-40B4-BE49-F238E27FC236}">
                <a16:creationId xmlns:a16="http://schemas.microsoft.com/office/drawing/2014/main" id="{F0A5F956-78D9-483E-8513-18F922BFD069}"/>
              </a:ext>
            </a:extLst>
          </p:cNvPr>
          <p:cNvSpPr>
            <a:spLocks noGrp="1"/>
          </p:cNvSpPr>
          <p:nvPr>
            <p:ph type="body" sz="quarter" idx="10" hasCustomPrompt="1"/>
          </p:nvPr>
        </p:nvSpPr>
        <p:spPr>
          <a:xfrm>
            <a:off x="17185412" y="389504"/>
            <a:ext cx="2985439" cy="250572"/>
          </a:xfrm>
          <a:noFill/>
        </p:spPr>
        <p:txBody>
          <a:bodyPr wrap="square" lIns="0" tIns="0" rIns="0" bIns="0" rtlCol="0" anchor="ctr">
            <a:noAutofit/>
          </a:bodyPr>
          <a:lstStyle>
            <a:lvl1pPr marL="0" indent="0">
              <a:buNone/>
              <a:defRPr lang="es-ES" sz="1319" b="0" smtClean="0">
                <a:solidFill>
                  <a:schemeClr val="tx2"/>
                </a:solidFill>
              </a:defRPr>
            </a:lvl1pPr>
            <a:lvl2pPr marL="376961" indent="0">
              <a:buNone/>
              <a:defRPr lang="es-ES" sz="2968" smtClean="0"/>
            </a:lvl2pPr>
            <a:lvl3pPr marL="1130884" indent="0">
              <a:buNone/>
              <a:defRPr lang="es-ES" sz="2968" smtClean="0"/>
            </a:lvl3pPr>
            <a:lvl4pPr marL="1790567" indent="0">
              <a:buFont typeface="Arial" panose="020B0604020202020204" pitchFamily="34" charset="0"/>
              <a:buNone/>
              <a:defRPr lang="es-ES" smtClean="0"/>
            </a:lvl4pPr>
            <a:lvl5pPr marL="2638730" indent="0">
              <a:buNone/>
              <a:defRPr lang="es-ES"/>
            </a:lvl5pPr>
          </a:lstStyle>
          <a:p>
            <a:pPr marL="0" lvl="0"/>
            <a:r>
              <a:rPr lang="es-ES" noProof="0" dirty="0"/>
              <a:t>D</a:t>
            </a:r>
            <a:r>
              <a:rPr lang="en-GB" noProof="0" dirty="0" err="1"/>
              <a:t>ocument</a:t>
            </a:r>
            <a:r>
              <a:rPr lang="en-GB" noProof="0" dirty="0"/>
              <a:t> Title</a:t>
            </a:r>
          </a:p>
        </p:txBody>
      </p:sp>
      <p:sp>
        <p:nvSpPr>
          <p:cNvPr id="11" name="Title 10">
            <a:extLst>
              <a:ext uri="{FF2B5EF4-FFF2-40B4-BE49-F238E27FC236}">
                <a16:creationId xmlns:a16="http://schemas.microsoft.com/office/drawing/2014/main" id="{B384F1BB-96E7-4D3C-AEA6-2038C6C940A2}"/>
              </a:ext>
            </a:extLst>
          </p:cNvPr>
          <p:cNvSpPr>
            <a:spLocks noGrp="1"/>
          </p:cNvSpPr>
          <p:nvPr>
            <p:ph type="title" hasCustomPrompt="1"/>
          </p:nvPr>
        </p:nvSpPr>
        <p:spPr>
          <a:xfrm>
            <a:off x="615163" y="396486"/>
            <a:ext cx="8682983" cy="1258031"/>
          </a:xfrm>
        </p:spPr>
        <p:txBody>
          <a:bodyPr anchor="t">
            <a:normAutofit/>
          </a:bodyPr>
          <a:lstStyle>
            <a:lvl1pPr>
              <a:lnSpc>
                <a:spcPct val="100000"/>
              </a:lnSpc>
              <a:defRPr sz="2968">
                <a:solidFill>
                  <a:schemeClr val="tx2"/>
                </a:solidFill>
              </a:defRPr>
            </a:lvl1pPr>
          </a:lstStyle>
          <a:p>
            <a:r>
              <a:rPr lang="en-GB" noProof="0" dirty="0"/>
              <a:t>Index</a:t>
            </a:r>
          </a:p>
        </p:txBody>
      </p:sp>
      <p:pic>
        <p:nvPicPr>
          <p:cNvPr id="6" name="Imagen 15">
            <a:extLst>
              <a:ext uri="{FF2B5EF4-FFF2-40B4-BE49-F238E27FC236}">
                <a16:creationId xmlns:a16="http://schemas.microsoft.com/office/drawing/2014/main" id="{453EB7C4-31D5-474A-8970-1E387CA1C2DF}"/>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206627" y="10175274"/>
            <a:ext cx="1170610" cy="607079"/>
          </a:xfrm>
          <a:prstGeom prst="rect">
            <a:avLst/>
          </a:prstGeom>
        </p:spPr>
      </p:pic>
    </p:spTree>
    <p:extLst>
      <p:ext uri="{BB962C8B-B14F-4D97-AF65-F5344CB8AC3E}">
        <p14:creationId xmlns:p14="http://schemas.microsoft.com/office/powerpoint/2010/main" val="3914085222"/>
      </p:ext>
    </p:extLst>
  </p:cSld>
  <p:clrMapOvr>
    <a:overrideClrMapping bg1="lt1" tx1="dk1" bg2="lt2" tx2="dk2" accent1="accent1" accent2="accent2" accent3="accent3" accent4="accent4" accent5="accent5" accent6="accent6" hlink="hlink" folHlink="folHlink"/>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Contents-3 numbering-white background">
    <p:bg>
      <p:bgRef idx="1001">
        <a:schemeClr val="bg1"/>
      </p:bgRef>
    </p:bg>
    <p:spTree>
      <p:nvGrpSpPr>
        <p:cNvPr id="1" name=""/>
        <p:cNvGrpSpPr/>
        <p:nvPr/>
      </p:nvGrpSpPr>
      <p:grpSpPr>
        <a:xfrm>
          <a:off x="0" y="0"/>
          <a:ext cx="0" cy="0"/>
          <a:chOff x="0" y="0"/>
          <a:chExt cx="0" cy="0"/>
        </a:xfrm>
      </p:grpSpPr>
      <p:pic>
        <p:nvPicPr>
          <p:cNvPr id="19" name="Imagen 18">
            <a:extLst>
              <a:ext uri="{FF2B5EF4-FFF2-40B4-BE49-F238E27FC236}">
                <a16:creationId xmlns:a16="http://schemas.microsoft.com/office/drawing/2014/main" id="{CDE873E3-468F-41C9-A3D5-AE1CFF571F4A}"/>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206379" y="10190981"/>
            <a:ext cx="1167349" cy="583716"/>
          </a:xfrm>
          <a:prstGeom prst="rect">
            <a:avLst/>
          </a:prstGeom>
        </p:spPr>
      </p:pic>
      <p:sp>
        <p:nvSpPr>
          <p:cNvPr id="14" name="Marcador de texto 19">
            <a:extLst>
              <a:ext uri="{FF2B5EF4-FFF2-40B4-BE49-F238E27FC236}">
                <a16:creationId xmlns:a16="http://schemas.microsoft.com/office/drawing/2014/main" id="{F0A5F956-78D9-483E-8513-18F922BFD069}"/>
              </a:ext>
            </a:extLst>
          </p:cNvPr>
          <p:cNvSpPr>
            <a:spLocks noGrp="1"/>
          </p:cNvSpPr>
          <p:nvPr>
            <p:ph type="body" sz="quarter" idx="10" hasCustomPrompt="1"/>
          </p:nvPr>
        </p:nvSpPr>
        <p:spPr>
          <a:xfrm>
            <a:off x="17185412" y="389504"/>
            <a:ext cx="2985439" cy="250572"/>
          </a:xfrm>
          <a:noFill/>
        </p:spPr>
        <p:txBody>
          <a:bodyPr wrap="square" lIns="0" tIns="0" rIns="0" bIns="0" rtlCol="0" anchor="ctr">
            <a:noAutofit/>
          </a:bodyPr>
          <a:lstStyle>
            <a:lvl1pPr marL="0" indent="0">
              <a:buNone/>
              <a:defRPr lang="es-ES" sz="1319" b="0" smtClean="0">
                <a:solidFill>
                  <a:schemeClr val="tx2"/>
                </a:solidFill>
              </a:defRPr>
            </a:lvl1pPr>
            <a:lvl2pPr marL="376961" indent="0">
              <a:buNone/>
              <a:defRPr lang="es-ES" sz="2968" smtClean="0"/>
            </a:lvl2pPr>
            <a:lvl3pPr marL="1130884" indent="0">
              <a:buNone/>
              <a:defRPr lang="es-ES" sz="2968" smtClean="0"/>
            </a:lvl3pPr>
            <a:lvl4pPr marL="1790567" indent="0">
              <a:buFont typeface="Arial" panose="020B0604020202020204" pitchFamily="34" charset="0"/>
              <a:buNone/>
              <a:defRPr lang="es-ES" smtClean="0"/>
            </a:lvl4pPr>
            <a:lvl5pPr marL="2638730" indent="0">
              <a:buNone/>
              <a:defRPr lang="es-ES"/>
            </a:lvl5pPr>
          </a:lstStyle>
          <a:p>
            <a:pPr marL="0" lvl="0"/>
            <a:r>
              <a:rPr lang="es-ES" noProof="0" dirty="0"/>
              <a:t>D</a:t>
            </a:r>
            <a:r>
              <a:rPr lang="en-GB" noProof="0" dirty="0" err="1"/>
              <a:t>ocument</a:t>
            </a:r>
            <a:r>
              <a:rPr lang="en-GB" noProof="0" dirty="0"/>
              <a:t> Title</a:t>
            </a:r>
          </a:p>
        </p:txBody>
      </p:sp>
      <p:pic>
        <p:nvPicPr>
          <p:cNvPr id="8" name="Imagen 15">
            <a:extLst>
              <a:ext uri="{FF2B5EF4-FFF2-40B4-BE49-F238E27FC236}">
                <a16:creationId xmlns:a16="http://schemas.microsoft.com/office/drawing/2014/main" id="{B065F7FD-B3E1-43A0-BA90-5D534CBEF16D}"/>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8206627" y="10175274"/>
            <a:ext cx="1170610" cy="607079"/>
          </a:xfrm>
          <a:prstGeom prst="rect">
            <a:avLst/>
          </a:prstGeom>
        </p:spPr>
      </p:pic>
      <p:sp>
        <p:nvSpPr>
          <p:cNvPr id="6" name="Text Placeholder 5">
            <a:extLst>
              <a:ext uri="{FF2B5EF4-FFF2-40B4-BE49-F238E27FC236}">
                <a16:creationId xmlns:a16="http://schemas.microsoft.com/office/drawing/2014/main" id="{96451491-55DA-494C-AE67-A7AA6F9EE7DA}"/>
              </a:ext>
            </a:extLst>
          </p:cNvPr>
          <p:cNvSpPr>
            <a:spLocks noGrp="1"/>
          </p:cNvSpPr>
          <p:nvPr>
            <p:ph type="body" sz="quarter" idx="11" hasCustomPrompt="1"/>
          </p:nvPr>
        </p:nvSpPr>
        <p:spPr>
          <a:xfrm>
            <a:off x="615165" y="3996419"/>
            <a:ext cx="1591576" cy="1055017"/>
          </a:xfrm>
        </p:spPr>
        <p:txBody>
          <a:bodyPr>
            <a:noAutofit/>
          </a:bodyPr>
          <a:lstStyle>
            <a:lvl1pPr marL="0" indent="0">
              <a:buNone/>
              <a:defRPr sz="7915">
                <a:solidFill>
                  <a:schemeClr val="tx2"/>
                </a:solidFill>
              </a:defRPr>
            </a:lvl1pPr>
            <a:lvl2pPr marL="753923" indent="0">
              <a:buNone/>
              <a:defRPr/>
            </a:lvl2pPr>
            <a:lvl3pPr marL="1507846" indent="0">
              <a:buNone/>
              <a:defRPr/>
            </a:lvl3pPr>
            <a:lvl4pPr marL="2261768" indent="0">
              <a:buNone/>
              <a:defRPr/>
            </a:lvl4pPr>
            <a:lvl5pPr marL="3015691" indent="0">
              <a:buNone/>
              <a:defRPr/>
            </a:lvl5pPr>
          </a:lstStyle>
          <a:p>
            <a:pPr lvl="0"/>
            <a:r>
              <a:rPr lang="en-US" dirty="0"/>
              <a:t>Nº</a:t>
            </a:r>
            <a:endParaRPr lang="en-GB" dirty="0"/>
          </a:p>
        </p:txBody>
      </p:sp>
      <p:sp>
        <p:nvSpPr>
          <p:cNvPr id="10" name="Text Placeholder 9">
            <a:extLst>
              <a:ext uri="{FF2B5EF4-FFF2-40B4-BE49-F238E27FC236}">
                <a16:creationId xmlns:a16="http://schemas.microsoft.com/office/drawing/2014/main" id="{ECD08C52-C62A-483D-AEB9-8ECE7A332507}"/>
              </a:ext>
            </a:extLst>
          </p:cNvPr>
          <p:cNvSpPr>
            <a:spLocks noGrp="1"/>
          </p:cNvSpPr>
          <p:nvPr>
            <p:ph type="body" sz="quarter" idx="12" hasCustomPrompt="1"/>
          </p:nvPr>
        </p:nvSpPr>
        <p:spPr>
          <a:xfrm>
            <a:off x="615164" y="5145682"/>
            <a:ext cx="3287858" cy="356200"/>
          </a:xfrm>
        </p:spPr>
        <p:txBody>
          <a:bodyPr>
            <a:normAutofit/>
          </a:bodyPr>
          <a:lstStyle>
            <a:lvl1pPr marL="0" indent="0" algn="l">
              <a:buFont typeface="Arial" panose="020B0604020202020204" pitchFamily="34" charset="0"/>
              <a:buNone/>
              <a:defRPr sz="1731" b="1"/>
            </a:lvl1pPr>
          </a:lstStyle>
          <a:p>
            <a:pPr lvl="0"/>
            <a:r>
              <a:rPr lang="en-US" dirty="0"/>
              <a:t>TITLE</a:t>
            </a:r>
            <a:endParaRPr lang="en-GB" dirty="0"/>
          </a:p>
        </p:txBody>
      </p:sp>
      <p:sp>
        <p:nvSpPr>
          <p:cNvPr id="13" name="Text Placeholder 9">
            <a:extLst>
              <a:ext uri="{FF2B5EF4-FFF2-40B4-BE49-F238E27FC236}">
                <a16:creationId xmlns:a16="http://schemas.microsoft.com/office/drawing/2014/main" id="{75D0857F-ADC8-4CFD-8864-141069A38FC9}"/>
              </a:ext>
            </a:extLst>
          </p:cNvPr>
          <p:cNvSpPr>
            <a:spLocks noGrp="1"/>
          </p:cNvSpPr>
          <p:nvPr>
            <p:ph type="body" sz="quarter" idx="13" hasCustomPrompt="1"/>
          </p:nvPr>
        </p:nvSpPr>
        <p:spPr>
          <a:xfrm>
            <a:off x="615163" y="5569772"/>
            <a:ext cx="5122882" cy="2546035"/>
          </a:xfrm>
        </p:spPr>
        <p:txBody>
          <a:bodyPr>
            <a:normAutofit/>
          </a:bodyPr>
          <a:lstStyle>
            <a:lvl1pPr marL="0" indent="0">
              <a:buNone/>
              <a:defRPr sz="1649" b="0"/>
            </a:lvl1pPr>
          </a:lstStyle>
          <a:p>
            <a:pPr lvl="0"/>
            <a:r>
              <a:rPr lang="en-US" dirty="0"/>
              <a:t>Lorem</a:t>
            </a:r>
            <a:endParaRPr lang="en-GB" dirty="0"/>
          </a:p>
        </p:txBody>
      </p:sp>
      <p:sp>
        <p:nvSpPr>
          <p:cNvPr id="11" name="Title 10">
            <a:extLst>
              <a:ext uri="{FF2B5EF4-FFF2-40B4-BE49-F238E27FC236}">
                <a16:creationId xmlns:a16="http://schemas.microsoft.com/office/drawing/2014/main" id="{B384F1BB-96E7-4D3C-AEA6-2038C6C940A2}"/>
              </a:ext>
            </a:extLst>
          </p:cNvPr>
          <p:cNvSpPr>
            <a:spLocks noGrp="1"/>
          </p:cNvSpPr>
          <p:nvPr>
            <p:ph type="title" hasCustomPrompt="1"/>
          </p:nvPr>
        </p:nvSpPr>
        <p:spPr>
          <a:xfrm>
            <a:off x="615163" y="396486"/>
            <a:ext cx="8682983" cy="2546037"/>
          </a:xfrm>
        </p:spPr>
        <p:txBody>
          <a:bodyPr anchor="t">
            <a:normAutofit/>
          </a:bodyPr>
          <a:lstStyle>
            <a:lvl1pPr>
              <a:lnSpc>
                <a:spcPts val="9234"/>
              </a:lnSpc>
              <a:defRPr sz="9564">
                <a:solidFill>
                  <a:schemeClr val="tx2"/>
                </a:solidFill>
              </a:defRPr>
            </a:lvl1pPr>
          </a:lstStyle>
          <a:p>
            <a:r>
              <a:rPr lang="en-US" dirty="0"/>
              <a:t>Title</a:t>
            </a:r>
            <a:endParaRPr lang="en-GB" dirty="0"/>
          </a:p>
        </p:txBody>
      </p:sp>
      <p:sp>
        <p:nvSpPr>
          <p:cNvPr id="44" name="Text Placeholder 5">
            <a:extLst>
              <a:ext uri="{FF2B5EF4-FFF2-40B4-BE49-F238E27FC236}">
                <a16:creationId xmlns:a16="http://schemas.microsoft.com/office/drawing/2014/main" id="{821A2FA3-9D43-4A92-BB53-C7698B6C03CB}"/>
              </a:ext>
            </a:extLst>
          </p:cNvPr>
          <p:cNvSpPr>
            <a:spLocks noGrp="1"/>
          </p:cNvSpPr>
          <p:nvPr>
            <p:ph type="body" sz="quarter" idx="14" hasCustomPrompt="1"/>
          </p:nvPr>
        </p:nvSpPr>
        <p:spPr>
          <a:xfrm>
            <a:off x="7079395" y="3996419"/>
            <a:ext cx="1591576" cy="1055017"/>
          </a:xfrm>
        </p:spPr>
        <p:txBody>
          <a:bodyPr>
            <a:noAutofit/>
          </a:bodyPr>
          <a:lstStyle>
            <a:lvl1pPr marL="0" indent="0">
              <a:buNone/>
              <a:defRPr sz="7915">
                <a:solidFill>
                  <a:schemeClr val="tx2"/>
                </a:solidFill>
              </a:defRPr>
            </a:lvl1pPr>
            <a:lvl2pPr marL="753923" indent="0">
              <a:buNone/>
              <a:defRPr/>
            </a:lvl2pPr>
            <a:lvl3pPr marL="1507846" indent="0">
              <a:buNone/>
              <a:defRPr/>
            </a:lvl3pPr>
            <a:lvl4pPr marL="2261768" indent="0">
              <a:buNone/>
              <a:defRPr/>
            </a:lvl4pPr>
            <a:lvl5pPr marL="3015691" indent="0">
              <a:buNone/>
              <a:defRPr/>
            </a:lvl5pPr>
          </a:lstStyle>
          <a:p>
            <a:pPr lvl="0"/>
            <a:r>
              <a:rPr lang="en-US" dirty="0"/>
              <a:t>Nº</a:t>
            </a:r>
            <a:endParaRPr lang="en-GB" dirty="0"/>
          </a:p>
        </p:txBody>
      </p:sp>
      <p:sp>
        <p:nvSpPr>
          <p:cNvPr id="45" name="Text Placeholder 9">
            <a:extLst>
              <a:ext uri="{FF2B5EF4-FFF2-40B4-BE49-F238E27FC236}">
                <a16:creationId xmlns:a16="http://schemas.microsoft.com/office/drawing/2014/main" id="{1516BF46-331E-4EE6-9EA1-9358501A2309}"/>
              </a:ext>
            </a:extLst>
          </p:cNvPr>
          <p:cNvSpPr>
            <a:spLocks noGrp="1"/>
          </p:cNvSpPr>
          <p:nvPr>
            <p:ph type="body" sz="quarter" idx="15" hasCustomPrompt="1"/>
          </p:nvPr>
        </p:nvSpPr>
        <p:spPr>
          <a:xfrm>
            <a:off x="7079394" y="5145682"/>
            <a:ext cx="3287858" cy="356200"/>
          </a:xfrm>
        </p:spPr>
        <p:txBody>
          <a:bodyPr>
            <a:normAutofit/>
          </a:bodyPr>
          <a:lstStyle>
            <a:lvl1pPr marL="0" indent="0" algn="l">
              <a:buFont typeface="Arial" panose="020B0604020202020204" pitchFamily="34" charset="0"/>
              <a:buNone/>
              <a:defRPr sz="1731" b="1"/>
            </a:lvl1pPr>
          </a:lstStyle>
          <a:p>
            <a:pPr lvl="0"/>
            <a:r>
              <a:rPr lang="en-US" dirty="0"/>
              <a:t>TITLE</a:t>
            </a:r>
            <a:endParaRPr lang="en-GB" dirty="0"/>
          </a:p>
        </p:txBody>
      </p:sp>
      <p:sp>
        <p:nvSpPr>
          <p:cNvPr id="46" name="Text Placeholder 9">
            <a:extLst>
              <a:ext uri="{FF2B5EF4-FFF2-40B4-BE49-F238E27FC236}">
                <a16:creationId xmlns:a16="http://schemas.microsoft.com/office/drawing/2014/main" id="{A01B0FD0-AFAC-4AA1-88C2-4345601D732A}"/>
              </a:ext>
            </a:extLst>
          </p:cNvPr>
          <p:cNvSpPr>
            <a:spLocks noGrp="1"/>
          </p:cNvSpPr>
          <p:nvPr>
            <p:ph type="body" sz="quarter" idx="16" hasCustomPrompt="1"/>
          </p:nvPr>
        </p:nvSpPr>
        <p:spPr>
          <a:xfrm>
            <a:off x="7079393" y="5569772"/>
            <a:ext cx="5122882" cy="2546035"/>
          </a:xfrm>
        </p:spPr>
        <p:txBody>
          <a:bodyPr>
            <a:normAutofit/>
          </a:bodyPr>
          <a:lstStyle>
            <a:lvl1pPr marL="0" indent="0">
              <a:buNone/>
              <a:defRPr sz="1649" b="0"/>
            </a:lvl1pPr>
          </a:lstStyle>
          <a:p>
            <a:pPr lvl="0"/>
            <a:r>
              <a:rPr lang="en-US" dirty="0"/>
              <a:t>Lorem</a:t>
            </a:r>
            <a:endParaRPr lang="en-GB" dirty="0"/>
          </a:p>
        </p:txBody>
      </p:sp>
      <p:sp>
        <p:nvSpPr>
          <p:cNvPr id="47" name="Text Placeholder 5">
            <a:extLst>
              <a:ext uri="{FF2B5EF4-FFF2-40B4-BE49-F238E27FC236}">
                <a16:creationId xmlns:a16="http://schemas.microsoft.com/office/drawing/2014/main" id="{33748874-45FF-4B3C-AB09-363ED1440965}"/>
              </a:ext>
            </a:extLst>
          </p:cNvPr>
          <p:cNvSpPr>
            <a:spLocks noGrp="1"/>
          </p:cNvSpPr>
          <p:nvPr>
            <p:ph type="body" sz="quarter" idx="17" hasCustomPrompt="1"/>
          </p:nvPr>
        </p:nvSpPr>
        <p:spPr>
          <a:xfrm>
            <a:off x="13543625" y="3996419"/>
            <a:ext cx="1591576" cy="1055017"/>
          </a:xfrm>
        </p:spPr>
        <p:txBody>
          <a:bodyPr>
            <a:noAutofit/>
          </a:bodyPr>
          <a:lstStyle>
            <a:lvl1pPr marL="0" indent="0">
              <a:buNone/>
              <a:defRPr sz="7915">
                <a:solidFill>
                  <a:schemeClr val="tx2"/>
                </a:solidFill>
              </a:defRPr>
            </a:lvl1pPr>
            <a:lvl2pPr marL="753923" indent="0">
              <a:buNone/>
              <a:defRPr/>
            </a:lvl2pPr>
            <a:lvl3pPr marL="1507846" indent="0">
              <a:buNone/>
              <a:defRPr/>
            </a:lvl3pPr>
            <a:lvl4pPr marL="2261768" indent="0">
              <a:buNone/>
              <a:defRPr/>
            </a:lvl4pPr>
            <a:lvl5pPr marL="3015691" indent="0">
              <a:buNone/>
              <a:defRPr/>
            </a:lvl5pPr>
          </a:lstStyle>
          <a:p>
            <a:pPr lvl="0"/>
            <a:r>
              <a:rPr lang="en-US" dirty="0"/>
              <a:t>Nº</a:t>
            </a:r>
            <a:endParaRPr lang="en-GB" dirty="0"/>
          </a:p>
        </p:txBody>
      </p:sp>
      <p:sp>
        <p:nvSpPr>
          <p:cNvPr id="48" name="Text Placeholder 9">
            <a:extLst>
              <a:ext uri="{FF2B5EF4-FFF2-40B4-BE49-F238E27FC236}">
                <a16:creationId xmlns:a16="http://schemas.microsoft.com/office/drawing/2014/main" id="{0D897AB2-43AD-4AB6-A6A7-B46BC19FD312}"/>
              </a:ext>
            </a:extLst>
          </p:cNvPr>
          <p:cNvSpPr>
            <a:spLocks noGrp="1"/>
          </p:cNvSpPr>
          <p:nvPr>
            <p:ph type="body" sz="quarter" idx="18" hasCustomPrompt="1"/>
          </p:nvPr>
        </p:nvSpPr>
        <p:spPr>
          <a:xfrm>
            <a:off x="13543624" y="5145682"/>
            <a:ext cx="3287858" cy="356200"/>
          </a:xfrm>
        </p:spPr>
        <p:txBody>
          <a:bodyPr>
            <a:normAutofit/>
          </a:bodyPr>
          <a:lstStyle>
            <a:lvl1pPr marL="0" indent="0" algn="l">
              <a:buFont typeface="Arial" panose="020B0604020202020204" pitchFamily="34" charset="0"/>
              <a:buNone/>
              <a:defRPr sz="1731" b="1"/>
            </a:lvl1pPr>
          </a:lstStyle>
          <a:p>
            <a:pPr lvl="0"/>
            <a:r>
              <a:rPr lang="en-US" dirty="0"/>
              <a:t>TITLE</a:t>
            </a:r>
            <a:endParaRPr lang="en-GB" dirty="0"/>
          </a:p>
        </p:txBody>
      </p:sp>
      <p:sp>
        <p:nvSpPr>
          <p:cNvPr id="49" name="Text Placeholder 9">
            <a:extLst>
              <a:ext uri="{FF2B5EF4-FFF2-40B4-BE49-F238E27FC236}">
                <a16:creationId xmlns:a16="http://schemas.microsoft.com/office/drawing/2014/main" id="{36A414C0-5AF1-4821-AB84-E5622E6E40B0}"/>
              </a:ext>
            </a:extLst>
          </p:cNvPr>
          <p:cNvSpPr>
            <a:spLocks noGrp="1"/>
          </p:cNvSpPr>
          <p:nvPr>
            <p:ph type="body" sz="quarter" idx="19" hasCustomPrompt="1"/>
          </p:nvPr>
        </p:nvSpPr>
        <p:spPr>
          <a:xfrm>
            <a:off x="13543623" y="5569772"/>
            <a:ext cx="5122882" cy="2546035"/>
          </a:xfrm>
        </p:spPr>
        <p:txBody>
          <a:bodyPr>
            <a:normAutofit/>
          </a:bodyPr>
          <a:lstStyle>
            <a:lvl1pPr marL="0" indent="0">
              <a:buNone/>
              <a:defRPr sz="1649" b="0"/>
            </a:lvl1pPr>
          </a:lstStyle>
          <a:p>
            <a:pPr lvl="0"/>
            <a:r>
              <a:rPr lang="en-US" dirty="0"/>
              <a:t>Lorem</a:t>
            </a:r>
            <a:endParaRPr lang="en-GB" dirty="0"/>
          </a:p>
        </p:txBody>
      </p:sp>
    </p:spTree>
    <p:extLst>
      <p:ext uri="{BB962C8B-B14F-4D97-AF65-F5344CB8AC3E}">
        <p14:creationId xmlns:p14="http://schemas.microsoft.com/office/powerpoint/2010/main" val="2057376319"/>
      </p:ext>
    </p:extLst>
  </p:cSld>
  <p:clrMapOvr>
    <a:overrideClrMapping bg1="lt1" tx1="dk1" bg2="lt2" tx2="dk2" accent1="accent1" accent2="accent2" accent3="accent3" accent4="accent4" accent5="accent5" accent6="accent6" hlink="hlink" folHlink="folHlink"/>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Contents-10 numbering-white purple">
    <p:bg>
      <p:bgPr>
        <a:solidFill>
          <a:schemeClr val="tx2"/>
        </a:solidFill>
        <a:effectLst/>
      </p:bgPr>
    </p:bg>
    <p:spTree>
      <p:nvGrpSpPr>
        <p:cNvPr id="1" name=""/>
        <p:cNvGrpSpPr/>
        <p:nvPr/>
      </p:nvGrpSpPr>
      <p:grpSpPr>
        <a:xfrm>
          <a:off x="0" y="0"/>
          <a:ext cx="0" cy="0"/>
          <a:chOff x="0" y="0"/>
          <a:chExt cx="0" cy="0"/>
        </a:xfrm>
      </p:grpSpPr>
      <p:sp>
        <p:nvSpPr>
          <p:cNvPr id="14" name="Marcador de texto 19">
            <a:extLst>
              <a:ext uri="{FF2B5EF4-FFF2-40B4-BE49-F238E27FC236}">
                <a16:creationId xmlns:a16="http://schemas.microsoft.com/office/drawing/2014/main" id="{F0A5F956-78D9-483E-8513-18F922BFD069}"/>
              </a:ext>
            </a:extLst>
          </p:cNvPr>
          <p:cNvSpPr>
            <a:spLocks noGrp="1"/>
          </p:cNvSpPr>
          <p:nvPr>
            <p:ph type="body" sz="quarter" idx="10" hasCustomPrompt="1"/>
          </p:nvPr>
        </p:nvSpPr>
        <p:spPr>
          <a:xfrm>
            <a:off x="17185412" y="389504"/>
            <a:ext cx="2985439" cy="250572"/>
          </a:xfrm>
          <a:noFill/>
        </p:spPr>
        <p:txBody>
          <a:bodyPr wrap="square" lIns="0" tIns="0" rIns="0" bIns="0" rtlCol="0" anchor="ctr">
            <a:noAutofit/>
          </a:bodyPr>
          <a:lstStyle>
            <a:lvl1pPr marL="0" indent="0">
              <a:buNone/>
              <a:defRPr lang="es-ES" sz="1319" b="0" smtClean="0">
                <a:solidFill>
                  <a:schemeClr val="bg1"/>
                </a:solidFill>
              </a:defRPr>
            </a:lvl1pPr>
            <a:lvl2pPr marL="376961" indent="0">
              <a:buNone/>
              <a:defRPr lang="es-ES" sz="2968" smtClean="0"/>
            </a:lvl2pPr>
            <a:lvl3pPr marL="1130884" indent="0">
              <a:buNone/>
              <a:defRPr lang="es-ES" sz="2968" smtClean="0"/>
            </a:lvl3pPr>
            <a:lvl4pPr marL="1790567" indent="0">
              <a:buFont typeface="Arial" panose="020B0604020202020204" pitchFamily="34" charset="0"/>
              <a:buNone/>
              <a:defRPr lang="es-ES" smtClean="0"/>
            </a:lvl4pPr>
            <a:lvl5pPr marL="2638730" indent="0">
              <a:buNone/>
              <a:defRPr lang="es-ES"/>
            </a:lvl5pPr>
          </a:lstStyle>
          <a:p>
            <a:pPr marL="0" lvl="0"/>
            <a:r>
              <a:rPr lang="es-ES" noProof="0" dirty="0"/>
              <a:t>D</a:t>
            </a:r>
            <a:r>
              <a:rPr lang="en-GB" noProof="0" dirty="0" err="1"/>
              <a:t>ocument</a:t>
            </a:r>
            <a:r>
              <a:rPr lang="en-GB" noProof="0" dirty="0"/>
              <a:t> Title</a:t>
            </a:r>
          </a:p>
        </p:txBody>
      </p:sp>
      <p:sp>
        <p:nvSpPr>
          <p:cNvPr id="6" name="Text Placeholder 5">
            <a:extLst>
              <a:ext uri="{FF2B5EF4-FFF2-40B4-BE49-F238E27FC236}">
                <a16:creationId xmlns:a16="http://schemas.microsoft.com/office/drawing/2014/main" id="{96451491-55DA-494C-AE67-A7AA6F9EE7DA}"/>
              </a:ext>
            </a:extLst>
          </p:cNvPr>
          <p:cNvSpPr>
            <a:spLocks noGrp="1"/>
          </p:cNvSpPr>
          <p:nvPr>
            <p:ph type="body" sz="quarter" idx="11" hasCustomPrompt="1"/>
          </p:nvPr>
        </p:nvSpPr>
        <p:spPr>
          <a:xfrm>
            <a:off x="615165" y="3036771"/>
            <a:ext cx="1591576" cy="1055017"/>
          </a:xfrm>
        </p:spPr>
        <p:txBody>
          <a:bodyPr>
            <a:noAutofit/>
          </a:bodyPr>
          <a:lstStyle>
            <a:lvl1pPr marL="0" indent="0">
              <a:buNone/>
              <a:defRPr sz="7915">
                <a:solidFill>
                  <a:schemeClr val="bg1"/>
                </a:solidFill>
              </a:defRPr>
            </a:lvl1pPr>
            <a:lvl2pPr marL="753923" indent="0">
              <a:buNone/>
              <a:defRPr/>
            </a:lvl2pPr>
            <a:lvl3pPr marL="1507846" indent="0">
              <a:buNone/>
              <a:defRPr/>
            </a:lvl3pPr>
            <a:lvl4pPr marL="2261768" indent="0">
              <a:buNone/>
              <a:defRPr/>
            </a:lvl4pPr>
            <a:lvl5pPr marL="3015691" indent="0">
              <a:buNone/>
              <a:defRPr/>
            </a:lvl5pPr>
          </a:lstStyle>
          <a:p>
            <a:pPr lvl="0"/>
            <a:r>
              <a:rPr lang="en-US" dirty="0"/>
              <a:t>Nº</a:t>
            </a:r>
            <a:endParaRPr lang="en-GB" dirty="0"/>
          </a:p>
        </p:txBody>
      </p:sp>
      <p:sp>
        <p:nvSpPr>
          <p:cNvPr id="10" name="Text Placeholder 9">
            <a:extLst>
              <a:ext uri="{FF2B5EF4-FFF2-40B4-BE49-F238E27FC236}">
                <a16:creationId xmlns:a16="http://schemas.microsoft.com/office/drawing/2014/main" id="{ECD08C52-C62A-483D-AEB9-8ECE7A332507}"/>
              </a:ext>
            </a:extLst>
          </p:cNvPr>
          <p:cNvSpPr>
            <a:spLocks noGrp="1"/>
          </p:cNvSpPr>
          <p:nvPr>
            <p:ph type="body" sz="quarter" idx="12" hasCustomPrompt="1"/>
          </p:nvPr>
        </p:nvSpPr>
        <p:spPr>
          <a:xfrm>
            <a:off x="615164" y="4186033"/>
            <a:ext cx="3287858" cy="356200"/>
          </a:xfrm>
        </p:spPr>
        <p:txBody>
          <a:bodyPr>
            <a:normAutofit/>
          </a:bodyPr>
          <a:lstStyle>
            <a:lvl1pPr marL="0" indent="0" algn="l">
              <a:buFont typeface="Arial" panose="020B0604020202020204" pitchFamily="34" charset="0"/>
              <a:buNone/>
              <a:defRPr sz="1731" b="1">
                <a:solidFill>
                  <a:schemeClr val="bg1"/>
                </a:solidFill>
              </a:defRPr>
            </a:lvl1pPr>
          </a:lstStyle>
          <a:p>
            <a:pPr lvl="0"/>
            <a:r>
              <a:rPr lang="en-US" dirty="0"/>
              <a:t>TITLE</a:t>
            </a:r>
            <a:endParaRPr lang="en-GB" dirty="0"/>
          </a:p>
        </p:txBody>
      </p:sp>
      <p:sp>
        <p:nvSpPr>
          <p:cNvPr id="13" name="Text Placeholder 9">
            <a:extLst>
              <a:ext uri="{FF2B5EF4-FFF2-40B4-BE49-F238E27FC236}">
                <a16:creationId xmlns:a16="http://schemas.microsoft.com/office/drawing/2014/main" id="{75D0857F-ADC8-4CFD-8864-141069A38FC9}"/>
              </a:ext>
            </a:extLst>
          </p:cNvPr>
          <p:cNvSpPr>
            <a:spLocks noGrp="1"/>
          </p:cNvSpPr>
          <p:nvPr>
            <p:ph type="body" sz="quarter" idx="13" hasCustomPrompt="1"/>
          </p:nvPr>
        </p:nvSpPr>
        <p:spPr>
          <a:xfrm>
            <a:off x="615164" y="4610123"/>
            <a:ext cx="3287858" cy="1602900"/>
          </a:xfrm>
        </p:spPr>
        <p:txBody>
          <a:bodyPr>
            <a:normAutofit/>
          </a:bodyPr>
          <a:lstStyle>
            <a:lvl1pPr marL="0" indent="0">
              <a:buNone/>
              <a:defRPr sz="1649" b="0">
                <a:solidFill>
                  <a:schemeClr val="bg1"/>
                </a:solidFill>
              </a:defRPr>
            </a:lvl1pPr>
          </a:lstStyle>
          <a:p>
            <a:pPr lvl="0"/>
            <a:r>
              <a:rPr lang="en-US" dirty="0"/>
              <a:t>Lorem</a:t>
            </a:r>
            <a:endParaRPr lang="en-GB" dirty="0"/>
          </a:p>
        </p:txBody>
      </p:sp>
      <p:sp>
        <p:nvSpPr>
          <p:cNvPr id="15" name="Text Placeholder 5">
            <a:extLst>
              <a:ext uri="{FF2B5EF4-FFF2-40B4-BE49-F238E27FC236}">
                <a16:creationId xmlns:a16="http://schemas.microsoft.com/office/drawing/2014/main" id="{EA47D272-5350-465D-812F-44D6935CF029}"/>
              </a:ext>
            </a:extLst>
          </p:cNvPr>
          <p:cNvSpPr>
            <a:spLocks noGrp="1"/>
          </p:cNvSpPr>
          <p:nvPr>
            <p:ph type="body" sz="quarter" idx="14" hasCustomPrompt="1"/>
          </p:nvPr>
        </p:nvSpPr>
        <p:spPr>
          <a:xfrm>
            <a:off x="4409814" y="3036771"/>
            <a:ext cx="1591576" cy="1055017"/>
          </a:xfrm>
        </p:spPr>
        <p:txBody>
          <a:bodyPr>
            <a:noAutofit/>
          </a:bodyPr>
          <a:lstStyle>
            <a:lvl1pPr marL="0" indent="0">
              <a:buNone/>
              <a:defRPr sz="7915">
                <a:solidFill>
                  <a:schemeClr val="bg1"/>
                </a:solidFill>
              </a:defRPr>
            </a:lvl1pPr>
            <a:lvl2pPr marL="753923" indent="0">
              <a:buNone/>
              <a:defRPr/>
            </a:lvl2pPr>
            <a:lvl3pPr marL="1507846" indent="0">
              <a:buNone/>
              <a:defRPr/>
            </a:lvl3pPr>
            <a:lvl4pPr marL="2261768" indent="0">
              <a:buNone/>
              <a:defRPr/>
            </a:lvl4pPr>
            <a:lvl5pPr marL="3015691" indent="0">
              <a:buNone/>
              <a:defRPr/>
            </a:lvl5pPr>
          </a:lstStyle>
          <a:p>
            <a:pPr lvl="0"/>
            <a:r>
              <a:rPr lang="en-US" dirty="0"/>
              <a:t>Nº</a:t>
            </a:r>
            <a:endParaRPr lang="en-GB" dirty="0"/>
          </a:p>
        </p:txBody>
      </p:sp>
      <p:sp>
        <p:nvSpPr>
          <p:cNvPr id="16" name="Text Placeholder 9">
            <a:extLst>
              <a:ext uri="{FF2B5EF4-FFF2-40B4-BE49-F238E27FC236}">
                <a16:creationId xmlns:a16="http://schemas.microsoft.com/office/drawing/2014/main" id="{A74D1E6A-C29F-40C3-A21F-64983EE009B5}"/>
              </a:ext>
            </a:extLst>
          </p:cNvPr>
          <p:cNvSpPr>
            <a:spLocks noGrp="1"/>
          </p:cNvSpPr>
          <p:nvPr>
            <p:ph type="body" sz="quarter" idx="15" hasCustomPrompt="1"/>
          </p:nvPr>
        </p:nvSpPr>
        <p:spPr>
          <a:xfrm>
            <a:off x="4409813" y="4186033"/>
            <a:ext cx="3287858" cy="356200"/>
          </a:xfrm>
        </p:spPr>
        <p:txBody>
          <a:bodyPr>
            <a:normAutofit/>
          </a:bodyPr>
          <a:lstStyle>
            <a:lvl1pPr marL="0" indent="0" algn="l">
              <a:buNone/>
              <a:defRPr sz="1731" b="1">
                <a:solidFill>
                  <a:schemeClr val="bg1"/>
                </a:solidFill>
              </a:defRPr>
            </a:lvl1pPr>
          </a:lstStyle>
          <a:p>
            <a:pPr lvl="0"/>
            <a:r>
              <a:rPr lang="en-US" dirty="0"/>
              <a:t>TITLE</a:t>
            </a:r>
            <a:endParaRPr lang="en-GB" dirty="0"/>
          </a:p>
        </p:txBody>
      </p:sp>
      <p:sp>
        <p:nvSpPr>
          <p:cNvPr id="17" name="Text Placeholder 9">
            <a:extLst>
              <a:ext uri="{FF2B5EF4-FFF2-40B4-BE49-F238E27FC236}">
                <a16:creationId xmlns:a16="http://schemas.microsoft.com/office/drawing/2014/main" id="{CB5F5ED8-32CC-43AE-95F2-320422A4B6F2}"/>
              </a:ext>
            </a:extLst>
          </p:cNvPr>
          <p:cNvSpPr>
            <a:spLocks noGrp="1"/>
          </p:cNvSpPr>
          <p:nvPr>
            <p:ph type="body" sz="quarter" idx="16" hasCustomPrompt="1"/>
          </p:nvPr>
        </p:nvSpPr>
        <p:spPr>
          <a:xfrm>
            <a:off x="4409813" y="4610123"/>
            <a:ext cx="3287858" cy="1602900"/>
          </a:xfrm>
        </p:spPr>
        <p:txBody>
          <a:bodyPr>
            <a:normAutofit/>
          </a:bodyPr>
          <a:lstStyle>
            <a:lvl1pPr marL="0" indent="0">
              <a:buNone/>
              <a:defRPr sz="1649" b="0">
                <a:solidFill>
                  <a:schemeClr val="bg1"/>
                </a:solidFill>
              </a:defRPr>
            </a:lvl1pPr>
          </a:lstStyle>
          <a:p>
            <a:pPr lvl="0"/>
            <a:r>
              <a:rPr lang="en-US" dirty="0"/>
              <a:t>Lorem</a:t>
            </a:r>
            <a:endParaRPr lang="en-GB" dirty="0"/>
          </a:p>
        </p:txBody>
      </p:sp>
      <p:sp>
        <p:nvSpPr>
          <p:cNvPr id="18" name="Text Placeholder 5">
            <a:extLst>
              <a:ext uri="{FF2B5EF4-FFF2-40B4-BE49-F238E27FC236}">
                <a16:creationId xmlns:a16="http://schemas.microsoft.com/office/drawing/2014/main" id="{25A3565A-C592-4597-8606-88B88195191D}"/>
              </a:ext>
            </a:extLst>
          </p:cNvPr>
          <p:cNvSpPr>
            <a:spLocks noGrp="1"/>
          </p:cNvSpPr>
          <p:nvPr>
            <p:ph type="body" sz="quarter" idx="17" hasCustomPrompt="1"/>
          </p:nvPr>
        </p:nvSpPr>
        <p:spPr>
          <a:xfrm>
            <a:off x="8166767" y="3036771"/>
            <a:ext cx="1591576" cy="1055017"/>
          </a:xfrm>
        </p:spPr>
        <p:txBody>
          <a:bodyPr>
            <a:noAutofit/>
          </a:bodyPr>
          <a:lstStyle>
            <a:lvl1pPr marL="0" indent="0">
              <a:buNone/>
              <a:defRPr sz="7915">
                <a:solidFill>
                  <a:schemeClr val="bg1"/>
                </a:solidFill>
              </a:defRPr>
            </a:lvl1pPr>
            <a:lvl2pPr marL="753923" indent="0">
              <a:buNone/>
              <a:defRPr/>
            </a:lvl2pPr>
            <a:lvl3pPr marL="1507846" indent="0">
              <a:buNone/>
              <a:defRPr/>
            </a:lvl3pPr>
            <a:lvl4pPr marL="2261768" indent="0">
              <a:buNone/>
              <a:defRPr/>
            </a:lvl4pPr>
            <a:lvl5pPr marL="3015691" indent="0">
              <a:buNone/>
              <a:defRPr/>
            </a:lvl5pPr>
          </a:lstStyle>
          <a:p>
            <a:pPr lvl="0"/>
            <a:r>
              <a:rPr lang="en-US" dirty="0"/>
              <a:t>Nº</a:t>
            </a:r>
            <a:endParaRPr lang="en-GB" dirty="0"/>
          </a:p>
        </p:txBody>
      </p:sp>
      <p:sp>
        <p:nvSpPr>
          <p:cNvPr id="20" name="Text Placeholder 9">
            <a:extLst>
              <a:ext uri="{FF2B5EF4-FFF2-40B4-BE49-F238E27FC236}">
                <a16:creationId xmlns:a16="http://schemas.microsoft.com/office/drawing/2014/main" id="{E8ABFFFD-3581-4836-8C68-837FF6D9DD00}"/>
              </a:ext>
            </a:extLst>
          </p:cNvPr>
          <p:cNvSpPr>
            <a:spLocks noGrp="1"/>
          </p:cNvSpPr>
          <p:nvPr>
            <p:ph type="body" sz="quarter" idx="18" hasCustomPrompt="1"/>
          </p:nvPr>
        </p:nvSpPr>
        <p:spPr>
          <a:xfrm>
            <a:off x="8166766" y="4186033"/>
            <a:ext cx="3287858" cy="356200"/>
          </a:xfrm>
        </p:spPr>
        <p:txBody>
          <a:bodyPr>
            <a:normAutofit/>
          </a:bodyPr>
          <a:lstStyle>
            <a:lvl1pPr marL="0" indent="0" algn="l">
              <a:buNone/>
              <a:defRPr sz="1731" b="1">
                <a:solidFill>
                  <a:schemeClr val="bg1"/>
                </a:solidFill>
              </a:defRPr>
            </a:lvl1pPr>
          </a:lstStyle>
          <a:p>
            <a:pPr lvl="0"/>
            <a:r>
              <a:rPr lang="en-US" dirty="0"/>
              <a:t>TITLE</a:t>
            </a:r>
            <a:endParaRPr lang="en-GB" dirty="0"/>
          </a:p>
        </p:txBody>
      </p:sp>
      <p:sp>
        <p:nvSpPr>
          <p:cNvPr id="21" name="Text Placeholder 9">
            <a:extLst>
              <a:ext uri="{FF2B5EF4-FFF2-40B4-BE49-F238E27FC236}">
                <a16:creationId xmlns:a16="http://schemas.microsoft.com/office/drawing/2014/main" id="{F1ECF6A5-EB6E-4BB8-871F-744ED5F47273}"/>
              </a:ext>
            </a:extLst>
          </p:cNvPr>
          <p:cNvSpPr>
            <a:spLocks noGrp="1"/>
          </p:cNvSpPr>
          <p:nvPr>
            <p:ph type="body" sz="quarter" idx="19" hasCustomPrompt="1"/>
          </p:nvPr>
        </p:nvSpPr>
        <p:spPr>
          <a:xfrm>
            <a:off x="8166766" y="4610123"/>
            <a:ext cx="3287858" cy="1602900"/>
          </a:xfrm>
        </p:spPr>
        <p:txBody>
          <a:bodyPr>
            <a:normAutofit/>
          </a:bodyPr>
          <a:lstStyle>
            <a:lvl1pPr marL="0" indent="0">
              <a:buNone/>
              <a:defRPr sz="1649" b="0">
                <a:solidFill>
                  <a:schemeClr val="bg1"/>
                </a:solidFill>
              </a:defRPr>
            </a:lvl1pPr>
          </a:lstStyle>
          <a:p>
            <a:pPr lvl="0"/>
            <a:r>
              <a:rPr lang="en-US" dirty="0"/>
              <a:t>Lorem</a:t>
            </a:r>
            <a:endParaRPr lang="en-GB" dirty="0"/>
          </a:p>
        </p:txBody>
      </p:sp>
      <p:sp>
        <p:nvSpPr>
          <p:cNvPr id="22" name="Text Placeholder 5">
            <a:extLst>
              <a:ext uri="{FF2B5EF4-FFF2-40B4-BE49-F238E27FC236}">
                <a16:creationId xmlns:a16="http://schemas.microsoft.com/office/drawing/2014/main" id="{D14F4ACA-C450-4930-99A8-2FB7AB8A3E87}"/>
              </a:ext>
            </a:extLst>
          </p:cNvPr>
          <p:cNvSpPr>
            <a:spLocks noGrp="1"/>
          </p:cNvSpPr>
          <p:nvPr>
            <p:ph type="body" sz="quarter" idx="20" hasCustomPrompt="1"/>
          </p:nvPr>
        </p:nvSpPr>
        <p:spPr>
          <a:xfrm>
            <a:off x="11961416" y="3036771"/>
            <a:ext cx="1591576" cy="1055017"/>
          </a:xfrm>
        </p:spPr>
        <p:txBody>
          <a:bodyPr>
            <a:noAutofit/>
          </a:bodyPr>
          <a:lstStyle>
            <a:lvl1pPr marL="0" indent="0">
              <a:buNone/>
              <a:defRPr sz="7915">
                <a:solidFill>
                  <a:schemeClr val="bg1"/>
                </a:solidFill>
              </a:defRPr>
            </a:lvl1pPr>
            <a:lvl2pPr marL="753923" indent="0">
              <a:buNone/>
              <a:defRPr/>
            </a:lvl2pPr>
            <a:lvl3pPr marL="1507846" indent="0">
              <a:buNone/>
              <a:defRPr/>
            </a:lvl3pPr>
            <a:lvl4pPr marL="2261768" indent="0">
              <a:buNone/>
              <a:defRPr/>
            </a:lvl4pPr>
            <a:lvl5pPr marL="3015691" indent="0">
              <a:buNone/>
              <a:defRPr/>
            </a:lvl5pPr>
          </a:lstStyle>
          <a:p>
            <a:pPr lvl="0"/>
            <a:r>
              <a:rPr lang="en-US" dirty="0"/>
              <a:t>Nº</a:t>
            </a:r>
            <a:endParaRPr lang="en-GB" dirty="0"/>
          </a:p>
        </p:txBody>
      </p:sp>
      <p:sp>
        <p:nvSpPr>
          <p:cNvPr id="23" name="Text Placeholder 9">
            <a:extLst>
              <a:ext uri="{FF2B5EF4-FFF2-40B4-BE49-F238E27FC236}">
                <a16:creationId xmlns:a16="http://schemas.microsoft.com/office/drawing/2014/main" id="{452EFDD8-F731-4DE7-9CB9-F51D16D142E9}"/>
              </a:ext>
            </a:extLst>
          </p:cNvPr>
          <p:cNvSpPr>
            <a:spLocks noGrp="1"/>
          </p:cNvSpPr>
          <p:nvPr>
            <p:ph type="body" sz="quarter" idx="21" hasCustomPrompt="1"/>
          </p:nvPr>
        </p:nvSpPr>
        <p:spPr>
          <a:xfrm>
            <a:off x="11961415" y="4186033"/>
            <a:ext cx="3287858" cy="356200"/>
          </a:xfrm>
        </p:spPr>
        <p:txBody>
          <a:bodyPr>
            <a:normAutofit/>
          </a:bodyPr>
          <a:lstStyle>
            <a:lvl1pPr marL="0" indent="0" algn="l">
              <a:buNone/>
              <a:defRPr sz="1731" b="1">
                <a:solidFill>
                  <a:schemeClr val="bg1"/>
                </a:solidFill>
              </a:defRPr>
            </a:lvl1pPr>
          </a:lstStyle>
          <a:p>
            <a:pPr lvl="0"/>
            <a:r>
              <a:rPr lang="en-US" dirty="0"/>
              <a:t>TITLE</a:t>
            </a:r>
            <a:endParaRPr lang="en-GB" dirty="0"/>
          </a:p>
        </p:txBody>
      </p:sp>
      <p:sp>
        <p:nvSpPr>
          <p:cNvPr id="24" name="Text Placeholder 9">
            <a:extLst>
              <a:ext uri="{FF2B5EF4-FFF2-40B4-BE49-F238E27FC236}">
                <a16:creationId xmlns:a16="http://schemas.microsoft.com/office/drawing/2014/main" id="{DC8EA6EF-76A1-4606-8285-B29DC6370529}"/>
              </a:ext>
            </a:extLst>
          </p:cNvPr>
          <p:cNvSpPr>
            <a:spLocks noGrp="1"/>
          </p:cNvSpPr>
          <p:nvPr>
            <p:ph type="body" sz="quarter" idx="22" hasCustomPrompt="1"/>
          </p:nvPr>
        </p:nvSpPr>
        <p:spPr>
          <a:xfrm>
            <a:off x="11961415" y="4610123"/>
            <a:ext cx="3287858" cy="1602900"/>
          </a:xfrm>
        </p:spPr>
        <p:txBody>
          <a:bodyPr>
            <a:normAutofit/>
          </a:bodyPr>
          <a:lstStyle>
            <a:lvl1pPr marL="0" indent="0">
              <a:buNone/>
              <a:defRPr sz="1649" b="0">
                <a:solidFill>
                  <a:schemeClr val="bg1"/>
                </a:solidFill>
              </a:defRPr>
            </a:lvl1pPr>
          </a:lstStyle>
          <a:p>
            <a:pPr lvl="0"/>
            <a:r>
              <a:rPr lang="en-US" dirty="0"/>
              <a:t>Lorem</a:t>
            </a:r>
            <a:endParaRPr lang="en-GB" dirty="0"/>
          </a:p>
        </p:txBody>
      </p:sp>
      <p:sp>
        <p:nvSpPr>
          <p:cNvPr id="26" name="Text Placeholder 5">
            <a:extLst>
              <a:ext uri="{FF2B5EF4-FFF2-40B4-BE49-F238E27FC236}">
                <a16:creationId xmlns:a16="http://schemas.microsoft.com/office/drawing/2014/main" id="{4029AB7C-C9FD-4FF0-8840-1E9FEB163290}"/>
              </a:ext>
            </a:extLst>
          </p:cNvPr>
          <p:cNvSpPr>
            <a:spLocks noGrp="1"/>
          </p:cNvSpPr>
          <p:nvPr>
            <p:ph type="body" sz="quarter" idx="23" hasCustomPrompt="1"/>
          </p:nvPr>
        </p:nvSpPr>
        <p:spPr>
          <a:xfrm>
            <a:off x="15864438" y="3036771"/>
            <a:ext cx="1591576" cy="1055017"/>
          </a:xfrm>
        </p:spPr>
        <p:txBody>
          <a:bodyPr>
            <a:noAutofit/>
          </a:bodyPr>
          <a:lstStyle>
            <a:lvl1pPr marL="0" indent="0">
              <a:buNone/>
              <a:defRPr sz="7915">
                <a:solidFill>
                  <a:schemeClr val="bg1"/>
                </a:solidFill>
              </a:defRPr>
            </a:lvl1pPr>
            <a:lvl2pPr marL="753923" indent="0">
              <a:buNone/>
              <a:defRPr/>
            </a:lvl2pPr>
            <a:lvl3pPr marL="1507846" indent="0">
              <a:buNone/>
              <a:defRPr/>
            </a:lvl3pPr>
            <a:lvl4pPr marL="2261768" indent="0">
              <a:buNone/>
              <a:defRPr/>
            </a:lvl4pPr>
            <a:lvl5pPr marL="3015691" indent="0">
              <a:buNone/>
              <a:defRPr/>
            </a:lvl5pPr>
          </a:lstStyle>
          <a:p>
            <a:pPr lvl="0"/>
            <a:r>
              <a:rPr lang="en-US" dirty="0"/>
              <a:t>Nº</a:t>
            </a:r>
            <a:endParaRPr lang="en-GB" dirty="0"/>
          </a:p>
        </p:txBody>
      </p:sp>
      <p:sp>
        <p:nvSpPr>
          <p:cNvPr id="27" name="Text Placeholder 9">
            <a:extLst>
              <a:ext uri="{FF2B5EF4-FFF2-40B4-BE49-F238E27FC236}">
                <a16:creationId xmlns:a16="http://schemas.microsoft.com/office/drawing/2014/main" id="{2B7D9975-B0DF-400E-9270-5AE6A16D39B9}"/>
              </a:ext>
            </a:extLst>
          </p:cNvPr>
          <p:cNvSpPr>
            <a:spLocks noGrp="1"/>
          </p:cNvSpPr>
          <p:nvPr>
            <p:ph type="body" sz="quarter" idx="24" hasCustomPrompt="1"/>
          </p:nvPr>
        </p:nvSpPr>
        <p:spPr>
          <a:xfrm>
            <a:off x="15864437" y="4186033"/>
            <a:ext cx="3287858" cy="356200"/>
          </a:xfrm>
        </p:spPr>
        <p:txBody>
          <a:bodyPr>
            <a:normAutofit/>
          </a:bodyPr>
          <a:lstStyle>
            <a:lvl1pPr marL="0" indent="0" algn="l">
              <a:buNone/>
              <a:defRPr sz="1731" b="1">
                <a:solidFill>
                  <a:schemeClr val="bg1"/>
                </a:solidFill>
              </a:defRPr>
            </a:lvl1pPr>
          </a:lstStyle>
          <a:p>
            <a:pPr lvl="0"/>
            <a:r>
              <a:rPr lang="en-US" dirty="0"/>
              <a:t>TITLE</a:t>
            </a:r>
            <a:endParaRPr lang="en-GB" dirty="0"/>
          </a:p>
        </p:txBody>
      </p:sp>
      <p:sp>
        <p:nvSpPr>
          <p:cNvPr id="28" name="Text Placeholder 9">
            <a:extLst>
              <a:ext uri="{FF2B5EF4-FFF2-40B4-BE49-F238E27FC236}">
                <a16:creationId xmlns:a16="http://schemas.microsoft.com/office/drawing/2014/main" id="{6044989C-0A51-44C3-8048-FBC92AD92945}"/>
              </a:ext>
            </a:extLst>
          </p:cNvPr>
          <p:cNvSpPr>
            <a:spLocks noGrp="1"/>
          </p:cNvSpPr>
          <p:nvPr>
            <p:ph type="body" sz="quarter" idx="25" hasCustomPrompt="1"/>
          </p:nvPr>
        </p:nvSpPr>
        <p:spPr>
          <a:xfrm>
            <a:off x="15864437" y="4610123"/>
            <a:ext cx="3287858" cy="1602900"/>
          </a:xfrm>
        </p:spPr>
        <p:txBody>
          <a:bodyPr>
            <a:normAutofit/>
          </a:bodyPr>
          <a:lstStyle>
            <a:lvl1pPr marL="0" indent="0">
              <a:buNone/>
              <a:defRPr sz="1649" b="0">
                <a:solidFill>
                  <a:schemeClr val="bg1"/>
                </a:solidFill>
              </a:defRPr>
            </a:lvl1pPr>
          </a:lstStyle>
          <a:p>
            <a:pPr lvl="0"/>
            <a:r>
              <a:rPr lang="en-US" dirty="0"/>
              <a:t>Lorem</a:t>
            </a:r>
            <a:endParaRPr lang="en-GB" dirty="0"/>
          </a:p>
        </p:txBody>
      </p:sp>
      <p:sp>
        <p:nvSpPr>
          <p:cNvPr id="29" name="Text Placeholder 5">
            <a:extLst>
              <a:ext uri="{FF2B5EF4-FFF2-40B4-BE49-F238E27FC236}">
                <a16:creationId xmlns:a16="http://schemas.microsoft.com/office/drawing/2014/main" id="{EBEE3F2E-37F1-4BCA-9F54-FFD13786F096}"/>
              </a:ext>
            </a:extLst>
          </p:cNvPr>
          <p:cNvSpPr>
            <a:spLocks noGrp="1"/>
          </p:cNvSpPr>
          <p:nvPr>
            <p:ph type="body" sz="quarter" idx="26" hasCustomPrompt="1"/>
          </p:nvPr>
        </p:nvSpPr>
        <p:spPr>
          <a:xfrm>
            <a:off x="615165" y="6640560"/>
            <a:ext cx="1591576" cy="1055017"/>
          </a:xfrm>
        </p:spPr>
        <p:txBody>
          <a:bodyPr>
            <a:noAutofit/>
          </a:bodyPr>
          <a:lstStyle>
            <a:lvl1pPr marL="0" indent="0">
              <a:buNone/>
              <a:defRPr sz="7915">
                <a:solidFill>
                  <a:schemeClr val="bg1"/>
                </a:solidFill>
              </a:defRPr>
            </a:lvl1pPr>
            <a:lvl2pPr marL="753923" indent="0">
              <a:buNone/>
              <a:defRPr/>
            </a:lvl2pPr>
            <a:lvl3pPr marL="1507846" indent="0">
              <a:buNone/>
              <a:defRPr/>
            </a:lvl3pPr>
            <a:lvl4pPr marL="2261768" indent="0">
              <a:buNone/>
              <a:defRPr/>
            </a:lvl4pPr>
            <a:lvl5pPr marL="3015691" indent="0">
              <a:buNone/>
              <a:defRPr/>
            </a:lvl5pPr>
          </a:lstStyle>
          <a:p>
            <a:pPr lvl="0"/>
            <a:r>
              <a:rPr lang="en-US" dirty="0"/>
              <a:t>Nº</a:t>
            </a:r>
            <a:endParaRPr lang="en-GB" dirty="0"/>
          </a:p>
        </p:txBody>
      </p:sp>
      <p:sp>
        <p:nvSpPr>
          <p:cNvPr id="30" name="Text Placeholder 9">
            <a:extLst>
              <a:ext uri="{FF2B5EF4-FFF2-40B4-BE49-F238E27FC236}">
                <a16:creationId xmlns:a16="http://schemas.microsoft.com/office/drawing/2014/main" id="{81DEBFA4-5978-4578-8F0C-7C39ED73E2A1}"/>
              </a:ext>
            </a:extLst>
          </p:cNvPr>
          <p:cNvSpPr>
            <a:spLocks noGrp="1"/>
          </p:cNvSpPr>
          <p:nvPr>
            <p:ph type="body" sz="quarter" idx="27" hasCustomPrompt="1"/>
          </p:nvPr>
        </p:nvSpPr>
        <p:spPr>
          <a:xfrm>
            <a:off x="615164" y="7789822"/>
            <a:ext cx="3287858" cy="356200"/>
          </a:xfrm>
        </p:spPr>
        <p:txBody>
          <a:bodyPr>
            <a:normAutofit/>
          </a:bodyPr>
          <a:lstStyle>
            <a:lvl1pPr marL="0" indent="0" algn="l">
              <a:buNone/>
              <a:defRPr sz="1731" b="1">
                <a:solidFill>
                  <a:schemeClr val="bg1"/>
                </a:solidFill>
              </a:defRPr>
            </a:lvl1pPr>
          </a:lstStyle>
          <a:p>
            <a:pPr lvl="0"/>
            <a:r>
              <a:rPr lang="en-US" dirty="0"/>
              <a:t>TITLE</a:t>
            </a:r>
            <a:endParaRPr lang="en-GB" dirty="0"/>
          </a:p>
        </p:txBody>
      </p:sp>
      <p:sp>
        <p:nvSpPr>
          <p:cNvPr id="31" name="Text Placeholder 9">
            <a:extLst>
              <a:ext uri="{FF2B5EF4-FFF2-40B4-BE49-F238E27FC236}">
                <a16:creationId xmlns:a16="http://schemas.microsoft.com/office/drawing/2014/main" id="{3281B3E2-E048-4F9F-96F2-EB4AC60190AA}"/>
              </a:ext>
            </a:extLst>
          </p:cNvPr>
          <p:cNvSpPr>
            <a:spLocks noGrp="1"/>
          </p:cNvSpPr>
          <p:nvPr>
            <p:ph type="body" sz="quarter" idx="28" hasCustomPrompt="1"/>
          </p:nvPr>
        </p:nvSpPr>
        <p:spPr>
          <a:xfrm>
            <a:off x="615164" y="8213913"/>
            <a:ext cx="3287858" cy="1602900"/>
          </a:xfrm>
        </p:spPr>
        <p:txBody>
          <a:bodyPr>
            <a:normAutofit/>
          </a:bodyPr>
          <a:lstStyle>
            <a:lvl1pPr marL="0" indent="0">
              <a:buNone/>
              <a:defRPr sz="1649" b="0">
                <a:solidFill>
                  <a:schemeClr val="bg1"/>
                </a:solidFill>
              </a:defRPr>
            </a:lvl1pPr>
          </a:lstStyle>
          <a:p>
            <a:pPr lvl="0"/>
            <a:r>
              <a:rPr lang="en-US" dirty="0"/>
              <a:t>Lorem</a:t>
            </a:r>
            <a:endParaRPr lang="en-GB" dirty="0"/>
          </a:p>
        </p:txBody>
      </p:sp>
      <p:sp>
        <p:nvSpPr>
          <p:cNvPr id="32" name="Text Placeholder 5">
            <a:extLst>
              <a:ext uri="{FF2B5EF4-FFF2-40B4-BE49-F238E27FC236}">
                <a16:creationId xmlns:a16="http://schemas.microsoft.com/office/drawing/2014/main" id="{E89F656C-88AB-46B0-92BA-1E0F98BA0B30}"/>
              </a:ext>
            </a:extLst>
          </p:cNvPr>
          <p:cNvSpPr>
            <a:spLocks noGrp="1"/>
          </p:cNvSpPr>
          <p:nvPr>
            <p:ph type="body" sz="quarter" idx="29" hasCustomPrompt="1"/>
          </p:nvPr>
        </p:nvSpPr>
        <p:spPr>
          <a:xfrm>
            <a:off x="4409814" y="6640560"/>
            <a:ext cx="1591576" cy="1055017"/>
          </a:xfrm>
        </p:spPr>
        <p:txBody>
          <a:bodyPr>
            <a:noAutofit/>
          </a:bodyPr>
          <a:lstStyle>
            <a:lvl1pPr marL="0" indent="0">
              <a:buNone/>
              <a:defRPr sz="7915">
                <a:solidFill>
                  <a:schemeClr val="bg1"/>
                </a:solidFill>
              </a:defRPr>
            </a:lvl1pPr>
            <a:lvl2pPr marL="753923" indent="0">
              <a:buNone/>
              <a:defRPr/>
            </a:lvl2pPr>
            <a:lvl3pPr marL="1507846" indent="0">
              <a:buNone/>
              <a:defRPr/>
            </a:lvl3pPr>
            <a:lvl4pPr marL="2261768" indent="0">
              <a:buNone/>
              <a:defRPr/>
            </a:lvl4pPr>
            <a:lvl5pPr marL="3015691" indent="0">
              <a:buNone/>
              <a:defRPr/>
            </a:lvl5pPr>
          </a:lstStyle>
          <a:p>
            <a:pPr lvl="0"/>
            <a:r>
              <a:rPr lang="en-US" dirty="0"/>
              <a:t>Nº</a:t>
            </a:r>
            <a:endParaRPr lang="en-GB" dirty="0"/>
          </a:p>
        </p:txBody>
      </p:sp>
      <p:sp>
        <p:nvSpPr>
          <p:cNvPr id="33" name="Text Placeholder 9">
            <a:extLst>
              <a:ext uri="{FF2B5EF4-FFF2-40B4-BE49-F238E27FC236}">
                <a16:creationId xmlns:a16="http://schemas.microsoft.com/office/drawing/2014/main" id="{BEC4AD53-A8EE-4A8B-A8A9-AF7C00B8DF7C}"/>
              </a:ext>
            </a:extLst>
          </p:cNvPr>
          <p:cNvSpPr>
            <a:spLocks noGrp="1"/>
          </p:cNvSpPr>
          <p:nvPr>
            <p:ph type="body" sz="quarter" idx="30" hasCustomPrompt="1"/>
          </p:nvPr>
        </p:nvSpPr>
        <p:spPr>
          <a:xfrm>
            <a:off x="4409813" y="7789822"/>
            <a:ext cx="3287858" cy="356200"/>
          </a:xfrm>
        </p:spPr>
        <p:txBody>
          <a:bodyPr>
            <a:normAutofit/>
          </a:bodyPr>
          <a:lstStyle>
            <a:lvl1pPr marL="0" indent="0" algn="l">
              <a:buNone/>
              <a:defRPr sz="1731" b="1">
                <a:solidFill>
                  <a:schemeClr val="bg1"/>
                </a:solidFill>
              </a:defRPr>
            </a:lvl1pPr>
          </a:lstStyle>
          <a:p>
            <a:pPr lvl="0"/>
            <a:r>
              <a:rPr lang="en-US" dirty="0"/>
              <a:t>TITLE</a:t>
            </a:r>
            <a:endParaRPr lang="en-GB" dirty="0"/>
          </a:p>
        </p:txBody>
      </p:sp>
      <p:sp>
        <p:nvSpPr>
          <p:cNvPr id="34" name="Text Placeholder 9">
            <a:extLst>
              <a:ext uri="{FF2B5EF4-FFF2-40B4-BE49-F238E27FC236}">
                <a16:creationId xmlns:a16="http://schemas.microsoft.com/office/drawing/2014/main" id="{5A282DFE-7C74-46C9-8D2C-83D7184D6220}"/>
              </a:ext>
            </a:extLst>
          </p:cNvPr>
          <p:cNvSpPr>
            <a:spLocks noGrp="1"/>
          </p:cNvSpPr>
          <p:nvPr>
            <p:ph type="body" sz="quarter" idx="31" hasCustomPrompt="1"/>
          </p:nvPr>
        </p:nvSpPr>
        <p:spPr>
          <a:xfrm>
            <a:off x="4409813" y="8213913"/>
            <a:ext cx="3287858" cy="1602900"/>
          </a:xfrm>
        </p:spPr>
        <p:txBody>
          <a:bodyPr>
            <a:normAutofit/>
          </a:bodyPr>
          <a:lstStyle>
            <a:lvl1pPr marL="0" indent="0">
              <a:buNone/>
              <a:defRPr sz="1649" b="0">
                <a:solidFill>
                  <a:schemeClr val="bg1"/>
                </a:solidFill>
              </a:defRPr>
            </a:lvl1pPr>
          </a:lstStyle>
          <a:p>
            <a:pPr lvl="0"/>
            <a:r>
              <a:rPr lang="en-US" dirty="0"/>
              <a:t>Lorem</a:t>
            </a:r>
            <a:endParaRPr lang="en-GB" dirty="0"/>
          </a:p>
        </p:txBody>
      </p:sp>
      <p:sp>
        <p:nvSpPr>
          <p:cNvPr id="35" name="Text Placeholder 5">
            <a:extLst>
              <a:ext uri="{FF2B5EF4-FFF2-40B4-BE49-F238E27FC236}">
                <a16:creationId xmlns:a16="http://schemas.microsoft.com/office/drawing/2014/main" id="{E02076EF-85B9-4278-AB82-23384D605D48}"/>
              </a:ext>
            </a:extLst>
          </p:cNvPr>
          <p:cNvSpPr>
            <a:spLocks noGrp="1"/>
          </p:cNvSpPr>
          <p:nvPr>
            <p:ph type="body" sz="quarter" idx="32" hasCustomPrompt="1"/>
          </p:nvPr>
        </p:nvSpPr>
        <p:spPr>
          <a:xfrm>
            <a:off x="8166767" y="6640560"/>
            <a:ext cx="1591576" cy="1055017"/>
          </a:xfrm>
        </p:spPr>
        <p:txBody>
          <a:bodyPr>
            <a:noAutofit/>
          </a:bodyPr>
          <a:lstStyle>
            <a:lvl1pPr marL="0" indent="0">
              <a:buNone/>
              <a:defRPr sz="7915">
                <a:solidFill>
                  <a:schemeClr val="bg1"/>
                </a:solidFill>
              </a:defRPr>
            </a:lvl1pPr>
            <a:lvl2pPr marL="753923" indent="0">
              <a:buNone/>
              <a:defRPr/>
            </a:lvl2pPr>
            <a:lvl3pPr marL="1507846" indent="0">
              <a:buNone/>
              <a:defRPr/>
            </a:lvl3pPr>
            <a:lvl4pPr marL="2261768" indent="0">
              <a:buNone/>
              <a:defRPr/>
            </a:lvl4pPr>
            <a:lvl5pPr marL="3015691" indent="0">
              <a:buNone/>
              <a:defRPr/>
            </a:lvl5pPr>
          </a:lstStyle>
          <a:p>
            <a:pPr lvl="0"/>
            <a:r>
              <a:rPr lang="en-US" dirty="0"/>
              <a:t>Nº</a:t>
            </a:r>
            <a:endParaRPr lang="en-GB" dirty="0"/>
          </a:p>
        </p:txBody>
      </p:sp>
      <p:sp>
        <p:nvSpPr>
          <p:cNvPr id="36" name="Text Placeholder 9">
            <a:extLst>
              <a:ext uri="{FF2B5EF4-FFF2-40B4-BE49-F238E27FC236}">
                <a16:creationId xmlns:a16="http://schemas.microsoft.com/office/drawing/2014/main" id="{E4437FC0-3723-4401-BC4E-7D0A28F732AF}"/>
              </a:ext>
            </a:extLst>
          </p:cNvPr>
          <p:cNvSpPr>
            <a:spLocks noGrp="1"/>
          </p:cNvSpPr>
          <p:nvPr>
            <p:ph type="body" sz="quarter" idx="33" hasCustomPrompt="1"/>
          </p:nvPr>
        </p:nvSpPr>
        <p:spPr>
          <a:xfrm>
            <a:off x="8166766" y="7789822"/>
            <a:ext cx="3287858" cy="356200"/>
          </a:xfrm>
        </p:spPr>
        <p:txBody>
          <a:bodyPr>
            <a:normAutofit/>
          </a:bodyPr>
          <a:lstStyle>
            <a:lvl1pPr marL="0" indent="0" algn="l">
              <a:buNone/>
              <a:defRPr sz="1731" b="1">
                <a:solidFill>
                  <a:schemeClr val="bg1"/>
                </a:solidFill>
              </a:defRPr>
            </a:lvl1pPr>
          </a:lstStyle>
          <a:p>
            <a:pPr lvl="0"/>
            <a:r>
              <a:rPr lang="en-US" dirty="0"/>
              <a:t>TITLE</a:t>
            </a:r>
            <a:endParaRPr lang="en-GB" dirty="0"/>
          </a:p>
        </p:txBody>
      </p:sp>
      <p:sp>
        <p:nvSpPr>
          <p:cNvPr id="37" name="Text Placeholder 9">
            <a:extLst>
              <a:ext uri="{FF2B5EF4-FFF2-40B4-BE49-F238E27FC236}">
                <a16:creationId xmlns:a16="http://schemas.microsoft.com/office/drawing/2014/main" id="{8883DC26-E441-464E-B954-44D6FF0981BA}"/>
              </a:ext>
            </a:extLst>
          </p:cNvPr>
          <p:cNvSpPr>
            <a:spLocks noGrp="1"/>
          </p:cNvSpPr>
          <p:nvPr>
            <p:ph type="body" sz="quarter" idx="34" hasCustomPrompt="1"/>
          </p:nvPr>
        </p:nvSpPr>
        <p:spPr>
          <a:xfrm>
            <a:off x="8166766" y="8213913"/>
            <a:ext cx="3287858" cy="1602900"/>
          </a:xfrm>
        </p:spPr>
        <p:txBody>
          <a:bodyPr>
            <a:normAutofit/>
          </a:bodyPr>
          <a:lstStyle>
            <a:lvl1pPr marL="0" indent="0">
              <a:buNone/>
              <a:defRPr sz="1649" b="0">
                <a:solidFill>
                  <a:schemeClr val="bg1"/>
                </a:solidFill>
              </a:defRPr>
            </a:lvl1pPr>
          </a:lstStyle>
          <a:p>
            <a:pPr lvl="0"/>
            <a:r>
              <a:rPr lang="en-US" dirty="0"/>
              <a:t>Lorem</a:t>
            </a:r>
            <a:endParaRPr lang="en-GB" dirty="0"/>
          </a:p>
        </p:txBody>
      </p:sp>
      <p:sp>
        <p:nvSpPr>
          <p:cNvPr id="38" name="Text Placeholder 5">
            <a:extLst>
              <a:ext uri="{FF2B5EF4-FFF2-40B4-BE49-F238E27FC236}">
                <a16:creationId xmlns:a16="http://schemas.microsoft.com/office/drawing/2014/main" id="{968A70C8-EE78-46BE-9F38-09E41463BB9F}"/>
              </a:ext>
            </a:extLst>
          </p:cNvPr>
          <p:cNvSpPr>
            <a:spLocks noGrp="1"/>
          </p:cNvSpPr>
          <p:nvPr>
            <p:ph type="body" sz="quarter" idx="35" hasCustomPrompt="1"/>
          </p:nvPr>
        </p:nvSpPr>
        <p:spPr>
          <a:xfrm>
            <a:off x="11961416" y="6640560"/>
            <a:ext cx="1591576" cy="1055017"/>
          </a:xfrm>
        </p:spPr>
        <p:txBody>
          <a:bodyPr>
            <a:noAutofit/>
          </a:bodyPr>
          <a:lstStyle>
            <a:lvl1pPr marL="0" indent="0">
              <a:buNone/>
              <a:defRPr sz="7915">
                <a:solidFill>
                  <a:schemeClr val="bg1"/>
                </a:solidFill>
              </a:defRPr>
            </a:lvl1pPr>
            <a:lvl2pPr marL="753923" indent="0">
              <a:buNone/>
              <a:defRPr/>
            </a:lvl2pPr>
            <a:lvl3pPr marL="1507846" indent="0">
              <a:buNone/>
              <a:defRPr/>
            </a:lvl3pPr>
            <a:lvl4pPr marL="2261768" indent="0">
              <a:buNone/>
              <a:defRPr/>
            </a:lvl4pPr>
            <a:lvl5pPr marL="3015691" indent="0">
              <a:buNone/>
              <a:defRPr/>
            </a:lvl5pPr>
          </a:lstStyle>
          <a:p>
            <a:pPr lvl="0"/>
            <a:r>
              <a:rPr lang="en-US" dirty="0"/>
              <a:t>Nº</a:t>
            </a:r>
            <a:endParaRPr lang="en-GB" dirty="0"/>
          </a:p>
        </p:txBody>
      </p:sp>
      <p:sp>
        <p:nvSpPr>
          <p:cNvPr id="39" name="Text Placeholder 9">
            <a:extLst>
              <a:ext uri="{FF2B5EF4-FFF2-40B4-BE49-F238E27FC236}">
                <a16:creationId xmlns:a16="http://schemas.microsoft.com/office/drawing/2014/main" id="{DCFA9B7E-C954-4371-A0B4-6839A16D66D3}"/>
              </a:ext>
            </a:extLst>
          </p:cNvPr>
          <p:cNvSpPr>
            <a:spLocks noGrp="1"/>
          </p:cNvSpPr>
          <p:nvPr>
            <p:ph type="body" sz="quarter" idx="36" hasCustomPrompt="1"/>
          </p:nvPr>
        </p:nvSpPr>
        <p:spPr>
          <a:xfrm>
            <a:off x="11961415" y="7789822"/>
            <a:ext cx="3287858" cy="356200"/>
          </a:xfrm>
        </p:spPr>
        <p:txBody>
          <a:bodyPr>
            <a:normAutofit/>
          </a:bodyPr>
          <a:lstStyle>
            <a:lvl1pPr marL="0" indent="0" algn="l">
              <a:buNone/>
              <a:defRPr sz="1731" b="1">
                <a:solidFill>
                  <a:schemeClr val="bg1"/>
                </a:solidFill>
              </a:defRPr>
            </a:lvl1pPr>
          </a:lstStyle>
          <a:p>
            <a:pPr lvl="0"/>
            <a:r>
              <a:rPr lang="en-US" dirty="0"/>
              <a:t>TITLE</a:t>
            </a:r>
            <a:endParaRPr lang="en-GB" dirty="0"/>
          </a:p>
        </p:txBody>
      </p:sp>
      <p:sp>
        <p:nvSpPr>
          <p:cNvPr id="40" name="Text Placeholder 9">
            <a:extLst>
              <a:ext uri="{FF2B5EF4-FFF2-40B4-BE49-F238E27FC236}">
                <a16:creationId xmlns:a16="http://schemas.microsoft.com/office/drawing/2014/main" id="{6D71BA04-AABC-45E5-9656-45E0BB19D42F}"/>
              </a:ext>
            </a:extLst>
          </p:cNvPr>
          <p:cNvSpPr>
            <a:spLocks noGrp="1"/>
          </p:cNvSpPr>
          <p:nvPr>
            <p:ph type="body" sz="quarter" idx="37" hasCustomPrompt="1"/>
          </p:nvPr>
        </p:nvSpPr>
        <p:spPr>
          <a:xfrm>
            <a:off x="11961415" y="8213913"/>
            <a:ext cx="3287858" cy="1602900"/>
          </a:xfrm>
        </p:spPr>
        <p:txBody>
          <a:bodyPr>
            <a:normAutofit/>
          </a:bodyPr>
          <a:lstStyle>
            <a:lvl1pPr marL="0" indent="0">
              <a:buNone/>
              <a:defRPr sz="1649" b="0">
                <a:solidFill>
                  <a:schemeClr val="bg1"/>
                </a:solidFill>
              </a:defRPr>
            </a:lvl1pPr>
          </a:lstStyle>
          <a:p>
            <a:pPr lvl="0"/>
            <a:r>
              <a:rPr lang="en-US" dirty="0"/>
              <a:t>Lorem</a:t>
            </a:r>
            <a:endParaRPr lang="en-GB" dirty="0"/>
          </a:p>
        </p:txBody>
      </p:sp>
      <p:sp>
        <p:nvSpPr>
          <p:cNvPr id="41" name="Text Placeholder 5">
            <a:extLst>
              <a:ext uri="{FF2B5EF4-FFF2-40B4-BE49-F238E27FC236}">
                <a16:creationId xmlns:a16="http://schemas.microsoft.com/office/drawing/2014/main" id="{2A0135A2-338E-4337-8F7D-C89BCB301081}"/>
              </a:ext>
            </a:extLst>
          </p:cNvPr>
          <p:cNvSpPr>
            <a:spLocks noGrp="1"/>
          </p:cNvSpPr>
          <p:nvPr>
            <p:ph type="body" sz="quarter" idx="38" hasCustomPrompt="1"/>
          </p:nvPr>
        </p:nvSpPr>
        <p:spPr>
          <a:xfrm>
            <a:off x="15864438" y="6640560"/>
            <a:ext cx="1591576" cy="1055017"/>
          </a:xfrm>
        </p:spPr>
        <p:txBody>
          <a:bodyPr>
            <a:noAutofit/>
          </a:bodyPr>
          <a:lstStyle>
            <a:lvl1pPr marL="0" indent="0">
              <a:buNone/>
              <a:defRPr sz="7915">
                <a:solidFill>
                  <a:schemeClr val="bg1"/>
                </a:solidFill>
              </a:defRPr>
            </a:lvl1pPr>
            <a:lvl2pPr marL="753923" indent="0">
              <a:buNone/>
              <a:defRPr/>
            </a:lvl2pPr>
            <a:lvl3pPr marL="1507846" indent="0">
              <a:buNone/>
              <a:defRPr/>
            </a:lvl3pPr>
            <a:lvl4pPr marL="2261768" indent="0">
              <a:buNone/>
              <a:defRPr/>
            </a:lvl4pPr>
            <a:lvl5pPr marL="3015691" indent="0">
              <a:buNone/>
              <a:defRPr/>
            </a:lvl5pPr>
          </a:lstStyle>
          <a:p>
            <a:pPr lvl="0"/>
            <a:r>
              <a:rPr lang="en-US" dirty="0"/>
              <a:t>Nº</a:t>
            </a:r>
            <a:endParaRPr lang="en-GB" dirty="0"/>
          </a:p>
        </p:txBody>
      </p:sp>
      <p:sp>
        <p:nvSpPr>
          <p:cNvPr id="42" name="Text Placeholder 9">
            <a:extLst>
              <a:ext uri="{FF2B5EF4-FFF2-40B4-BE49-F238E27FC236}">
                <a16:creationId xmlns:a16="http://schemas.microsoft.com/office/drawing/2014/main" id="{B47283B0-869D-4FF5-8A79-618919C330BE}"/>
              </a:ext>
            </a:extLst>
          </p:cNvPr>
          <p:cNvSpPr>
            <a:spLocks noGrp="1"/>
          </p:cNvSpPr>
          <p:nvPr>
            <p:ph type="body" sz="quarter" idx="39" hasCustomPrompt="1"/>
          </p:nvPr>
        </p:nvSpPr>
        <p:spPr>
          <a:xfrm>
            <a:off x="15864437" y="7789822"/>
            <a:ext cx="3287858" cy="356200"/>
          </a:xfrm>
        </p:spPr>
        <p:txBody>
          <a:bodyPr>
            <a:normAutofit/>
          </a:bodyPr>
          <a:lstStyle>
            <a:lvl1pPr marL="0" indent="0" algn="l">
              <a:buNone/>
              <a:defRPr sz="1731" b="1">
                <a:solidFill>
                  <a:schemeClr val="bg1"/>
                </a:solidFill>
              </a:defRPr>
            </a:lvl1pPr>
          </a:lstStyle>
          <a:p>
            <a:pPr lvl="0"/>
            <a:r>
              <a:rPr lang="en-US" dirty="0"/>
              <a:t>TITLE</a:t>
            </a:r>
            <a:endParaRPr lang="en-GB" dirty="0"/>
          </a:p>
        </p:txBody>
      </p:sp>
      <p:sp>
        <p:nvSpPr>
          <p:cNvPr id="43" name="Text Placeholder 9">
            <a:extLst>
              <a:ext uri="{FF2B5EF4-FFF2-40B4-BE49-F238E27FC236}">
                <a16:creationId xmlns:a16="http://schemas.microsoft.com/office/drawing/2014/main" id="{E7254A4F-5904-4BFE-B81D-AE8C682CE01E}"/>
              </a:ext>
            </a:extLst>
          </p:cNvPr>
          <p:cNvSpPr>
            <a:spLocks noGrp="1"/>
          </p:cNvSpPr>
          <p:nvPr>
            <p:ph type="body" sz="quarter" idx="40" hasCustomPrompt="1"/>
          </p:nvPr>
        </p:nvSpPr>
        <p:spPr>
          <a:xfrm>
            <a:off x="15864437" y="8213913"/>
            <a:ext cx="3287858" cy="1602900"/>
          </a:xfrm>
        </p:spPr>
        <p:txBody>
          <a:bodyPr>
            <a:normAutofit/>
          </a:bodyPr>
          <a:lstStyle>
            <a:lvl1pPr marL="0" indent="0">
              <a:buNone/>
              <a:defRPr sz="1649" b="0">
                <a:solidFill>
                  <a:schemeClr val="bg1"/>
                </a:solidFill>
              </a:defRPr>
            </a:lvl1pPr>
          </a:lstStyle>
          <a:p>
            <a:pPr lvl="0"/>
            <a:r>
              <a:rPr lang="en-US" dirty="0"/>
              <a:t>Lorem</a:t>
            </a:r>
            <a:endParaRPr lang="en-GB" dirty="0"/>
          </a:p>
        </p:txBody>
      </p:sp>
      <p:sp>
        <p:nvSpPr>
          <p:cNvPr id="11" name="Title 10">
            <a:extLst>
              <a:ext uri="{FF2B5EF4-FFF2-40B4-BE49-F238E27FC236}">
                <a16:creationId xmlns:a16="http://schemas.microsoft.com/office/drawing/2014/main" id="{B384F1BB-96E7-4D3C-AEA6-2038C6C940A2}"/>
              </a:ext>
            </a:extLst>
          </p:cNvPr>
          <p:cNvSpPr>
            <a:spLocks noGrp="1"/>
          </p:cNvSpPr>
          <p:nvPr>
            <p:ph type="title" hasCustomPrompt="1"/>
          </p:nvPr>
        </p:nvSpPr>
        <p:spPr>
          <a:xfrm>
            <a:off x="615163" y="396486"/>
            <a:ext cx="8682983" cy="2546037"/>
          </a:xfrm>
        </p:spPr>
        <p:txBody>
          <a:bodyPr anchor="t">
            <a:normAutofit/>
          </a:bodyPr>
          <a:lstStyle>
            <a:lvl1pPr>
              <a:lnSpc>
                <a:spcPts val="9234"/>
              </a:lnSpc>
              <a:defRPr sz="9564">
                <a:solidFill>
                  <a:schemeClr val="bg1"/>
                </a:solidFill>
              </a:defRPr>
            </a:lvl1pPr>
          </a:lstStyle>
          <a:p>
            <a:r>
              <a:rPr lang="en-US" dirty="0"/>
              <a:t>Title</a:t>
            </a:r>
            <a:endParaRPr lang="en-GB" dirty="0"/>
          </a:p>
        </p:txBody>
      </p:sp>
      <p:pic>
        <p:nvPicPr>
          <p:cNvPr id="44" name="Imagen 18">
            <a:extLst>
              <a:ext uri="{FF2B5EF4-FFF2-40B4-BE49-F238E27FC236}">
                <a16:creationId xmlns:a16="http://schemas.microsoft.com/office/drawing/2014/main" id="{32BD26A1-9AA8-4EBA-8DF9-36D7C057FFA6}"/>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206379" y="10190981"/>
            <a:ext cx="1167349" cy="583716"/>
          </a:xfrm>
          <a:prstGeom prst="rect">
            <a:avLst/>
          </a:prstGeom>
        </p:spPr>
      </p:pic>
    </p:spTree>
    <p:extLst>
      <p:ext uri="{BB962C8B-B14F-4D97-AF65-F5344CB8AC3E}">
        <p14:creationId xmlns:p14="http://schemas.microsoft.com/office/powerpoint/2010/main" val="2558153611"/>
      </p:ext>
    </p:extLst>
  </p:cSld>
  <p:clrMapOvr>
    <a:overrideClrMapping bg1="lt1" tx1="dk1" bg2="lt2" tx2="dk2" accent1="accent1" accent2="accent2" accent3="accent3" accent4="accent4" accent5="accent5" accent6="accent6" hlink="hlink" folHlink="folHlink"/>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Title Sllide 28px">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2651B967-5412-4F9E-949F-4173106E63EA}"/>
              </a:ext>
            </a:extLst>
          </p:cNvPr>
          <p:cNvSpPr>
            <a:spLocks noGrp="1"/>
          </p:cNvSpPr>
          <p:nvPr>
            <p:ph type="pic" sz="quarter" idx="11"/>
          </p:nvPr>
        </p:nvSpPr>
        <p:spPr>
          <a:xfrm>
            <a:off x="0" y="0"/>
            <a:ext cx="20104100" cy="11309350"/>
          </a:xfrm>
        </p:spPr>
        <p:txBody>
          <a:bodyPr anchor="ctr"/>
          <a:lstStyle>
            <a:lvl1pPr marL="0" indent="0" algn="ctr">
              <a:buNone/>
              <a:defRPr/>
            </a:lvl1pPr>
          </a:lstStyle>
          <a:p>
            <a:endParaRPr lang="en-GB"/>
          </a:p>
        </p:txBody>
      </p:sp>
      <p:pic>
        <p:nvPicPr>
          <p:cNvPr id="19" name="Imagen 18">
            <a:extLst>
              <a:ext uri="{FF2B5EF4-FFF2-40B4-BE49-F238E27FC236}">
                <a16:creationId xmlns:a16="http://schemas.microsoft.com/office/drawing/2014/main" id="{CDE873E3-468F-41C9-A3D5-AE1CFF571F4A}"/>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206379" y="10190981"/>
            <a:ext cx="1167349" cy="583716"/>
          </a:xfrm>
          <a:prstGeom prst="rect">
            <a:avLst/>
          </a:prstGeom>
        </p:spPr>
      </p:pic>
      <p:sp>
        <p:nvSpPr>
          <p:cNvPr id="2" name="Title 1">
            <a:extLst>
              <a:ext uri="{FF2B5EF4-FFF2-40B4-BE49-F238E27FC236}">
                <a16:creationId xmlns:a16="http://schemas.microsoft.com/office/drawing/2014/main" id="{1D616A16-5F6F-4F25-88DA-B5D1E5C6D6A9}"/>
              </a:ext>
            </a:extLst>
          </p:cNvPr>
          <p:cNvSpPr>
            <a:spLocks noGrp="1"/>
          </p:cNvSpPr>
          <p:nvPr>
            <p:ph type="title" hasCustomPrompt="1"/>
          </p:nvPr>
        </p:nvSpPr>
        <p:spPr>
          <a:xfrm>
            <a:off x="496617" y="314895"/>
            <a:ext cx="8693826" cy="896005"/>
          </a:xfrm>
        </p:spPr>
        <p:txBody>
          <a:bodyPr vert="horz" lIns="0" tIns="0" rIns="0" bIns="0" rtlCol="0" anchor="t">
            <a:noAutofit/>
          </a:bodyPr>
          <a:lstStyle>
            <a:lvl1pPr>
              <a:defRPr lang="en-GB" sz="4617" dirty="0">
                <a:solidFill>
                  <a:schemeClr val="bg1"/>
                </a:solidFill>
              </a:defRPr>
            </a:lvl1pPr>
          </a:lstStyle>
          <a:p>
            <a:pPr lvl="0">
              <a:lnSpc>
                <a:spcPts val="5772"/>
              </a:lnSpc>
            </a:pPr>
            <a:r>
              <a:rPr lang="en-US" dirty="0"/>
              <a:t>Title</a:t>
            </a:r>
            <a:endParaRPr lang="en-GB" dirty="0"/>
          </a:p>
        </p:txBody>
      </p:sp>
      <p:sp>
        <p:nvSpPr>
          <p:cNvPr id="14" name="Marcador de texto 19">
            <a:extLst>
              <a:ext uri="{FF2B5EF4-FFF2-40B4-BE49-F238E27FC236}">
                <a16:creationId xmlns:a16="http://schemas.microsoft.com/office/drawing/2014/main" id="{F0A5F956-78D9-483E-8513-18F922BFD069}"/>
              </a:ext>
            </a:extLst>
          </p:cNvPr>
          <p:cNvSpPr>
            <a:spLocks noGrp="1"/>
          </p:cNvSpPr>
          <p:nvPr>
            <p:ph type="body" sz="quarter" idx="10" hasCustomPrompt="1"/>
          </p:nvPr>
        </p:nvSpPr>
        <p:spPr>
          <a:xfrm>
            <a:off x="17185412" y="389504"/>
            <a:ext cx="2985439" cy="250572"/>
          </a:xfrm>
          <a:noFill/>
        </p:spPr>
        <p:txBody>
          <a:bodyPr wrap="square" lIns="0" tIns="0" rIns="0" bIns="0" rtlCol="0" anchor="ctr">
            <a:noAutofit/>
          </a:bodyPr>
          <a:lstStyle>
            <a:lvl1pPr marL="0" indent="0">
              <a:buNone/>
              <a:defRPr lang="es-ES" sz="1319" b="0" smtClean="0">
                <a:solidFill>
                  <a:schemeClr val="bg1"/>
                </a:solidFill>
              </a:defRPr>
            </a:lvl1pPr>
            <a:lvl2pPr marL="376961" indent="0">
              <a:buNone/>
              <a:defRPr lang="es-ES" sz="2968" smtClean="0"/>
            </a:lvl2pPr>
            <a:lvl3pPr marL="1130884" indent="0">
              <a:buNone/>
              <a:defRPr lang="es-ES" sz="2968" smtClean="0"/>
            </a:lvl3pPr>
            <a:lvl4pPr marL="1790567" indent="0">
              <a:buFont typeface="Arial" panose="020B0604020202020204" pitchFamily="34" charset="0"/>
              <a:buNone/>
              <a:defRPr lang="es-ES" smtClean="0"/>
            </a:lvl4pPr>
            <a:lvl5pPr marL="2638730" indent="0">
              <a:buNone/>
              <a:defRPr lang="es-ES"/>
            </a:lvl5pPr>
          </a:lstStyle>
          <a:p>
            <a:pPr marL="0" lvl="0"/>
            <a:r>
              <a:rPr lang="es-ES" noProof="0" dirty="0"/>
              <a:t>D</a:t>
            </a:r>
            <a:r>
              <a:rPr lang="en-GB" noProof="0" dirty="0" err="1"/>
              <a:t>ocument</a:t>
            </a:r>
            <a:r>
              <a:rPr lang="en-GB" noProof="0" dirty="0"/>
              <a:t> Title</a:t>
            </a:r>
          </a:p>
        </p:txBody>
      </p:sp>
    </p:spTree>
    <p:extLst>
      <p:ext uri="{BB962C8B-B14F-4D97-AF65-F5344CB8AC3E}">
        <p14:creationId xmlns:p14="http://schemas.microsoft.com/office/powerpoint/2010/main" val="4223275638"/>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867418" y="2"/>
            <a:ext cx="17339786" cy="769036"/>
          </a:xfrm>
        </p:spPr>
        <p:txBody>
          <a:bodyPr>
            <a:noAutofit/>
          </a:bodyPr>
          <a:lstStyle>
            <a:lvl1pPr>
              <a:defRPr sz="4873"/>
            </a:lvl1pPr>
          </a:lstStyle>
          <a:p>
            <a:r>
              <a:rPr lang="en-US"/>
              <a:t>Click to edit Master title style</a:t>
            </a:r>
            <a:endParaRPr lang="en-GB"/>
          </a:p>
        </p:txBody>
      </p:sp>
      <p:sp>
        <p:nvSpPr>
          <p:cNvPr id="3" name="Date Placeholder 2"/>
          <p:cNvSpPr>
            <a:spLocks noGrp="1"/>
          </p:cNvSpPr>
          <p:nvPr>
            <p:ph type="dt" sz="half" idx="10"/>
          </p:nvPr>
        </p:nvSpPr>
        <p:spPr>
          <a:xfrm>
            <a:off x="867419" y="10604213"/>
            <a:ext cx="1863710" cy="602118"/>
          </a:xfrm>
        </p:spPr>
        <p:txBody>
          <a:bodyPr/>
          <a:lstStyle/>
          <a:p>
            <a:fld id="{F077519F-0905-4C16-B2BE-19409A41AECC}" type="datetimeFigureOut">
              <a:rPr lang="en-US" smtClean="0">
                <a:solidFill>
                  <a:prstClr val="black">
                    <a:tint val="75000"/>
                  </a:prstClr>
                </a:solidFill>
              </a:rPr>
              <a:pPr/>
              <a:t>10/26/2020</a:t>
            </a:fld>
            <a:endParaRPr lang="en-US" dirty="0">
              <a:solidFill>
                <a:prstClr val="black">
                  <a:tint val="75000"/>
                </a:prstClr>
              </a:solidFill>
            </a:endParaRPr>
          </a:p>
        </p:txBody>
      </p:sp>
      <p:sp>
        <p:nvSpPr>
          <p:cNvPr id="5" name="Slide Number Placeholder 4"/>
          <p:cNvSpPr>
            <a:spLocks noGrp="1"/>
          </p:cNvSpPr>
          <p:nvPr>
            <p:ph type="sldNum" sz="quarter" idx="12"/>
          </p:nvPr>
        </p:nvSpPr>
        <p:spPr>
          <a:xfrm>
            <a:off x="16981985" y="10482103"/>
            <a:ext cx="1739961" cy="602118"/>
          </a:xfrm>
        </p:spPr>
        <p:txBody>
          <a:bodyPr/>
          <a:lstStyle/>
          <a:p>
            <a:fld id="{AB27A2A4-8B22-45DF-BF96-33C6715BEF74}" type="slidenum">
              <a:rPr lang="en-US" smtClean="0">
                <a:solidFill>
                  <a:prstClr val="black">
                    <a:tint val="75000"/>
                  </a:prstClr>
                </a:solidFill>
              </a:rPr>
              <a:pPr/>
              <a:t>‹#›</a:t>
            </a:fld>
            <a:endParaRPr lang="en-US" dirty="0">
              <a:solidFill>
                <a:prstClr val="black">
                  <a:tint val="75000"/>
                </a:prstClr>
              </a:solidFill>
            </a:endParaRPr>
          </a:p>
        </p:txBody>
      </p:sp>
      <p:cxnSp>
        <p:nvCxnSpPr>
          <p:cNvPr id="6" name="Straight Connector 5"/>
          <p:cNvCxnSpPr/>
          <p:nvPr userDrawn="1"/>
        </p:nvCxnSpPr>
        <p:spPr>
          <a:xfrm flipV="1">
            <a:off x="0" y="769040"/>
            <a:ext cx="20104100" cy="2"/>
          </a:xfrm>
          <a:prstGeom prst="line">
            <a:avLst/>
          </a:prstGeom>
          <a:ln w="28575">
            <a:gradFill>
              <a:gsLst>
                <a:gs pos="17000">
                  <a:srgbClr val="EE9012"/>
                </a:gs>
                <a:gs pos="44000">
                  <a:srgbClr val="DD219E"/>
                </a:gs>
                <a:gs pos="81000">
                  <a:srgbClr val="5A2781"/>
                </a:gs>
              </a:gsLst>
              <a:lin ang="10800000" scaled="0"/>
            </a:gra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867419" y="10604206"/>
            <a:ext cx="18393113" cy="0"/>
          </a:xfrm>
          <a:prstGeom prst="line">
            <a:avLst/>
          </a:prstGeom>
          <a:ln w="19050">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015788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Title Sllide">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2651B967-5412-4F9E-949F-4173106E63EA}"/>
              </a:ext>
            </a:extLst>
          </p:cNvPr>
          <p:cNvSpPr>
            <a:spLocks noGrp="1"/>
          </p:cNvSpPr>
          <p:nvPr>
            <p:ph type="pic" sz="quarter" idx="11"/>
          </p:nvPr>
        </p:nvSpPr>
        <p:spPr>
          <a:xfrm>
            <a:off x="0" y="0"/>
            <a:ext cx="20104100" cy="11309350"/>
          </a:xfrm>
        </p:spPr>
        <p:txBody>
          <a:bodyPr anchor="ctr"/>
          <a:lstStyle>
            <a:lvl1pPr marL="0" indent="0" algn="ctr">
              <a:buNone/>
              <a:defRPr/>
            </a:lvl1pPr>
          </a:lstStyle>
          <a:p>
            <a:endParaRPr lang="en-GB"/>
          </a:p>
        </p:txBody>
      </p:sp>
      <p:pic>
        <p:nvPicPr>
          <p:cNvPr id="19" name="Imagen 18">
            <a:extLst>
              <a:ext uri="{FF2B5EF4-FFF2-40B4-BE49-F238E27FC236}">
                <a16:creationId xmlns:a16="http://schemas.microsoft.com/office/drawing/2014/main" id="{CDE873E3-468F-41C9-A3D5-AE1CFF571F4A}"/>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206379" y="10190981"/>
            <a:ext cx="1167349" cy="583716"/>
          </a:xfrm>
          <a:prstGeom prst="rect">
            <a:avLst/>
          </a:prstGeom>
        </p:spPr>
      </p:pic>
      <p:sp>
        <p:nvSpPr>
          <p:cNvPr id="14" name="Marcador de texto 19">
            <a:extLst>
              <a:ext uri="{FF2B5EF4-FFF2-40B4-BE49-F238E27FC236}">
                <a16:creationId xmlns:a16="http://schemas.microsoft.com/office/drawing/2014/main" id="{F0A5F956-78D9-483E-8513-18F922BFD069}"/>
              </a:ext>
            </a:extLst>
          </p:cNvPr>
          <p:cNvSpPr>
            <a:spLocks noGrp="1"/>
          </p:cNvSpPr>
          <p:nvPr>
            <p:ph type="body" sz="quarter" idx="10" hasCustomPrompt="1"/>
          </p:nvPr>
        </p:nvSpPr>
        <p:spPr>
          <a:xfrm>
            <a:off x="17185412" y="389504"/>
            <a:ext cx="2985439" cy="250572"/>
          </a:xfrm>
          <a:noFill/>
        </p:spPr>
        <p:txBody>
          <a:bodyPr wrap="square" lIns="0" tIns="0" rIns="0" bIns="0" rtlCol="0" anchor="ctr">
            <a:noAutofit/>
          </a:bodyPr>
          <a:lstStyle>
            <a:lvl1pPr marL="0" indent="0">
              <a:buNone/>
              <a:defRPr lang="es-ES" sz="1319" b="0" smtClean="0">
                <a:solidFill>
                  <a:schemeClr val="bg1"/>
                </a:solidFill>
              </a:defRPr>
            </a:lvl1pPr>
            <a:lvl2pPr marL="376961" indent="0">
              <a:buNone/>
              <a:defRPr lang="es-ES" sz="2968" smtClean="0"/>
            </a:lvl2pPr>
            <a:lvl3pPr marL="1130884" indent="0">
              <a:buNone/>
              <a:defRPr lang="es-ES" sz="2968" smtClean="0"/>
            </a:lvl3pPr>
            <a:lvl4pPr marL="1790567" indent="0">
              <a:buFont typeface="Arial" panose="020B0604020202020204" pitchFamily="34" charset="0"/>
              <a:buNone/>
              <a:defRPr lang="es-ES" smtClean="0"/>
            </a:lvl4pPr>
            <a:lvl5pPr marL="2638730" indent="0">
              <a:buNone/>
              <a:defRPr lang="es-ES"/>
            </a:lvl5pPr>
          </a:lstStyle>
          <a:p>
            <a:pPr marL="0" lvl="0"/>
            <a:r>
              <a:rPr lang="es-ES" noProof="0" dirty="0"/>
              <a:t>D</a:t>
            </a:r>
            <a:r>
              <a:rPr lang="en-GB" noProof="0" dirty="0" err="1"/>
              <a:t>ocument</a:t>
            </a:r>
            <a:r>
              <a:rPr lang="en-GB" noProof="0" dirty="0"/>
              <a:t> Title</a:t>
            </a:r>
          </a:p>
        </p:txBody>
      </p:sp>
    </p:spTree>
    <p:extLst>
      <p:ext uri="{BB962C8B-B14F-4D97-AF65-F5344CB8AC3E}">
        <p14:creationId xmlns:p14="http://schemas.microsoft.com/office/powerpoint/2010/main" val="2543767270"/>
      </p:ext>
    </p:extLst>
  </p:cSld>
  <p:clrMapOvr>
    <a:overrideClrMapping bg1="lt1" tx1="dk1" bg2="lt2" tx2="dk2" accent1="accent1" accent2="accent2" accent3="accent3" accent4="accent4" accent5="accent5" accent6="accent6" hlink="hlink" folHlink="folHlink"/>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Picture right">
    <p:bg>
      <p:bgRef idx="1001">
        <a:schemeClr val="bg1"/>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C677C15-D783-4350-B9E7-52E834A09207}"/>
              </a:ext>
            </a:extLst>
          </p:cNvPr>
          <p:cNvSpPr>
            <a:spLocks noGrp="1"/>
          </p:cNvSpPr>
          <p:nvPr>
            <p:ph type="pic" sz="quarter" idx="11"/>
          </p:nvPr>
        </p:nvSpPr>
        <p:spPr>
          <a:xfrm>
            <a:off x="7874106" y="0"/>
            <a:ext cx="12229994" cy="11309350"/>
          </a:xfrm>
        </p:spPr>
        <p:txBody>
          <a:bodyPr/>
          <a:lstStyle/>
          <a:p>
            <a:endParaRPr lang="en-GB"/>
          </a:p>
        </p:txBody>
      </p:sp>
      <p:sp>
        <p:nvSpPr>
          <p:cNvPr id="14" name="Marcador de texto 19">
            <a:extLst>
              <a:ext uri="{FF2B5EF4-FFF2-40B4-BE49-F238E27FC236}">
                <a16:creationId xmlns:a16="http://schemas.microsoft.com/office/drawing/2014/main" id="{F0A5F956-78D9-483E-8513-18F922BFD069}"/>
              </a:ext>
            </a:extLst>
          </p:cNvPr>
          <p:cNvSpPr>
            <a:spLocks noGrp="1"/>
          </p:cNvSpPr>
          <p:nvPr>
            <p:ph type="body" sz="quarter" idx="10" hasCustomPrompt="1"/>
          </p:nvPr>
        </p:nvSpPr>
        <p:spPr>
          <a:xfrm>
            <a:off x="17185412" y="389504"/>
            <a:ext cx="2985439" cy="250572"/>
          </a:xfrm>
          <a:noFill/>
        </p:spPr>
        <p:txBody>
          <a:bodyPr wrap="square" lIns="0" tIns="0" rIns="0" bIns="0" rtlCol="0" anchor="ctr">
            <a:noAutofit/>
          </a:bodyPr>
          <a:lstStyle>
            <a:lvl1pPr marL="0" indent="0">
              <a:buNone/>
              <a:defRPr lang="es-ES" sz="1319" b="0" smtClean="0">
                <a:solidFill>
                  <a:schemeClr val="bg1"/>
                </a:solidFill>
              </a:defRPr>
            </a:lvl1pPr>
            <a:lvl2pPr marL="376961" indent="0">
              <a:buNone/>
              <a:defRPr lang="es-ES" sz="2968" smtClean="0"/>
            </a:lvl2pPr>
            <a:lvl3pPr marL="1130884" indent="0">
              <a:buNone/>
              <a:defRPr lang="es-ES" sz="2968" smtClean="0"/>
            </a:lvl3pPr>
            <a:lvl4pPr marL="1790567" indent="0">
              <a:buFont typeface="Arial" panose="020B0604020202020204" pitchFamily="34" charset="0"/>
              <a:buNone/>
              <a:defRPr lang="es-ES" smtClean="0"/>
            </a:lvl4pPr>
            <a:lvl5pPr marL="2638730" indent="0">
              <a:buNone/>
              <a:defRPr lang="es-ES"/>
            </a:lvl5pPr>
          </a:lstStyle>
          <a:p>
            <a:pPr marL="0" lvl="0"/>
            <a:r>
              <a:rPr lang="es-ES" noProof="0" dirty="0"/>
              <a:t>D</a:t>
            </a:r>
            <a:r>
              <a:rPr lang="en-GB" noProof="0" dirty="0" err="1"/>
              <a:t>ocument</a:t>
            </a:r>
            <a:r>
              <a:rPr lang="en-GB" noProof="0" dirty="0"/>
              <a:t> Title</a:t>
            </a:r>
          </a:p>
        </p:txBody>
      </p:sp>
      <p:sp>
        <p:nvSpPr>
          <p:cNvPr id="6" name="Text Placeholder 5">
            <a:extLst>
              <a:ext uri="{FF2B5EF4-FFF2-40B4-BE49-F238E27FC236}">
                <a16:creationId xmlns:a16="http://schemas.microsoft.com/office/drawing/2014/main" id="{0E6285A1-3678-4E17-88A4-D3F997A10815}"/>
              </a:ext>
            </a:extLst>
          </p:cNvPr>
          <p:cNvSpPr>
            <a:spLocks noGrp="1"/>
          </p:cNvSpPr>
          <p:nvPr>
            <p:ph type="body" sz="quarter" idx="12" hasCustomPrompt="1"/>
          </p:nvPr>
        </p:nvSpPr>
        <p:spPr>
          <a:xfrm>
            <a:off x="552342" y="291893"/>
            <a:ext cx="4457977" cy="696363"/>
          </a:xfrm>
        </p:spPr>
        <p:txBody>
          <a:bodyPr anchor="ctr">
            <a:normAutofit/>
          </a:bodyPr>
          <a:lstStyle>
            <a:lvl1pPr marL="0" indent="0">
              <a:buNone/>
              <a:defRPr sz="2968"/>
            </a:lvl1pPr>
          </a:lstStyle>
          <a:p>
            <a:pPr lvl="0"/>
            <a:r>
              <a:rPr lang="en-GB" noProof="0"/>
              <a:t>Title</a:t>
            </a:r>
          </a:p>
        </p:txBody>
      </p:sp>
      <p:pic>
        <p:nvPicPr>
          <p:cNvPr id="5" name="Imagen 4">
            <a:extLst>
              <a:ext uri="{FF2B5EF4-FFF2-40B4-BE49-F238E27FC236}">
                <a16:creationId xmlns:a16="http://schemas.microsoft.com/office/drawing/2014/main" id="{89B4CBA2-4A11-D145-9157-6A99F51D78CF}"/>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206379" y="10190981"/>
            <a:ext cx="1167349" cy="583716"/>
          </a:xfrm>
          <a:prstGeom prst="rect">
            <a:avLst/>
          </a:prstGeom>
        </p:spPr>
      </p:pic>
    </p:spTree>
    <p:extLst>
      <p:ext uri="{BB962C8B-B14F-4D97-AF65-F5344CB8AC3E}">
        <p14:creationId xmlns:p14="http://schemas.microsoft.com/office/powerpoint/2010/main" val="2055262180"/>
      </p:ext>
    </p:extLst>
  </p:cSld>
  <p:clrMapOvr>
    <a:overrideClrMapping bg1="lt1" tx1="dk1" bg2="lt2" tx2="dk2" accent1="accent1" accent2="accent2" accent3="accent3" accent4="accent4" accent5="accent5" accent6="accent6" hlink="hlink" folHlink="folHlink"/>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Title + picture">
    <p:bg>
      <p:bgRef idx="1001">
        <a:schemeClr val="bg1"/>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C677C15-D783-4350-B9E7-52E834A09207}"/>
              </a:ext>
            </a:extLst>
          </p:cNvPr>
          <p:cNvSpPr>
            <a:spLocks noGrp="1"/>
          </p:cNvSpPr>
          <p:nvPr>
            <p:ph type="pic" sz="quarter" idx="11"/>
          </p:nvPr>
        </p:nvSpPr>
        <p:spPr>
          <a:xfrm>
            <a:off x="0" y="3494530"/>
            <a:ext cx="20104100" cy="6558226"/>
          </a:xfrm>
        </p:spPr>
        <p:txBody>
          <a:bodyPr/>
          <a:lstStyle/>
          <a:p>
            <a:endParaRPr lang="en-GB"/>
          </a:p>
        </p:txBody>
      </p:sp>
      <p:sp>
        <p:nvSpPr>
          <p:cNvPr id="14" name="Marcador de texto 19">
            <a:extLst>
              <a:ext uri="{FF2B5EF4-FFF2-40B4-BE49-F238E27FC236}">
                <a16:creationId xmlns:a16="http://schemas.microsoft.com/office/drawing/2014/main" id="{F0A5F956-78D9-483E-8513-18F922BFD069}"/>
              </a:ext>
            </a:extLst>
          </p:cNvPr>
          <p:cNvSpPr>
            <a:spLocks noGrp="1"/>
          </p:cNvSpPr>
          <p:nvPr>
            <p:ph type="body" sz="quarter" idx="10" hasCustomPrompt="1"/>
          </p:nvPr>
        </p:nvSpPr>
        <p:spPr>
          <a:xfrm>
            <a:off x="17185412" y="389504"/>
            <a:ext cx="2985439" cy="250572"/>
          </a:xfrm>
          <a:noFill/>
        </p:spPr>
        <p:txBody>
          <a:bodyPr wrap="square" lIns="0" tIns="0" rIns="0" bIns="0" rtlCol="0" anchor="ctr">
            <a:noAutofit/>
          </a:bodyPr>
          <a:lstStyle>
            <a:lvl1pPr marL="0" indent="0">
              <a:buNone/>
              <a:defRPr lang="es-ES" sz="1319" b="0" smtClean="0">
                <a:solidFill>
                  <a:schemeClr val="tx1"/>
                </a:solidFill>
              </a:defRPr>
            </a:lvl1pPr>
            <a:lvl2pPr marL="376961" indent="0">
              <a:buNone/>
              <a:defRPr lang="es-ES" sz="2968" smtClean="0"/>
            </a:lvl2pPr>
            <a:lvl3pPr marL="1130884" indent="0">
              <a:buNone/>
              <a:defRPr lang="es-ES" sz="2968" smtClean="0"/>
            </a:lvl3pPr>
            <a:lvl4pPr marL="1790567" indent="0">
              <a:buFont typeface="Arial" panose="020B0604020202020204" pitchFamily="34" charset="0"/>
              <a:buNone/>
              <a:defRPr lang="es-ES" smtClean="0"/>
            </a:lvl4pPr>
            <a:lvl5pPr marL="2638730" indent="0">
              <a:buNone/>
              <a:defRPr lang="es-ES"/>
            </a:lvl5pPr>
          </a:lstStyle>
          <a:p>
            <a:pPr marL="0" lvl="0"/>
            <a:r>
              <a:rPr lang="es-ES" noProof="0" dirty="0"/>
              <a:t>D</a:t>
            </a:r>
            <a:r>
              <a:rPr lang="en-GB" noProof="0" dirty="0" err="1"/>
              <a:t>ocument</a:t>
            </a:r>
            <a:r>
              <a:rPr lang="en-GB" noProof="0" dirty="0"/>
              <a:t> Title</a:t>
            </a:r>
          </a:p>
        </p:txBody>
      </p:sp>
      <p:sp>
        <p:nvSpPr>
          <p:cNvPr id="6" name="Text Placeholder 5">
            <a:extLst>
              <a:ext uri="{FF2B5EF4-FFF2-40B4-BE49-F238E27FC236}">
                <a16:creationId xmlns:a16="http://schemas.microsoft.com/office/drawing/2014/main" id="{0E6285A1-3678-4E17-88A4-D3F997A10815}"/>
              </a:ext>
            </a:extLst>
          </p:cNvPr>
          <p:cNvSpPr>
            <a:spLocks noGrp="1"/>
          </p:cNvSpPr>
          <p:nvPr>
            <p:ph type="body" sz="quarter" idx="12" hasCustomPrompt="1"/>
          </p:nvPr>
        </p:nvSpPr>
        <p:spPr>
          <a:xfrm>
            <a:off x="552342" y="291893"/>
            <a:ext cx="4457977" cy="696363"/>
          </a:xfrm>
        </p:spPr>
        <p:txBody>
          <a:bodyPr anchor="ctr">
            <a:normAutofit/>
          </a:bodyPr>
          <a:lstStyle>
            <a:lvl1pPr marL="0" indent="0">
              <a:buNone/>
              <a:defRPr sz="2968"/>
            </a:lvl1pPr>
          </a:lstStyle>
          <a:p>
            <a:pPr lvl="0"/>
            <a:r>
              <a:rPr lang="en-GB" noProof="0" dirty="0"/>
              <a:t>Title</a:t>
            </a:r>
          </a:p>
        </p:txBody>
      </p:sp>
      <p:pic>
        <p:nvPicPr>
          <p:cNvPr id="7" name="Imagen 18">
            <a:extLst>
              <a:ext uri="{FF2B5EF4-FFF2-40B4-BE49-F238E27FC236}">
                <a16:creationId xmlns:a16="http://schemas.microsoft.com/office/drawing/2014/main" id="{B6C47EA2-1D4F-4D9E-8577-0F31F00CBCA5}"/>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206379" y="10190981"/>
            <a:ext cx="1167349" cy="583716"/>
          </a:xfrm>
          <a:prstGeom prst="rect">
            <a:avLst/>
          </a:prstGeom>
        </p:spPr>
      </p:pic>
      <p:pic>
        <p:nvPicPr>
          <p:cNvPr id="8" name="Imagen 15">
            <a:extLst>
              <a:ext uri="{FF2B5EF4-FFF2-40B4-BE49-F238E27FC236}">
                <a16:creationId xmlns:a16="http://schemas.microsoft.com/office/drawing/2014/main" id="{57384837-9129-4F3B-92EC-FAFD7429F569}"/>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8206627" y="10175274"/>
            <a:ext cx="1170610" cy="607079"/>
          </a:xfrm>
          <a:prstGeom prst="rect">
            <a:avLst/>
          </a:prstGeom>
        </p:spPr>
      </p:pic>
    </p:spTree>
    <p:extLst>
      <p:ext uri="{BB962C8B-B14F-4D97-AF65-F5344CB8AC3E}">
        <p14:creationId xmlns:p14="http://schemas.microsoft.com/office/powerpoint/2010/main" val="2631923353"/>
      </p:ext>
    </p:extLst>
  </p:cSld>
  <p:clrMapOvr>
    <a:overrideClrMapping bg1="lt1" tx1="dk1" bg2="lt2" tx2="dk2" accent1="accent1" accent2="accent2" accent3="accent3" accent4="accent4" accent5="accent5" accent6="accent6" hlink="hlink" folHlink="folHlink"/>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Title + picture big">
    <p:bg>
      <p:bgRef idx="1001">
        <a:schemeClr val="bg1"/>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C677C15-D783-4350-B9E7-52E834A09207}"/>
              </a:ext>
            </a:extLst>
          </p:cNvPr>
          <p:cNvSpPr>
            <a:spLocks noGrp="1"/>
          </p:cNvSpPr>
          <p:nvPr>
            <p:ph type="pic" sz="quarter" idx="11"/>
          </p:nvPr>
        </p:nvSpPr>
        <p:spPr>
          <a:xfrm>
            <a:off x="0" y="0"/>
            <a:ext cx="20104100" cy="11309350"/>
          </a:xfrm>
        </p:spPr>
        <p:txBody>
          <a:bodyPr/>
          <a:lstStyle/>
          <a:p>
            <a:endParaRPr lang="en-GB"/>
          </a:p>
        </p:txBody>
      </p:sp>
      <p:sp>
        <p:nvSpPr>
          <p:cNvPr id="14" name="Marcador de texto 19">
            <a:extLst>
              <a:ext uri="{FF2B5EF4-FFF2-40B4-BE49-F238E27FC236}">
                <a16:creationId xmlns:a16="http://schemas.microsoft.com/office/drawing/2014/main" id="{F0A5F956-78D9-483E-8513-18F922BFD069}"/>
              </a:ext>
            </a:extLst>
          </p:cNvPr>
          <p:cNvSpPr>
            <a:spLocks noGrp="1"/>
          </p:cNvSpPr>
          <p:nvPr>
            <p:ph type="body" sz="quarter" idx="10" hasCustomPrompt="1"/>
          </p:nvPr>
        </p:nvSpPr>
        <p:spPr>
          <a:xfrm>
            <a:off x="17185412" y="389504"/>
            <a:ext cx="2985439" cy="250572"/>
          </a:xfrm>
          <a:noFill/>
        </p:spPr>
        <p:txBody>
          <a:bodyPr wrap="square" lIns="0" tIns="0" rIns="0" bIns="0" rtlCol="0" anchor="ctr">
            <a:noAutofit/>
          </a:bodyPr>
          <a:lstStyle>
            <a:lvl1pPr marL="0" indent="0">
              <a:buNone/>
              <a:defRPr lang="es-ES" sz="1319" b="0" smtClean="0">
                <a:solidFill>
                  <a:schemeClr val="bg1"/>
                </a:solidFill>
              </a:defRPr>
            </a:lvl1pPr>
            <a:lvl2pPr marL="376961" indent="0">
              <a:buNone/>
              <a:defRPr lang="es-ES" sz="2968" smtClean="0"/>
            </a:lvl2pPr>
            <a:lvl3pPr marL="1130884" indent="0">
              <a:buNone/>
              <a:defRPr lang="es-ES" sz="2968" smtClean="0"/>
            </a:lvl3pPr>
            <a:lvl4pPr marL="1790567" indent="0">
              <a:buFont typeface="Arial" panose="020B0604020202020204" pitchFamily="34" charset="0"/>
              <a:buNone/>
              <a:defRPr lang="es-ES" smtClean="0"/>
            </a:lvl4pPr>
            <a:lvl5pPr marL="2638730" indent="0">
              <a:buNone/>
              <a:defRPr lang="es-ES"/>
            </a:lvl5pPr>
          </a:lstStyle>
          <a:p>
            <a:pPr marL="0" lvl="0"/>
            <a:r>
              <a:rPr lang="es-ES" noProof="0" dirty="0"/>
              <a:t>D</a:t>
            </a:r>
            <a:r>
              <a:rPr lang="en-GB" noProof="0" dirty="0" err="1"/>
              <a:t>ocument</a:t>
            </a:r>
            <a:r>
              <a:rPr lang="en-GB" noProof="0" dirty="0"/>
              <a:t> Title</a:t>
            </a:r>
          </a:p>
        </p:txBody>
      </p:sp>
      <p:sp>
        <p:nvSpPr>
          <p:cNvPr id="6" name="Text Placeholder 5">
            <a:extLst>
              <a:ext uri="{FF2B5EF4-FFF2-40B4-BE49-F238E27FC236}">
                <a16:creationId xmlns:a16="http://schemas.microsoft.com/office/drawing/2014/main" id="{0E6285A1-3678-4E17-88A4-D3F997A10815}"/>
              </a:ext>
            </a:extLst>
          </p:cNvPr>
          <p:cNvSpPr>
            <a:spLocks noGrp="1"/>
          </p:cNvSpPr>
          <p:nvPr>
            <p:ph type="body" sz="quarter" idx="12" hasCustomPrompt="1"/>
          </p:nvPr>
        </p:nvSpPr>
        <p:spPr>
          <a:xfrm>
            <a:off x="552342" y="291893"/>
            <a:ext cx="4457977" cy="696363"/>
          </a:xfrm>
        </p:spPr>
        <p:txBody>
          <a:bodyPr anchor="ctr">
            <a:normAutofit/>
          </a:bodyPr>
          <a:lstStyle>
            <a:lvl1pPr marL="0" indent="0">
              <a:buNone/>
              <a:defRPr sz="2968">
                <a:solidFill>
                  <a:schemeClr val="bg1"/>
                </a:solidFill>
              </a:defRPr>
            </a:lvl1pPr>
          </a:lstStyle>
          <a:p>
            <a:pPr lvl="0"/>
            <a:r>
              <a:rPr lang="en-GB" noProof="0" dirty="0"/>
              <a:t>Title</a:t>
            </a:r>
          </a:p>
        </p:txBody>
      </p:sp>
      <p:pic>
        <p:nvPicPr>
          <p:cNvPr id="7" name="Imagen 18">
            <a:extLst>
              <a:ext uri="{FF2B5EF4-FFF2-40B4-BE49-F238E27FC236}">
                <a16:creationId xmlns:a16="http://schemas.microsoft.com/office/drawing/2014/main" id="{B6C47EA2-1D4F-4D9E-8577-0F31F00CBCA5}"/>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206379" y="10190981"/>
            <a:ext cx="1167349" cy="583716"/>
          </a:xfrm>
          <a:prstGeom prst="rect">
            <a:avLst/>
          </a:prstGeom>
        </p:spPr>
      </p:pic>
      <p:pic>
        <p:nvPicPr>
          <p:cNvPr id="8" name="Imagen 15">
            <a:extLst>
              <a:ext uri="{FF2B5EF4-FFF2-40B4-BE49-F238E27FC236}">
                <a16:creationId xmlns:a16="http://schemas.microsoft.com/office/drawing/2014/main" id="{57384837-9129-4F3B-92EC-FAFD7429F569}"/>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8206627" y="10175274"/>
            <a:ext cx="1170610" cy="607079"/>
          </a:xfrm>
          <a:prstGeom prst="rect">
            <a:avLst/>
          </a:prstGeom>
        </p:spPr>
      </p:pic>
    </p:spTree>
    <p:extLst>
      <p:ext uri="{BB962C8B-B14F-4D97-AF65-F5344CB8AC3E}">
        <p14:creationId xmlns:p14="http://schemas.microsoft.com/office/powerpoint/2010/main" val="3842867635"/>
      </p:ext>
    </p:extLst>
  </p:cSld>
  <p:clrMapOvr>
    <a:overrideClrMapping bg1="lt1" tx1="dk1" bg2="lt2" tx2="dk2" accent1="accent1" accent2="accent2" accent3="accent3" accent4="accent4" accent5="accent5" accent6="accent6" hlink="hlink" folHlink="folHlink"/>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Name + photo right">
    <p:bg>
      <p:bgRef idx="1001">
        <a:schemeClr val="bg1"/>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C677C15-D783-4350-B9E7-52E834A09207}"/>
              </a:ext>
            </a:extLst>
          </p:cNvPr>
          <p:cNvSpPr>
            <a:spLocks noGrp="1"/>
          </p:cNvSpPr>
          <p:nvPr>
            <p:ph type="pic" sz="quarter" idx="11"/>
          </p:nvPr>
        </p:nvSpPr>
        <p:spPr>
          <a:xfrm>
            <a:off x="11811159" y="0"/>
            <a:ext cx="8292941" cy="11309350"/>
          </a:xfrm>
        </p:spPr>
        <p:txBody>
          <a:bodyPr/>
          <a:lstStyle/>
          <a:p>
            <a:endParaRPr lang="en-GB"/>
          </a:p>
        </p:txBody>
      </p:sp>
      <p:sp>
        <p:nvSpPr>
          <p:cNvPr id="6" name="Text Placeholder 5">
            <a:extLst>
              <a:ext uri="{FF2B5EF4-FFF2-40B4-BE49-F238E27FC236}">
                <a16:creationId xmlns:a16="http://schemas.microsoft.com/office/drawing/2014/main" id="{0E6285A1-3678-4E17-88A4-D3F997A10815}"/>
              </a:ext>
            </a:extLst>
          </p:cNvPr>
          <p:cNvSpPr>
            <a:spLocks noGrp="1"/>
          </p:cNvSpPr>
          <p:nvPr>
            <p:ph type="body" sz="quarter" idx="12" hasCustomPrompt="1"/>
          </p:nvPr>
        </p:nvSpPr>
        <p:spPr>
          <a:xfrm>
            <a:off x="824585" y="733013"/>
            <a:ext cx="7273897" cy="2827338"/>
          </a:xfrm>
        </p:spPr>
        <p:txBody>
          <a:bodyPr anchor="t">
            <a:normAutofit/>
          </a:bodyPr>
          <a:lstStyle>
            <a:lvl1pPr marL="0" indent="0">
              <a:buNone/>
              <a:defRPr sz="8905">
                <a:solidFill>
                  <a:schemeClr val="tx2"/>
                </a:solidFill>
              </a:defRPr>
            </a:lvl1pPr>
          </a:lstStyle>
          <a:p>
            <a:pPr lvl="0"/>
            <a:r>
              <a:rPr lang="en-GB" noProof="0" dirty="0"/>
              <a:t>Name</a:t>
            </a:r>
          </a:p>
        </p:txBody>
      </p:sp>
      <p:sp>
        <p:nvSpPr>
          <p:cNvPr id="7" name="Text Placeholder 5">
            <a:extLst>
              <a:ext uri="{FF2B5EF4-FFF2-40B4-BE49-F238E27FC236}">
                <a16:creationId xmlns:a16="http://schemas.microsoft.com/office/drawing/2014/main" id="{A19D4150-7ED4-44E1-9278-A64CF1A07AAE}"/>
              </a:ext>
            </a:extLst>
          </p:cNvPr>
          <p:cNvSpPr>
            <a:spLocks noGrp="1"/>
          </p:cNvSpPr>
          <p:nvPr>
            <p:ph type="body" sz="quarter" idx="13" hasCustomPrompt="1"/>
          </p:nvPr>
        </p:nvSpPr>
        <p:spPr>
          <a:xfrm>
            <a:off x="824587" y="3492286"/>
            <a:ext cx="4012964" cy="1113991"/>
          </a:xfrm>
        </p:spPr>
        <p:txBody>
          <a:bodyPr anchor="t">
            <a:normAutofit/>
          </a:bodyPr>
          <a:lstStyle>
            <a:lvl1pPr marL="0" indent="0">
              <a:lnSpc>
                <a:spcPts val="2968"/>
              </a:lnSpc>
              <a:buNone/>
              <a:defRPr sz="3298">
                <a:solidFill>
                  <a:schemeClr val="tx2"/>
                </a:solidFill>
              </a:defRPr>
            </a:lvl1pPr>
          </a:lstStyle>
          <a:p>
            <a:pPr lvl="0"/>
            <a:r>
              <a:rPr lang="en-GB" noProof="0"/>
              <a:t>Title</a:t>
            </a:r>
          </a:p>
        </p:txBody>
      </p:sp>
      <p:pic>
        <p:nvPicPr>
          <p:cNvPr id="8" name="Imagen 15">
            <a:extLst>
              <a:ext uri="{FF2B5EF4-FFF2-40B4-BE49-F238E27FC236}">
                <a16:creationId xmlns:a16="http://schemas.microsoft.com/office/drawing/2014/main" id="{38F533F4-2B2D-4957-A6B1-BAC7D7475E53}"/>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24586" y="10167619"/>
            <a:ext cx="1170610" cy="607079"/>
          </a:xfrm>
          <a:prstGeom prst="rect">
            <a:avLst/>
          </a:prstGeom>
        </p:spPr>
      </p:pic>
      <p:sp>
        <p:nvSpPr>
          <p:cNvPr id="11" name="Text Placeholder 5">
            <a:extLst>
              <a:ext uri="{FF2B5EF4-FFF2-40B4-BE49-F238E27FC236}">
                <a16:creationId xmlns:a16="http://schemas.microsoft.com/office/drawing/2014/main" id="{F24180B9-A209-426D-85FB-7FBFFC9166DF}"/>
              </a:ext>
            </a:extLst>
          </p:cNvPr>
          <p:cNvSpPr>
            <a:spLocks noGrp="1"/>
          </p:cNvSpPr>
          <p:nvPr>
            <p:ph type="body" sz="quarter" idx="14" hasCustomPrompt="1"/>
          </p:nvPr>
        </p:nvSpPr>
        <p:spPr>
          <a:xfrm>
            <a:off x="824587" y="4779248"/>
            <a:ext cx="4012964" cy="2033780"/>
          </a:xfrm>
        </p:spPr>
        <p:txBody>
          <a:bodyPr anchor="t">
            <a:normAutofit/>
          </a:bodyPr>
          <a:lstStyle>
            <a:lvl1pPr marL="0" indent="0">
              <a:buNone/>
              <a:defRPr sz="1979">
                <a:solidFill>
                  <a:schemeClr val="tx1"/>
                </a:solidFill>
              </a:defRPr>
            </a:lvl1pPr>
          </a:lstStyle>
          <a:p>
            <a:pPr lvl="0"/>
            <a:r>
              <a:rPr lang="en-GB" noProof="0" dirty="0"/>
              <a:t>Lorem</a:t>
            </a:r>
          </a:p>
        </p:txBody>
      </p:sp>
      <p:sp>
        <p:nvSpPr>
          <p:cNvPr id="12" name="Text Placeholder 5">
            <a:extLst>
              <a:ext uri="{FF2B5EF4-FFF2-40B4-BE49-F238E27FC236}">
                <a16:creationId xmlns:a16="http://schemas.microsoft.com/office/drawing/2014/main" id="{75D09A63-14BB-44E9-B249-B4E353124A1F}"/>
              </a:ext>
            </a:extLst>
          </p:cNvPr>
          <p:cNvSpPr>
            <a:spLocks noGrp="1"/>
          </p:cNvSpPr>
          <p:nvPr>
            <p:ph type="body" sz="quarter" idx="15" hasCustomPrompt="1"/>
          </p:nvPr>
        </p:nvSpPr>
        <p:spPr>
          <a:xfrm>
            <a:off x="6962321" y="8133837"/>
            <a:ext cx="4012964" cy="2640859"/>
          </a:xfrm>
        </p:spPr>
        <p:txBody>
          <a:bodyPr anchor="b">
            <a:normAutofit/>
          </a:bodyPr>
          <a:lstStyle>
            <a:lvl1pPr marL="0" indent="0" algn="r">
              <a:buNone/>
              <a:defRPr sz="5277">
                <a:solidFill>
                  <a:schemeClr val="tx2"/>
                </a:solidFill>
                <a:latin typeface="+mj-lt"/>
              </a:defRPr>
            </a:lvl1pPr>
          </a:lstStyle>
          <a:p>
            <a:pPr lvl="0"/>
            <a:r>
              <a:rPr lang="en-GB" noProof="0" dirty="0"/>
              <a:t>Lorem</a:t>
            </a:r>
          </a:p>
        </p:txBody>
      </p:sp>
    </p:spTree>
    <p:extLst>
      <p:ext uri="{BB962C8B-B14F-4D97-AF65-F5344CB8AC3E}">
        <p14:creationId xmlns:p14="http://schemas.microsoft.com/office/powerpoint/2010/main" val="2755356984"/>
      </p:ext>
    </p:extLst>
  </p:cSld>
  <p:clrMapOvr>
    <a:overrideClrMapping bg1="lt1" tx1="dk1" bg2="lt2" tx2="dk2" accent1="accent1" accent2="accent2" accent3="accent3" accent4="accent4" accent5="accent5" accent6="accent6" hlink="hlink" folHlink="folHlink"/>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Name + photo left">
    <p:bg>
      <p:bgRef idx="1001">
        <a:schemeClr val="bg1"/>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C677C15-D783-4350-B9E7-52E834A09207}"/>
              </a:ext>
            </a:extLst>
          </p:cNvPr>
          <p:cNvSpPr>
            <a:spLocks noGrp="1"/>
          </p:cNvSpPr>
          <p:nvPr>
            <p:ph type="pic" sz="quarter" idx="11"/>
          </p:nvPr>
        </p:nvSpPr>
        <p:spPr>
          <a:xfrm>
            <a:off x="0" y="0"/>
            <a:ext cx="8292941" cy="11309350"/>
          </a:xfrm>
        </p:spPr>
        <p:txBody>
          <a:bodyPr/>
          <a:lstStyle/>
          <a:p>
            <a:endParaRPr lang="en-GB"/>
          </a:p>
        </p:txBody>
      </p:sp>
      <p:sp>
        <p:nvSpPr>
          <p:cNvPr id="6" name="Text Placeholder 5">
            <a:extLst>
              <a:ext uri="{FF2B5EF4-FFF2-40B4-BE49-F238E27FC236}">
                <a16:creationId xmlns:a16="http://schemas.microsoft.com/office/drawing/2014/main" id="{0E6285A1-3678-4E17-88A4-D3F997A10815}"/>
              </a:ext>
            </a:extLst>
          </p:cNvPr>
          <p:cNvSpPr>
            <a:spLocks noGrp="1"/>
          </p:cNvSpPr>
          <p:nvPr>
            <p:ph type="body" sz="quarter" idx="12" hasCustomPrompt="1"/>
          </p:nvPr>
        </p:nvSpPr>
        <p:spPr>
          <a:xfrm>
            <a:off x="11928959" y="733013"/>
            <a:ext cx="7273897" cy="2827338"/>
          </a:xfrm>
        </p:spPr>
        <p:txBody>
          <a:bodyPr anchor="t">
            <a:normAutofit/>
          </a:bodyPr>
          <a:lstStyle>
            <a:lvl1pPr marL="0" indent="0" algn="r">
              <a:buNone/>
              <a:defRPr sz="8905">
                <a:solidFill>
                  <a:schemeClr val="tx2"/>
                </a:solidFill>
                <a:latin typeface="Arial Unicode MS" panose="020B0604020202020204" pitchFamily="34" charset="-128"/>
                <a:ea typeface="Arial Unicode MS" panose="020B0604020202020204" pitchFamily="34" charset="-128"/>
                <a:cs typeface="Arial Unicode MS" panose="020B0604020202020204" pitchFamily="34" charset="-128"/>
              </a:defRPr>
            </a:lvl1pPr>
          </a:lstStyle>
          <a:p>
            <a:pPr lvl="0"/>
            <a:r>
              <a:rPr lang="en-GB" noProof="0" dirty="0"/>
              <a:t>Name</a:t>
            </a:r>
          </a:p>
        </p:txBody>
      </p:sp>
      <p:sp>
        <p:nvSpPr>
          <p:cNvPr id="7" name="Text Placeholder 5">
            <a:extLst>
              <a:ext uri="{FF2B5EF4-FFF2-40B4-BE49-F238E27FC236}">
                <a16:creationId xmlns:a16="http://schemas.microsoft.com/office/drawing/2014/main" id="{A19D4150-7ED4-44E1-9278-A64CF1A07AAE}"/>
              </a:ext>
            </a:extLst>
          </p:cNvPr>
          <p:cNvSpPr>
            <a:spLocks noGrp="1"/>
          </p:cNvSpPr>
          <p:nvPr>
            <p:ph type="body" sz="quarter" idx="13" hasCustomPrompt="1"/>
          </p:nvPr>
        </p:nvSpPr>
        <p:spPr>
          <a:xfrm>
            <a:off x="15189891" y="3450878"/>
            <a:ext cx="4012964" cy="1769702"/>
          </a:xfrm>
        </p:spPr>
        <p:txBody>
          <a:bodyPr vert="horz" lIns="0" tIns="0" rIns="0" bIns="0" rtlCol="0" anchor="t">
            <a:normAutofit/>
          </a:bodyPr>
          <a:lstStyle>
            <a:lvl1pPr marL="0" indent="0" algn="r">
              <a:spcBef>
                <a:spcPts val="0"/>
              </a:spcBef>
              <a:buNone/>
              <a:defRPr lang="en-GB" sz="3298" noProof="0" dirty="0">
                <a:solidFill>
                  <a:schemeClr val="tx2"/>
                </a:solidFill>
                <a:latin typeface="Arial Unicode MS" panose="020B0604020202020204" pitchFamily="34" charset="-128"/>
                <a:ea typeface="Arial Unicode MS" panose="020B0604020202020204" pitchFamily="34" charset="-128"/>
                <a:cs typeface="Arial Unicode MS" panose="020B0604020202020204" pitchFamily="34" charset="-128"/>
              </a:defRPr>
            </a:lvl1pPr>
          </a:lstStyle>
          <a:p>
            <a:pPr marL="376961" lvl="0" indent="-376961">
              <a:lnSpc>
                <a:spcPts val="3298"/>
              </a:lnSpc>
            </a:pPr>
            <a:r>
              <a:rPr lang="en-GB" noProof="0" dirty="0"/>
              <a:t>Title</a:t>
            </a:r>
          </a:p>
        </p:txBody>
      </p:sp>
      <p:sp>
        <p:nvSpPr>
          <p:cNvPr id="9" name="Text Placeholder 5">
            <a:extLst>
              <a:ext uri="{FF2B5EF4-FFF2-40B4-BE49-F238E27FC236}">
                <a16:creationId xmlns:a16="http://schemas.microsoft.com/office/drawing/2014/main" id="{F47A2C88-237D-4635-8053-82C5565C3B06}"/>
              </a:ext>
            </a:extLst>
          </p:cNvPr>
          <p:cNvSpPr>
            <a:spLocks noGrp="1"/>
          </p:cNvSpPr>
          <p:nvPr>
            <p:ph type="body" sz="quarter" idx="14" hasCustomPrompt="1"/>
          </p:nvPr>
        </p:nvSpPr>
        <p:spPr>
          <a:xfrm>
            <a:off x="15189891" y="4779248"/>
            <a:ext cx="4012964" cy="2033780"/>
          </a:xfrm>
        </p:spPr>
        <p:txBody>
          <a:bodyPr anchor="t">
            <a:normAutofit/>
          </a:bodyPr>
          <a:lstStyle>
            <a:lvl1pPr marL="0" indent="0" algn="r">
              <a:buNone/>
              <a:defRPr sz="1979">
                <a:solidFill>
                  <a:schemeClr val="tx1"/>
                </a:solidFill>
              </a:defRPr>
            </a:lvl1pPr>
          </a:lstStyle>
          <a:p>
            <a:pPr lvl="0"/>
            <a:r>
              <a:rPr lang="en-GB" noProof="0" dirty="0"/>
              <a:t>Lorem</a:t>
            </a:r>
          </a:p>
        </p:txBody>
      </p:sp>
      <p:pic>
        <p:nvPicPr>
          <p:cNvPr id="10" name="Imagen 15">
            <a:extLst>
              <a:ext uri="{FF2B5EF4-FFF2-40B4-BE49-F238E27FC236}">
                <a16:creationId xmlns:a16="http://schemas.microsoft.com/office/drawing/2014/main" id="{7BDA456C-ED12-4C3A-9249-6A55B1F1DE1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206379" y="10167619"/>
            <a:ext cx="1170610" cy="607079"/>
          </a:xfrm>
          <a:prstGeom prst="rect">
            <a:avLst/>
          </a:prstGeom>
        </p:spPr>
      </p:pic>
      <p:sp>
        <p:nvSpPr>
          <p:cNvPr id="12" name="Text Placeholder 5">
            <a:extLst>
              <a:ext uri="{FF2B5EF4-FFF2-40B4-BE49-F238E27FC236}">
                <a16:creationId xmlns:a16="http://schemas.microsoft.com/office/drawing/2014/main" id="{3534B809-1632-46C4-8015-AE109AA5FE3E}"/>
              </a:ext>
            </a:extLst>
          </p:cNvPr>
          <p:cNvSpPr>
            <a:spLocks noGrp="1"/>
          </p:cNvSpPr>
          <p:nvPr>
            <p:ph type="body" sz="quarter" idx="15" hasCustomPrompt="1"/>
          </p:nvPr>
        </p:nvSpPr>
        <p:spPr>
          <a:xfrm>
            <a:off x="8829701" y="7044349"/>
            <a:ext cx="7273897" cy="2827338"/>
          </a:xfrm>
        </p:spPr>
        <p:txBody>
          <a:bodyPr anchor="b">
            <a:normAutofit/>
          </a:bodyPr>
          <a:lstStyle>
            <a:lvl1pPr marL="0" indent="0">
              <a:lnSpc>
                <a:spcPts val="5277"/>
              </a:lnSpc>
              <a:spcBef>
                <a:spcPts val="0"/>
              </a:spcBef>
              <a:buNone/>
              <a:defRPr sz="5277">
                <a:solidFill>
                  <a:schemeClr val="tx2"/>
                </a:solidFill>
              </a:defRPr>
            </a:lvl1pPr>
          </a:lstStyle>
          <a:p>
            <a:pPr lvl="0"/>
            <a:r>
              <a:rPr lang="en-GB" noProof="0" dirty="0"/>
              <a:t>Name</a:t>
            </a:r>
          </a:p>
        </p:txBody>
      </p:sp>
      <p:sp>
        <p:nvSpPr>
          <p:cNvPr id="13" name="Text Placeholder 5">
            <a:extLst>
              <a:ext uri="{FF2B5EF4-FFF2-40B4-BE49-F238E27FC236}">
                <a16:creationId xmlns:a16="http://schemas.microsoft.com/office/drawing/2014/main" id="{503930B8-96CA-4F99-AF81-00BBECAD7247}"/>
              </a:ext>
            </a:extLst>
          </p:cNvPr>
          <p:cNvSpPr>
            <a:spLocks noGrp="1"/>
          </p:cNvSpPr>
          <p:nvPr>
            <p:ph type="body" sz="quarter" idx="16" hasCustomPrompt="1"/>
          </p:nvPr>
        </p:nvSpPr>
        <p:spPr>
          <a:xfrm>
            <a:off x="8829702" y="9985928"/>
            <a:ext cx="4012964" cy="935973"/>
          </a:xfrm>
        </p:spPr>
        <p:txBody>
          <a:bodyPr anchor="t">
            <a:normAutofit/>
          </a:bodyPr>
          <a:lstStyle>
            <a:lvl1pPr marL="0" indent="0">
              <a:lnSpc>
                <a:spcPts val="3298"/>
              </a:lnSpc>
              <a:buNone/>
              <a:defRPr sz="3298">
                <a:solidFill>
                  <a:schemeClr val="tx2"/>
                </a:solidFill>
              </a:defRPr>
            </a:lvl1pPr>
          </a:lstStyle>
          <a:p>
            <a:pPr lvl="0"/>
            <a:r>
              <a:rPr lang="en-GB" noProof="0" dirty="0"/>
              <a:t>Title</a:t>
            </a:r>
          </a:p>
        </p:txBody>
      </p:sp>
    </p:spTree>
    <p:extLst>
      <p:ext uri="{BB962C8B-B14F-4D97-AF65-F5344CB8AC3E}">
        <p14:creationId xmlns:p14="http://schemas.microsoft.com/office/powerpoint/2010/main" val="1462991715"/>
      </p:ext>
    </p:extLst>
  </p:cSld>
  <p:clrMapOvr>
    <a:overrideClrMapping bg1="lt1" tx1="dk1" bg2="lt2" tx2="dk2" accent1="accent1" accent2="accent2" accent3="accent3" accent4="accent4" accent5="accent5" accent6="accent6" hlink="hlink" folHlink="folHlink"/>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Team">
    <p:bg>
      <p:bgRef idx="1001">
        <a:schemeClr val="bg1"/>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C677C15-D783-4350-B9E7-52E834A09207}"/>
              </a:ext>
            </a:extLst>
          </p:cNvPr>
          <p:cNvSpPr>
            <a:spLocks noGrp="1"/>
          </p:cNvSpPr>
          <p:nvPr>
            <p:ph type="pic" sz="quarter" idx="11"/>
          </p:nvPr>
        </p:nvSpPr>
        <p:spPr>
          <a:xfrm>
            <a:off x="552341" y="2169869"/>
            <a:ext cx="4452742" cy="5579129"/>
          </a:xfrm>
        </p:spPr>
        <p:txBody>
          <a:bodyPr/>
          <a:lstStyle/>
          <a:p>
            <a:endParaRPr lang="en-GB"/>
          </a:p>
        </p:txBody>
      </p:sp>
      <p:sp>
        <p:nvSpPr>
          <p:cNvPr id="14" name="Marcador de texto 19">
            <a:extLst>
              <a:ext uri="{FF2B5EF4-FFF2-40B4-BE49-F238E27FC236}">
                <a16:creationId xmlns:a16="http://schemas.microsoft.com/office/drawing/2014/main" id="{F0A5F956-78D9-483E-8513-18F922BFD069}"/>
              </a:ext>
            </a:extLst>
          </p:cNvPr>
          <p:cNvSpPr>
            <a:spLocks noGrp="1"/>
          </p:cNvSpPr>
          <p:nvPr>
            <p:ph type="body" sz="quarter" idx="10" hasCustomPrompt="1"/>
          </p:nvPr>
        </p:nvSpPr>
        <p:spPr>
          <a:xfrm>
            <a:off x="17185412" y="389504"/>
            <a:ext cx="2985439" cy="250572"/>
          </a:xfrm>
          <a:noFill/>
        </p:spPr>
        <p:txBody>
          <a:bodyPr wrap="square" lIns="0" tIns="0" rIns="0" bIns="0" rtlCol="0" anchor="ctr">
            <a:noAutofit/>
          </a:bodyPr>
          <a:lstStyle>
            <a:lvl1pPr marL="0" indent="0">
              <a:buNone/>
              <a:defRPr lang="es-ES" sz="1319" b="0" smtClean="0">
                <a:solidFill>
                  <a:schemeClr val="tx2"/>
                </a:solidFill>
              </a:defRPr>
            </a:lvl1pPr>
            <a:lvl2pPr marL="376961" indent="0">
              <a:buNone/>
              <a:defRPr lang="es-ES" sz="2968" smtClean="0"/>
            </a:lvl2pPr>
            <a:lvl3pPr marL="1130884" indent="0">
              <a:buNone/>
              <a:defRPr lang="es-ES" sz="2968" smtClean="0"/>
            </a:lvl3pPr>
            <a:lvl4pPr marL="1790567" indent="0">
              <a:buFont typeface="Arial" panose="020B0604020202020204" pitchFamily="34" charset="0"/>
              <a:buNone/>
              <a:defRPr lang="es-ES" smtClean="0"/>
            </a:lvl4pPr>
            <a:lvl5pPr marL="2638730" indent="0">
              <a:buNone/>
              <a:defRPr lang="es-ES"/>
            </a:lvl5pPr>
          </a:lstStyle>
          <a:p>
            <a:pPr marL="0" lvl="0"/>
            <a:r>
              <a:rPr lang="es-ES" noProof="0" dirty="0"/>
              <a:t>D</a:t>
            </a:r>
            <a:r>
              <a:rPr lang="en-GB" noProof="0" dirty="0" err="1"/>
              <a:t>ocument</a:t>
            </a:r>
            <a:r>
              <a:rPr lang="en-GB" noProof="0" dirty="0"/>
              <a:t> Title</a:t>
            </a:r>
          </a:p>
        </p:txBody>
      </p:sp>
      <p:sp>
        <p:nvSpPr>
          <p:cNvPr id="6" name="Text Placeholder 5">
            <a:extLst>
              <a:ext uri="{FF2B5EF4-FFF2-40B4-BE49-F238E27FC236}">
                <a16:creationId xmlns:a16="http://schemas.microsoft.com/office/drawing/2014/main" id="{0E6285A1-3678-4E17-88A4-D3F997A10815}"/>
              </a:ext>
            </a:extLst>
          </p:cNvPr>
          <p:cNvSpPr>
            <a:spLocks noGrp="1"/>
          </p:cNvSpPr>
          <p:nvPr>
            <p:ph type="body" sz="quarter" idx="12" hasCustomPrompt="1"/>
          </p:nvPr>
        </p:nvSpPr>
        <p:spPr>
          <a:xfrm>
            <a:off x="552342" y="501326"/>
            <a:ext cx="8444243" cy="696363"/>
          </a:xfrm>
        </p:spPr>
        <p:txBody>
          <a:bodyPr anchor="ctr">
            <a:noAutofit/>
          </a:bodyPr>
          <a:lstStyle>
            <a:lvl1pPr marL="0" indent="0">
              <a:buNone/>
              <a:defRPr sz="8905">
                <a:solidFill>
                  <a:schemeClr val="tx2"/>
                </a:solidFill>
              </a:defRPr>
            </a:lvl1pPr>
          </a:lstStyle>
          <a:p>
            <a:pPr lvl="0"/>
            <a:r>
              <a:rPr lang="en-GB" noProof="0" dirty="0"/>
              <a:t>title</a:t>
            </a:r>
          </a:p>
        </p:txBody>
      </p:sp>
      <p:pic>
        <p:nvPicPr>
          <p:cNvPr id="7" name="Imagen 18">
            <a:extLst>
              <a:ext uri="{FF2B5EF4-FFF2-40B4-BE49-F238E27FC236}">
                <a16:creationId xmlns:a16="http://schemas.microsoft.com/office/drawing/2014/main" id="{B6C47EA2-1D4F-4D9E-8577-0F31F00CBCA5}"/>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206379" y="10190981"/>
            <a:ext cx="1167349" cy="583716"/>
          </a:xfrm>
          <a:prstGeom prst="rect">
            <a:avLst/>
          </a:prstGeom>
        </p:spPr>
      </p:pic>
      <p:pic>
        <p:nvPicPr>
          <p:cNvPr id="8" name="Imagen 15">
            <a:extLst>
              <a:ext uri="{FF2B5EF4-FFF2-40B4-BE49-F238E27FC236}">
                <a16:creationId xmlns:a16="http://schemas.microsoft.com/office/drawing/2014/main" id="{57384837-9129-4F3B-92EC-FAFD7429F569}"/>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8206627" y="10175274"/>
            <a:ext cx="1170610" cy="607079"/>
          </a:xfrm>
          <a:prstGeom prst="rect">
            <a:avLst/>
          </a:prstGeom>
        </p:spPr>
      </p:pic>
      <p:sp>
        <p:nvSpPr>
          <p:cNvPr id="10" name="Picture Placeholder 2">
            <a:extLst>
              <a:ext uri="{FF2B5EF4-FFF2-40B4-BE49-F238E27FC236}">
                <a16:creationId xmlns:a16="http://schemas.microsoft.com/office/drawing/2014/main" id="{9FCB22C4-994A-415D-9E24-05134561595E}"/>
              </a:ext>
            </a:extLst>
          </p:cNvPr>
          <p:cNvSpPr>
            <a:spLocks noGrp="1"/>
          </p:cNvSpPr>
          <p:nvPr>
            <p:ph type="pic" sz="quarter" idx="13"/>
          </p:nvPr>
        </p:nvSpPr>
        <p:spPr>
          <a:xfrm>
            <a:off x="5414376" y="2169869"/>
            <a:ext cx="4452742" cy="5579129"/>
          </a:xfrm>
        </p:spPr>
        <p:txBody>
          <a:bodyPr/>
          <a:lstStyle/>
          <a:p>
            <a:endParaRPr lang="en-GB"/>
          </a:p>
        </p:txBody>
      </p:sp>
      <p:sp>
        <p:nvSpPr>
          <p:cNvPr id="11" name="Picture Placeholder 2">
            <a:extLst>
              <a:ext uri="{FF2B5EF4-FFF2-40B4-BE49-F238E27FC236}">
                <a16:creationId xmlns:a16="http://schemas.microsoft.com/office/drawing/2014/main" id="{332288C5-4ECA-4C24-B3CD-F2F7A3663DF7}"/>
              </a:ext>
            </a:extLst>
          </p:cNvPr>
          <p:cNvSpPr>
            <a:spLocks noGrp="1"/>
          </p:cNvSpPr>
          <p:nvPr>
            <p:ph type="pic" sz="quarter" idx="14"/>
          </p:nvPr>
        </p:nvSpPr>
        <p:spPr>
          <a:xfrm>
            <a:off x="10276410" y="2169869"/>
            <a:ext cx="4452742" cy="5579129"/>
          </a:xfrm>
        </p:spPr>
        <p:txBody>
          <a:bodyPr/>
          <a:lstStyle/>
          <a:p>
            <a:endParaRPr lang="en-GB"/>
          </a:p>
        </p:txBody>
      </p:sp>
      <p:sp>
        <p:nvSpPr>
          <p:cNvPr id="12" name="Picture Placeholder 2">
            <a:extLst>
              <a:ext uri="{FF2B5EF4-FFF2-40B4-BE49-F238E27FC236}">
                <a16:creationId xmlns:a16="http://schemas.microsoft.com/office/drawing/2014/main" id="{8F3BE437-F41A-4ACC-9602-79DCEB955836}"/>
              </a:ext>
            </a:extLst>
          </p:cNvPr>
          <p:cNvSpPr>
            <a:spLocks noGrp="1"/>
          </p:cNvSpPr>
          <p:nvPr>
            <p:ph type="pic" sz="quarter" idx="15"/>
          </p:nvPr>
        </p:nvSpPr>
        <p:spPr>
          <a:xfrm>
            <a:off x="15138446" y="2169869"/>
            <a:ext cx="4452742" cy="5579129"/>
          </a:xfrm>
        </p:spPr>
        <p:txBody>
          <a:bodyPr/>
          <a:lstStyle/>
          <a:p>
            <a:endParaRPr lang="en-GB"/>
          </a:p>
        </p:txBody>
      </p:sp>
      <p:sp>
        <p:nvSpPr>
          <p:cNvPr id="15" name="Text Placeholder 5">
            <a:extLst>
              <a:ext uri="{FF2B5EF4-FFF2-40B4-BE49-F238E27FC236}">
                <a16:creationId xmlns:a16="http://schemas.microsoft.com/office/drawing/2014/main" id="{0BB197D0-4883-48D8-8B67-41F5FC9C1D81}"/>
              </a:ext>
            </a:extLst>
          </p:cNvPr>
          <p:cNvSpPr>
            <a:spLocks noGrp="1"/>
          </p:cNvSpPr>
          <p:nvPr>
            <p:ph type="body" sz="quarter" idx="17" hasCustomPrompt="1"/>
          </p:nvPr>
        </p:nvSpPr>
        <p:spPr>
          <a:xfrm>
            <a:off x="552342" y="7982929"/>
            <a:ext cx="4012964" cy="1769702"/>
          </a:xfrm>
        </p:spPr>
        <p:txBody>
          <a:bodyPr anchor="t">
            <a:normAutofit/>
          </a:bodyPr>
          <a:lstStyle>
            <a:lvl1pPr marL="0" indent="0">
              <a:buNone/>
              <a:defRPr sz="2968">
                <a:solidFill>
                  <a:schemeClr val="tx2"/>
                </a:solidFill>
                <a:latin typeface="+mj-lt"/>
              </a:defRPr>
            </a:lvl1pPr>
          </a:lstStyle>
          <a:p>
            <a:pPr lvl="0"/>
            <a:r>
              <a:rPr lang="en-GB" noProof="0" dirty="0"/>
              <a:t>Name</a:t>
            </a:r>
          </a:p>
        </p:txBody>
      </p:sp>
      <p:sp>
        <p:nvSpPr>
          <p:cNvPr id="16" name="Text Placeholder 5">
            <a:extLst>
              <a:ext uri="{FF2B5EF4-FFF2-40B4-BE49-F238E27FC236}">
                <a16:creationId xmlns:a16="http://schemas.microsoft.com/office/drawing/2014/main" id="{8C4521B7-B4BE-4C69-903F-A9F601328845}"/>
              </a:ext>
            </a:extLst>
          </p:cNvPr>
          <p:cNvSpPr>
            <a:spLocks noGrp="1"/>
          </p:cNvSpPr>
          <p:nvPr>
            <p:ph type="body" sz="quarter" idx="18" hasCustomPrompt="1"/>
          </p:nvPr>
        </p:nvSpPr>
        <p:spPr>
          <a:xfrm>
            <a:off x="5414376" y="7982929"/>
            <a:ext cx="4012964" cy="1769702"/>
          </a:xfrm>
        </p:spPr>
        <p:txBody>
          <a:bodyPr anchor="t">
            <a:normAutofit/>
          </a:bodyPr>
          <a:lstStyle>
            <a:lvl1pPr marL="0" indent="0">
              <a:buNone/>
              <a:defRPr sz="2968">
                <a:solidFill>
                  <a:schemeClr val="tx2"/>
                </a:solidFill>
                <a:latin typeface="+mj-lt"/>
              </a:defRPr>
            </a:lvl1pPr>
          </a:lstStyle>
          <a:p>
            <a:pPr lvl="0"/>
            <a:r>
              <a:rPr lang="en-GB" noProof="0" dirty="0"/>
              <a:t>Name</a:t>
            </a:r>
          </a:p>
        </p:txBody>
      </p:sp>
      <p:sp>
        <p:nvSpPr>
          <p:cNvPr id="17" name="Text Placeholder 5">
            <a:extLst>
              <a:ext uri="{FF2B5EF4-FFF2-40B4-BE49-F238E27FC236}">
                <a16:creationId xmlns:a16="http://schemas.microsoft.com/office/drawing/2014/main" id="{0FEBC72E-D820-4566-BC9D-6D054BB5A4E7}"/>
              </a:ext>
            </a:extLst>
          </p:cNvPr>
          <p:cNvSpPr>
            <a:spLocks noGrp="1"/>
          </p:cNvSpPr>
          <p:nvPr>
            <p:ph type="body" sz="quarter" idx="19" hasCustomPrompt="1"/>
          </p:nvPr>
        </p:nvSpPr>
        <p:spPr>
          <a:xfrm>
            <a:off x="10276411" y="7982929"/>
            <a:ext cx="4012964" cy="1769702"/>
          </a:xfrm>
        </p:spPr>
        <p:txBody>
          <a:bodyPr anchor="t">
            <a:normAutofit/>
          </a:bodyPr>
          <a:lstStyle>
            <a:lvl1pPr marL="0" indent="0">
              <a:buNone/>
              <a:defRPr sz="2968">
                <a:solidFill>
                  <a:schemeClr val="tx2"/>
                </a:solidFill>
                <a:latin typeface="+mj-lt"/>
              </a:defRPr>
            </a:lvl1pPr>
          </a:lstStyle>
          <a:p>
            <a:pPr lvl="0"/>
            <a:r>
              <a:rPr lang="en-GB" noProof="0" dirty="0"/>
              <a:t>Name</a:t>
            </a:r>
          </a:p>
        </p:txBody>
      </p:sp>
      <p:sp>
        <p:nvSpPr>
          <p:cNvPr id="18" name="Text Placeholder 5">
            <a:extLst>
              <a:ext uri="{FF2B5EF4-FFF2-40B4-BE49-F238E27FC236}">
                <a16:creationId xmlns:a16="http://schemas.microsoft.com/office/drawing/2014/main" id="{922EFAA0-B9F2-4CE7-8112-F7593E285219}"/>
              </a:ext>
            </a:extLst>
          </p:cNvPr>
          <p:cNvSpPr>
            <a:spLocks noGrp="1"/>
          </p:cNvSpPr>
          <p:nvPr>
            <p:ph type="body" sz="quarter" idx="20" hasCustomPrompt="1"/>
          </p:nvPr>
        </p:nvSpPr>
        <p:spPr>
          <a:xfrm>
            <a:off x="15138447" y="7982929"/>
            <a:ext cx="4012964" cy="1769702"/>
          </a:xfrm>
        </p:spPr>
        <p:txBody>
          <a:bodyPr anchor="t">
            <a:normAutofit/>
          </a:bodyPr>
          <a:lstStyle>
            <a:lvl1pPr marL="0" indent="0">
              <a:buNone/>
              <a:defRPr sz="2968">
                <a:solidFill>
                  <a:schemeClr val="tx2"/>
                </a:solidFill>
                <a:latin typeface="+mj-lt"/>
              </a:defRPr>
            </a:lvl1pPr>
          </a:lstStyle>
          <a:p>
            <a:pPr lvl="0"/>
            <a:r>
              <a:rPr lang="en-GB" noProof="0" dirty="0"/>
              <a:t>Name</a:t>
            </a:r>
          </a:p>
        </p:txBody>
      </p:sp>
    </p:spTree>
    <p:extLst>
      <p:ext uri="{BB962C8B-B14F-4D97-AF65-F5344CB8AC3E}">
        <p14:creationId xmlns:p14="http://schemas.microsoft.com/office/powerpoint/2010/main" val="2924843401"/>
      </p:ext>
    </p:extLst>
  </p:cSld>
  <p:clrMapOvr>
    <a:overrideClrMapping bg1="lt1" tx1="dk1" bg2="lt2" tx2="dk2" accent1="accent1" accent2="accent2" accent3="accent3" accent4="accent4" accent5="accent5" accent6="accent6" hlink="hlink" folHlink="folHlink"/>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Team  purple background">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C677C15-D783-4350-B9E7-52E834A09207}"/>
              </a:ext>
            </a:extLst>
          </p:cNvPr>
          <p:cNvSpPr>
            <a:spLocks noGrp="1"/>
          </p:cNvSpPr>
          <p:nvPr>
            <p:ph type="pic" sz="quarter" idx="11"/>
          </p:nvPr>
        </p:nvSpPr>
        <p:spPr>
          <a:xfrm>
            <a:off x="552341" y="2169869"/>
            <a:ext cx="4452742" cy="5579129"/>
          </a:xfrm>
        </p:spPr>
        <p:txBody>
          <a:bodyPr/>
          <a:lstStyle>
            <a:lvl1pPr>
              <a:defRPr>
                <a:solidFill>
                  <a:schemeClr val="bg1"/>
                </a:solidFill>
              </a:defRPr>
            </a:lvl1pPr>
          </a:lstStyle>
          <a:p>
            <a:endParaRPr lang="en-GB"/>
          </a:p>
        </p:txBody>
      </p:sp>
      <p:sp>
        <p:nvSpPr>
          <p:cNvPr id="14" name="Marcador de texto 19">
            <a:extLst>
              <a:ext uri="{FF2B5EF4-FFF2-40B4-BE49-F238E27FC236}">
                <a16:creationId xmlns:a16="http://schemas.microsoft.com/office/drawing/2014/main" id="{F0A5F956-78D9-483E-8513-18F922BFD069}"/>
              </a:ext>
            </a:extLst>
          </p:cNvPr>
          <p:cNvSpPr>
            <a:spLocks noGrp="1"/>
          </p:cNvSpPr>
          <p:nvPr>
            <p:ph type="body" sz="quarter" idx="10" hasCustomPrompt="1"/>
          </p:nvPr>
        </p:nvSpPr>
        <p:spPr>
          <a:xfrm>
            <a:off x="17185412" y="389504"/>
            <a:ext cx="2985439" cy="250572"/>
          </a:xfrm>
          <a:noFill/>
        </p:spPr>
        <p:txBody>
          <a:bodyPr wrap="square" lIns="0" tIns="0" rIns="0" bIns="0" rtlCol="0" anchor="ctr">
            <a:noAutofit/>
          </a:bodyPr>
          <a:lstStyle>
            <a:lvl1pPr marL="0" indent="0">
              <a:buNone/>
              <a:defRPr lang="es-ES" sz="1319" b="0" smtClean="0">
                <a:solidFill>
                  <a:schemeClr val="bg1"/>
                </a:solidFill>
              </a:defRPr>
            </a:lvl1pPr>
            <a:lvl2pPr marL="376961" indent="0">
              <a:buNone/>
              <a:defRPr lang="es-ES" sz="2968" smtClean="0"/>
            </a:lvl2pPr>
            <a:lvl3pPr marL="1130884" indent="0">
              <a:buNone/>
              <a:defRPr lang="es-ES" sz="2968" smtClean="0"/>
            </a:lvl3pPr>
            <a:lvl4pPr marL="1790567" indent="0">
              <a:buFont typeface="Arial" panose="020B0604020202020204" pitchFamily="34" charset="0"/>
              <a:buNone/>
              <a:defRPr lang="es-ES" smtClean="0"/>
            </a:lvl4pPr>
            <a:lvl5pPr marL="2638730" indent="0">
              <a:buNone/>
              <a:defRPr lang="es-ES"/>
            </a:lvl5pPr>
          </a:lstStyle>
          <a:p>
            <a:pPr marL="0" lvl="0"/>
            <a:r>
              <a:rPr lang="es-ES" noProof="0" dirty="0"/>
              <a:t>D</a:t>
            </a:r>
            <a:r>
              <a:rPr lang="en-GB" noProof="0" dirty="0" err="1"/>
              <a:t>ocument</a:t>
            </a:r>
            <a:r>
              <a:rPr lang="en-GB" noProof="0" dirty="0"/>
              <a:t> Title</a:t>
            </a:r>
          </a:p>
        </p:txBody>
      </p:sp>
      <p:sp>
        <p:nvSpPr>
          <p:cNvPr id="6" name="Text Placeholder 5">
            <a:extLst>
              <a:ext uri="{FF2B5EF4-FFF2-40B4-BE49-F238E27FC236}">
                <a16:creationId xmlns:a16="http://schemas.microsoft.com/office/drawing/2014/main" id="{0E6285A1-3678-4E17-88A4-D3F997A10815}"/>
              </a:ext>
            </a:extLst>
          </p:cNvPr>
          <p:cNvSpPr>
            <a:spLocks noGrp="1"/>
          </p:cNvSpPr>
          <p:nvPr>
            <p:ph type="body" sz="quarter" idx="12" hasCustomPrompt="1"/>
          </p:nvPr>
        </p:nvSpPr>
        <p:spPr>
          <a:xfrm>
            <a:off x="552342" y="501326"/>
            <a:ext cx="8444243" cy="696363"/>
          </a:xfrm>
        </p:spPr>
        <p:txBody>
          <a:bodyPr anchor="ctr">
            <a:noAutofit/>
          </a:bodyPr>
          <a:lstStyle>
            <a:lvl1pPr marL="0" indent="0">
              <a:buNone/>
              <a:defRPr sz="8905">
                <a:solidFill>
                  <a:schemeClr val="bg1"/>
                </a:solidFill>
              </a:defRPr>
            </a:lvl1pPr>
          </a:lstStyle>
          <a:p>
            <a:pPr lvl="0"/>
            <a:r>
              <a:rPr lang="en-GB" noProof="0" dirty="0"/>
              <a:t>title</a:t>
            </a:r>
          </a:p>
        </p:txBody>
      </p:sp>
      <p:sp>
        <p:nvSpPr>
          <p:cNvPr id="10" name="Picture Placeholder 2">
            <a:extLst>
              <a:ext uri="{FF2B5EF4-FFF2-40B4-BE49-F238E27FC236}">
                <a16:creationId xmlns:a16="http://schemas.microsoft.com/office/drawing/2014/main" id="{9FCB22C4-994A-415D-9E24-05134561595E}"/>
              </a:ext>
            </a:extLst>
          </p:cNvPr>
          <p:cNvSpPr>
            <a:spLocks noGrp="1"/>
          </p:cNvSpPr>
          <p:nvPr>
            <p:ph type="pic" sz="quarter" idx="13"/>
          </p:nvPr>
        </p:nvSpPr>
        <p:spPr>
          <a:xfrm>
            <a:off x="5414376" y="2169869"/>
            <a:ext cx="4452742" cy="5579129"/>
          </a:xfrm>
        </p:spPr>
        <p:txBody>
          <a:bodyPr/>
          <a:lstStyle>
            <a:lvl1pPr>
              <a:defRPr>
                <a:solidFill>
                  <a:schemeClr val="bg1"/>
                </a:solidFill>
              </a:defRPr>
            </a:lvl1pPr>
          </a:lstStyle>
          <a:p>
            <a:endParaRPr lang="en-GB"/>
          </a:p>
        </p:txBody>
      </p:sp>
      <p:sp>
        <p:nvSpPr>
          <p:cNvPr id="11" name="Picture Placeholder 2">
            <a:extLst>
              <a:ext uri="{FF2B5EF4-FFF2-40B4-BE49-F238E27FC236}">
                <a16:creationId xmlns:a16="http://schemas.microsoft.com/office/drawing/2014/main" id="{332288C5-4ECA-4C24-B3CD-F2F7A3663DF7}"/>
              </a:ext>
            </a:extLst>
          </p:cNvPr>
          <p:cNvSpPr>
            <a:spLocks noGrp="1"/>
          </p:cNvSpPr>
          <p:nvPr>
            <p:ph type="pic" sz="quarter" idx="14"/>
          </p:nvPr>
        </p:nvSpPr>
        <p:spPr>
          <a:xfrm>
            <a:off x="10276410" y="2169869"/>
            <a:ext cx="4452742" cy="5579129"/>
          </a:xfrm>
        </p:spPr>
        <p:txBody>
          <a:bodyPr/>
          <a:lstStyle>
            <a:lvl1pPr>
              <a:defRPr>
                <a:solidFill>
                  <a:schemeClr val="bg1"/>
                </a:solidFill>
              </a:defRPr>
            </a:lvl1pPr>
          </a:lstStyle>
          <a:p>
            <a:endParaRPr lang="en-GB"/>
          </a:p>
        </p:txBody>
      </p:sp>
      <p:sp>
        <p:nvSpPr>
          <p:cNvPr id="12" name="Picture Placeholder 2">
            <a:extLst>
              <a:ext uri="{FF2B5EF4-FFF2-40B4-BE49-F238E27FC236}">
                <a16:creationId xmlns:a16="http://schemas.microsoft.com/office/drawing/2014/main" id="{8F3BE437-F41A-4ACC-9602-79DCEB955836}"/>
              </a:ext>
            </a:extLst>
          </p:cNvPr>
          <p:cNvSpPr>
            <a:spLocks noGrp="1"/>
          </p:cNvSpPr>
          <p:nvPr>
            <p:ph type="pic" sz="quarter" idx="15"/>
          </p:nvPr>
        </p:nvSpPr>
        <p:spPr>
          <a:xfrm>
            <a:off x="15138446" y="2169869"/>
            <a:ext cx="4452742" cy="5579129"/>
          </a:xfrm>
        </p:spPr>
        <p:txBody>
          <a:bodyPr/>
          <a:lstStyle>
            <a:lvl1pPr>
              <a:defRPr>
                <a:solidFill>
                  <a:schemeClr val="bg1"/>
                </a:solidFill>
              </a:defRPr>
            </a:lvl1pPr>
          </a:lstStyle>
          <a:p>
            <a:endParaRPr lang="en-GB"/>
          </a:p>
        </p:txBody>
      </p:sp>
      <p:sp>
        <p:nvSpPr>
          <p:cNvPr id="15" name="Text Placeholder 5">
            <a:extLst>
              <a:ext uri="{FF2B5EF4-FFF2-40B4-BE49-F238E27FC236}">
                <a16:creationId xmlns:a16="http://schemas.microsoft.com/office/drawing/2014/main" id="{0BB197D0-4883-48D8-8B67-41F5FC9C1D81}"/>
              </a:ext>
            </a:extLst>
          </p:cNvPr>
          <p:cNvSpPr>
            <a:spLocks noGrp="1"/>
          </p:cNvSpPr>
          <p:nvPr>
            <p:ph type="body" sz="quarter" idx="17" hasCustomPrompt="1"/>
          </p:nvPr>
        </p:nvSpPr>
        <p:spPr>
          <a:xfrm>
            <a:off x="552342" y="7982929"/>
            <a:ext cx="4012964" cy="1769702"/>
          </a:xfrm>
        </p:spPr>
        <p:txBody>
          <a:bodyPr anchor="t">
            <a:normAutofit/>
          </a:bodyPr>
          <a:lstStyle>
            <a:lvl1pPr marL="0" indent="0">
              <a:buNone/>
              <a:defRPr sz="2968">
                <a:solidFill>
                  <a:schemeClr val="bg2"/>
                </a:solidFill>
                <a:latin typeface="+mj-lt"/>
              </a:defRPr>
            </a:lvl1pPr>
          </a:lstStyle>
          <a:p>
            <a:pPr lvl="0"/>
            <a:r>
              <a:rPr lang="en-GB" noProof="0" dirty="0"/>
              <a:t>Name</a:t>
            </a:r>
          </a:p>
        </p:txBody>
      </p:sp>
      <p:sp>
        <p:nvSpPr>
          <p:cNvPr id="16" name="Text Placeholder 5">
            <a:extLst>
              <a:ext uri="{FF2B5EF4-FFF2-40B4-BE49-F238E27FC236}">
                <a16:creationId xmlns:a16="http://schemas.microsoft.com/office/drawing/2014/main" id="{8C4521B7-B4BE-4C69-903F-A9F601328845}"/>
              </a:ext>
            </a:extLst>
          </p:cNvPr>
          <p:cNvSpPr>
            <a:spLocks noGrp="1"/>
          </p:cNvSpPr>
          <p:nvPr>
            <p:ph type="body" sz="quarter" idx="18" hasCustomPrompt="1"/>
          </p:nvPr>
        </p:nvSpPr>
        <p:spPr>
          <a:xfrm>
            <a:off x="5414376" y="7982929"/>
            <a:ext cx="4012964" cy="1769702"/>
          </a:xfrm>
        </p:spPr>
        <p:txBody>
          <a:bodyPr anchor="t">
            <a:normAutofit/>
          </a:bodyPr>
          <a:lstStyle>
            <a:lvl1pPr marL="0" indent="0">
              <a:buNone/>
              <a:defRPr sz="2968">
                <a:solidFill>
                  <a:schemeClr val="bg2"/>
                </a:solidFill>
                <a:latin typeface="+mj-lt"/>
              </a:defRPr>
            </a:lvl1pPr>
          </a:lstStyle>
          <a:p>
            <a:pPr lvl="0"/>
            <a:r>
              <a:rPr lang="en-GB" noProof="0" dirty="0"/>
              <a:t>Name</a:t>
            </a:r>
          </a:p>
        </p:txBody>
      </p:sp>
      <p:sp>
        <p:nvSpPr>
          <p:cNvPr id="17" name="Text Placeholder 5">
            <a:extLst>
              <a:ext uri="{FF2B5EF4-FFF2-40B4-BE49-F238E27FC236}">
                <a16:creationId xmlns:a16="http://schemas.microsoft.com/office/drawing/2014/main" id="{0FEBC72E-D820-4566-BC9D-6D054BB5A4E7}"/>
              </a:ext>
            </a:extLst>
          </p:cNvPr>
          <p:cNvSpPr>
            <a:spLocks noGrp="1"/>
          </p:cNvSpPr>
          <p:nvPr>
            <p:ph type="body" sz="quarter" idx="19" hasCustomPrompt="1"/>
          </p:nvPr>
        </p:nvSpPr>
        <p:spPr>
          <a:xfrm>
            <a:off x="10276411" y="7982929"/>
            <a:ext cx="4012964" cy="1769702"/>
          </a:xfrm>
        </p:spPr>
        <p:txBody>
          <a:bodyPr anchor="t">
            <a:normAutofit/>
          </a:bodyPr>
          <a:lstStyle>
            <a:lvl1pPr marL="0" indent="0">
              <a:buNone/>
              <a:defRPr sz="2968">
                <a:solidFill>
                  <a:schemeClr val="bg2"/>
                </a:solidFill>
                <a:latin typeface="+mj-lt"/>
              </a:defRPr>
            </a:lvl1pPr>
          </a:lstStyle>
          <a:p>
            <a:pPr lvl="0"/>
            <a:r>
              <a:rPr lang="en-GB" noProof="0" dirty="0"/>
              <a:t>Name</a:t>
            </a:r>
          </a:p>
        </p:txBody>
      </p:sp>
      <p:sp>
        <p:nvSpPr>
          <p:cNvPr id="18" name="Text Placeholder 5">
            <a:extLst>
              <a:ext uri="{FF2B5EF4-FFF2-40B4-BE49-F238E27FC236}">
                <a16:creationId xmlns:a16="http://schemas.microsoft.com/office/drawing/2014/main" id="{922EFAA0-B9F2-4CE7-8112-F7593E285219}"/>
              </a:ext>
            </a:extLst>
          </p:cNvPr>
          <p:cNvSpPr>
            <a:spLocks noGrp="1"/>
          </p:cNvSpPr>
          <p:nvPr>
            <p:ph type="body" sz="quarter" idx="20" hasCustomPrompt="1"/>
          </p:nvPr>
        </p:nvSpPr>
        <p:spPr>
          <a:xfrm>
            <a:off x="15138447" y="7982929"/>
            <a:ext cx="4012964" cy="1769702"/>
          </a:xfrm>
        </p:spPr>
        <p:txBody>
          <a:bodyPr anchor="t">
            <a:normAutofit/>
          </a:bodyPr>
          <a:lstStyle>
            <a:lvl1pPr marL="0" indent="0">
              <a:buNone/>
              <a:defRPr sz="2968">
                <a:solidFill>
                  <a:schemeClr val="bg2"/>
                </a:solidFill>
                <a:latin typeface="+mj-lt"/>
              </a:defRPr>
            </a:lvl1pPr>
          </a:lstStyle>
          <a:p>
            <a:pPr lvl="0"/>
            <a:r>
              <a:rPr lang="en-GB" noProof="0" dirty="0"/>
              <a:t>Name</a:t>
            </a:r>
          </a:p>
        </p:txBody>
      </p:sp>
      <p:pic>
        <p:nvPicPr>
          <p:cNvPr id="19" name="Imagen 18">
            <a:extLst>
              <a:ext uri="{FF2B5EF4-FFF2-40B4-BE49-F238E27FC236}">
                <a16:creationId xmlns:a16="http://schemas.microsoft.com/office/drawing/2014/main" id="{9B04D250-4D43-4B8F-B972-9651FAD31A2E}"/>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206379" y="10190981"/>
            <a:ext cx="1167349" cy="583716"/>
          </a:xfrm>
          <a:prstGeom prst="rect">
            <a:avLst/>
          </a:prstGeom>
        </p:spPr>
      </p:pic>
    </p:spTree>
    <p:extLst>
      <p:ext uri="{BB962C8B-B14F-4D97-AF65-F5344CB8AC3E}">
        <p14:creationId xmlns:p14="http://schemas.microsoft.com/office/powerpoint/2010/main" val="3082958637"/>
      </p:ext>
    </p:extLst>
  </p:cSld>
  <p:clrMapOvr>
    <a:overrideClrMapping bg1="lt1" tx1="dk1" bg2="lt2" tx2="dk2" accent1="accent1" accent2="accent2" accent3="accent3" accent4="accent4" accent5="accent5" accent6="accent6" hlink="hlink" folHlink="folHlink"/>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1_Title Sllide 3">
    <p:bg>
      <p:bgRef idx="1001">
        <a:schemeClr val="bg1"/>
      </p:bgRef>
    </p:bg>
    <p:spTree>
      <p:nvGrpSpPr>
        <p:cNvPr id="1" name=""/>
        <p:cNvGrpSpPr/>
        <p:nvPr/>
      </p:nvGrpSpPr>
      <p:grpSpPr>
        <a:xfrm>
          <a:off x="0" y="0"/>
          <a:ext cx="0" cy="0"/>
          <a:chOff x="0" y="0"/>
          <a:chExt cx="0" cy="0"/>
        </a:xfrm>
      </p:grpSpPr>
      <p:sp>
        <p:nvSpPr>
          <p:cNvPr id="5" name="Marcador de posición de imagen 4">
            <a:extLst>
              <a:ext uri="{FF2B5EF4-FFF2-40B4-BE49-F238E27FC236}">
                <a16:creationId xmlns:a16="http://schemas.microsoft.com/office/drawing/2014/main" id="{FF35A0E0-62D3-4FBD-8D67-26160B8478FC}"/>
              </a:ext>
            </a:extLst>
          </p:cNvPr>
          <p:cNvSpPr>
            <a:spLocks noGrp="1"/>
          </p:cNvSpPr>
          <p:nvPr>
            <p:ph type="pic" sz="quarter" idx="14" hasCustomPrompt="1"/>
          </p:nvPr>
        </p:nvSpPr>
        <p:spPr>
          <a:xfrm>
            <a:off x="-1" y="0"/>
            <a:ext cx="20104102" cy="11309350"/>
          </a:xfrm>
        </p:spPr>
        <p:txBody>
          <a:bodyPr/>
          <a:lstStyle>
            <a:lvl1pPr marL="0" indent="0">
              <a:buNone/>
              <a:defRPr/>
            </a:lvl1pPr>
          </a:lstStyle>
          <a:p>
            <a:r>
              <a:rPr lang="en-GB" noProof="0" dirty="0"/>
              <a:t>Picture</a:t>
            </a:r>
          </a:p>
        </p:txBody>
      </p:sp>
      <p:pic>
        <p:nvPicPr>
          <p:cNvPr id="3" name="Imagen 2">
            <a:extLst>
              <a:ext uri="{FF2B5EF4-FFF2-40B4-BE49-F238E27FC236}">
                <a16:creationId xmlns:a16="http://schemas.microsoft.com/office/drawing/2014/main" id="{83538ECC-FBC7-E648-9124-B790651C4FCF}"/>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206379" y="10190981"/>
            <a:ext cx="1167349" cy="583716"/>
          </a:xfrm>
          <a:prstGeom prst="rect">
            <a:avLst/>
          </a:prstGeom>
        </p:spPr>
      </p:pic>
      <p:pic>
        <p:nvPicPr>
          <p:cNvPr id="4" name="Imagen 15">
            <a:extLst>
              <a:ext uri="{FF2B5EF4-FFF2-40B4-BE49-F238E27FC236}">
                <a16:creationId xmlns:a16="http://schemas.microsoft.com/office/drawing/2014/main" id="{19E85DE4-C4F9-8540-AA9F-F4FC91994E0A}"/>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8206379" y="10167619"/>
            <a:ext cx="1170610" cy="607079"/>
          </a:xfrm>
          <a:prstGeom prst="rect">
            <a:avLst/>
          </a:prstGeom>
        </p:spPr>
      </p:pic>
    </p:spTree>
    <p:extLst>
      <p:ext uri="{BB962C8B-B14F-4D97-AF65-F5344CB8AC3E}">
        <p14:creationId xmlns:p14="http://schemas.microsoft.com/office/powerpoint/2010/main" val="1380111361"/>
      </p:ext>
    </p:extLst>
  </p:cSld>
  <p:clrMapOvr>
    <a:overrideClrMapping bg1="lt1" tx1="dk1" bg2="lt2" tx2="dk2" accent1="accent1" accent2="accent2" accent3="accent3" accent4="accent4" accent5="accent5" accent6="accent6" hlink="hlink" folHlink="folHlink"/>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2B4587-F108-460F-8E5A-DB5D0B2B4EC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9D97A34-08AA-474E-A5F4-CCD35457CCD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42816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Rectangle 1"/>
          <p:cNvSpPr/>
          <p:nvPr userDrawn="1"/>
        </p:nvSpPr>
        <p:spPr>
          <a:xfrm>
            <a:off x="459165" y="10440446"/>
            <a:ext cx="19074185" cy="8689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31"/>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4474300" y="183204"/>
            <a:ext cx="5352313" cy="2790345"/>
          </a:xfrm>
          <a:prstGeom prst="rect">
            <a:avLst/>
          </a:prstGeom>
        </p:spPr>
      </p:pic>
      <p:pic>
        <p:nvPicPr>
          <p:cNvPr id="5" name="Picture 4"/>
          <p:cNvPicPr>
            <a:picLocks noChangeAspect="1"/>
          </p:cNvPicPr>
          <p:nvPr userDrawn="1"/>
        </p:nvPicPr>
        <p:blipFill rotWithShape="1">
          <a:blip r:embed="rId3" cstate="email">
            <a:extLst>
              <a:ext uri="{28A0092B-C50C-407E-A947-70E740481C1C}">
                <a14:useLocalDpi xmlns:a14="http://schemas.microsoft.com/office/drawing/2010/main"/>
              </a:ext>
            </a:extLst>
          </a:blip>
          <a:srcRect l="27189" t="17979" r="23111" b="18421"/>
          <a:stretch/>
        </p:blipFill>
        <p:spPr>
          <a:xfrm>
            <a:off x="1635958" y="1568244"/>
            <a:ext cx="10073915" cy="7856230"/>
          </a:xfrm>
          <a:prstGeom prst="rect">
            <a:avLst/>
          </a:prstGeom>
        </p:spPr>
      </p:pic>
      <p:sp>
        <p:nvSpPr>
          <p:cNvPr id="12" name="Text Placeholder 2"/>
          <p:cNvSpPr>
            <a:spLocks noGrp="1"/>
          </p:cNvSpPr>
          <p:nvPr>
            <p:ph type="body" sz="quarter" idx="17" hasCustomPrompt="1"/>
          </p:nvPr>
        </p:nvSpPr>
        <p:spPr>
          <a:xfrm>
            <a:off x="13314366" y="9715062"/>
            <a:ext cx="5971398" cy="709852"/>
          </a:xfrm>
        </p:spPr>
        <p:txBody>
          <a:bodyPr>
            <a:noAutofit/>
          </a:bodyPr>
          <a:lstStyle>
            <a:lvl1pPr marL="0" indent="0" algn="r" rtl="0">
              <a:buNone/>
              <a:defRPr sz="2894">
                <a:latin typeface="Calibri" panose="020F0502020204030204" pitchFamily="34" charset="0"/>
                <a:cs typeface="Calibri" panose="020F0502020204030204" pitchFamily="34" charset="0"/>
              </a:defRPr>
            </a:lvl1pPr>
          </a:lstStyle>
          <a:p>
            <a:pPr lvl="0"/>
            <a:r>
              <a:rPr lang="en-US" dirty="0"/>
              <a:t>9 July 2015</a:t>
            </a:r>
          </a:p>
        </p:txBody>
      </p:sp>
      <p:sp>
        <p:nvSpPr>
          <p:cNvPr id="9" name="Title 5"/>
          <p:cNvSpPr>
            <a:spLocks noGrp="1"/>
          </p:cNvSpPr>
          <p:nvPr>
            <p:ph type="title" hasCustomPrompt="1"/>
          </p:nvPr>
        </p:nvSpPr>
        <p:spPr>
          <a:xfrm>
            <a:off x="13314369" y="4191347"/>
            <a:ext cx="5971399" cy="1695592"/>
          </a:xfrm>
        </p:spPr>
        <p:txBody>
          <a:bodyPr/>
          <a:lstStyle>
            <a:lvl1pPr marL="0" indent="0" algn="r">
              <a:buNone/>
              <a:defRPr sz="5788" b="1">
                <a:solidFill>
                  <a:schemeClr val="tx2"/>
                </a:solidFill>
                <a:latin typeface="+mj-lt"/>
              </a:defRPr>
            </a:lvl1pPr>
          </a:lstStyle>
          <a:p>
            <a:pPr marL="0" lvl="0" indent="0" algn="r">
              <a:buNone/>
            </a:pPr>
            <a:r>
              <a:rPr lang="en-US" sz="5788" dirty="0">
                <a:solidFill>
                  <a:srgbClr val="5A2781"/>
                </a:solidFill>
                <a:cs typeface="STC" panose="01000500000000020006" pitchFamily="2" charset="-78"/>
              </a:rPr>
              <a:t>Headline goes here in 2 lines</a:t>
            </a:r>
          </a:p>
        </p:txBody>
      </p:sp>
      <p:sp>
        <p:nvSpPr>
          <p:cNvPr id="18" name="Text Placeholder 17"/>
          <p:cNvSpPr>
            <a:spLocks noGrp="1"/>
          </p:cNvSpPr>
          <p:nvPr>
            <p:ph type="body" sz="quarter" idx="18" hasCustomPrompt="1"/>
          </p:nvPr>
        </p:nvSpPr>
        <p:spPr>
          <a:xfrm>
            <a:off x="13315754" y="6607603"/>
            <a:ext cx="5970014" cy="983474"/>
          </a:xfrm>
        </p:spPr>
        <p:txBody>
          <a:bodyPr/>
          <a:lstStyle>
            <a:lvl1pPr marL="0" indent="0" algn="r">
              <a:buNone/>
              <a:defRPr sz="3217">
                <a:solidFill>
                  <a:schemeClr val="accent1"/>
                </a:solidFill>
              </a:defRPr>
            </a:lvl1pPr>
            <a:lvl2pPr marL="735085" indent="0">
              <a:buNone/>
              <a:defRPr/>
            </a:lvl2pPr>
            <a:lvl3pPr marL="1470168" indent="0">
              <a:buNone/>
              <a:defRPr/>
            </a:lvl3pPr>
            <a:lvl4pPr marL="2205254" indent="0">
              <a:buNone/>
              <a:defRPr/>
            </a:lvl4pPr>
            <a:lvl5pPr marL="2940337" indent="0">
              <a:buNone/>
              <a:defRPr/>
            </a:lvl5pPr>
          </a:lstStyle>
          <a:p>
            <a:pPr lvl="0"/>
            <a:r>
              <a:rPr lang="en-US" dirty="0"/>
              <a:t>Click to edit Sub-Headline, 2 lines MAX</a:t>
            </a:r>
          </a:p>
        </p:txBody>
      </p:sp>
    </p:spTree>
    <p:extLst>
      <p:ext uri="{BB962C8B-B14F-4D97-AF65-F5344CB8AC3E}">
        <p14:creationId xmlns:p14="http://schemas.microsoft.com/office/powerpoint/2010/main" val="191489084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9" name="Rectangle 8"/>
          <p:cNvSpPr/>
          <p:nvPr userDrawn="1"/>
        </p:nvSpPr>
        <p:spPr>
          <a:xfrm>
            <a:off x="459165" y="10440446"/>
            <a:ext cx="19074185" cy="8689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31"/>
          </a:p>
        </p:txBody>
      </p:sp>
      <p:sp>
        <p:nvSpPr>
          <p:cNvPr id="8" name="Rectangle 7"/>
          <p:cNvSpPr/>
          <p:nvPr userDrawn="1"/>
        </p:nvSpPr>
        <p:spPr>
          <a:xfrm>
            <a:off x="459165" y="10440454"/>
            <a:ext cx="19074185" cy="3481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31"/>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4474300" y="183204"/>
            <a:ext cx="5352313" cy="2790345"/>
          </a:xfrm>
          <a:prstGeom prst="rect">
            <a:avLst/>
          </a:prstGeom>
        </p:spPr>
      </p:pic>
      <p:pic>
        <p:nvPicPr>
          <p:cNvPr id="17" name="Picture 16"/>
          <p:cNvPicPr>
            <a:picLocks noChangeAspect="1"/>
          </p:cNvPicPr>
          <p:nvPr userDrawn="1"/>
        </p:nvPicPr>
        <p:blipFill rotWithShape="1">
          <a:blip r:embed="rId3" cstate="print">
            <a:extLst>
              <a:ext uri="{28A0092B-C50C-407E-A947-70E740481C1C}">
                <a14:useLocalDpi xmlns:a14="http://schemas.microsoft.com/office/drawing/2010/main"/>
              </a:ext>
            </a:extLst>
          </a:blip>
          <a:srcRect l="28567" t="26380" r="17066" b="26286"/>
          <a:stretch/>
        </p:blipFill>
        <p:spPr>
          <a:xfrm>
            <a:off x="1466946" y="2656621"/>
            <a:ext cx="11231893" cy="5959399"/>
          </a:xfrm>
          <a:prstGeom prst="rect">
            <a:avLst/>
          </a:prstGeom>
        </p:spPr>
      </p:pic>
      <p:sp>
        <p:nvSpPr>
          <p:cNvPr id="7" name="Text Placeholder 2"/>
          <p:cNvSpPr>
            <a:spLocks noGrp="1"/>
          </p:cNvSpPr>
          <p:nvPr>
            <p:ph type="body" sz="quarter" idx="17" hasCustomPrompt="1"/>
          </p:nvPr>
        </p:nvSpPr>
        <p:spPr>
          <a:xfrm>
            <a:off x="13314366" y="9715062"/>
            <a:ext cx="5971398" cy="709852"/>
          </a:xfrm>
        </p:spPr>
        <p:txBody>
          <a:bodyPr>
            <a:noAutofit/>
          </a:bodyPr>
          <a:lstStyle>
            <a:lvl1pPr marL="0" indent="0" algn="r" rtl="0">
              <a:buNone/>
              <a:defRPr sz="2894">
                <a:latin typeface="Calibri" panose="020F0502020204030204" pitchFamily="34" charset="0"/>
                <a:cs typeface="Calibri" panose="020F0502020204030204" pitchFamily="34" charset="0"/>
              </a:defRPr>
            </a:lvl1pPr>
          </a:lstStyle>
          <a:p>
            <a:pPr lvl="0"/>
            <a:r>
              <a:rPr lang="en-US" dirty="0"/>
              <a:t>9 July 2015</a:t>
            </a:r>
          </a:p>
        </p:txBody>
      </p:sp>
      <p:sp>
        <p:nvSpPr>
          <p:cNvPr id="10" name="Title 5"/>
          <p:cNvSpPr>
            <a:spLocks noGrp="1"/>
          </p:cNvSpPr>
          <p:nvPr>
            <p:ph type="title" hasCustomPrompt="1"/>
          </p:nvPr>
        </p:nvSpPr>
        <p:spPr>
          <a:xfrm>
            <a:off x="13314369" y="4191347"/>
            <a:ext cx="5971399" cy="1695592"/>
          </a:xfrm>
        </p:spPr>
        <p:txBody>
          <a:bodyPr/>
          <a:lstStyle>
            <a:lvl1pPr marL="0" indent="0" algn="r">
              <a:buNone/>
              <a:defRPr sz="5788" b="1">
                <a:solidFill>
                  <a:schemeClr val="tx2"/>
                </a:solidFill>
                <a:latin typeface="+mj-lt"/>
              </a:defRPr>
            </a:lvl1pPr>
          </a:lstStyle>
          <a:p>
            <a:pPr marL="0" lvl="0" indent="0" algn="r">
              <a:buNone/>
            </a:pPr>
            <a:r>
              <a:rPr lang="en-US" sz="5788" dirty="0">
                <a:solidFill>
                  <a:srgbClr val="5A2781"/>
                </a:solidFill>
                <a:cs typeface="STC" panose="01000500000000020006" pitchFamily="2" charset="-78"/>
              </a:rPr>
              <a:t>Headline goes here in 2 lines</a:t>
            </a:r>
          </a:p>
        </p:txBody>
      </p:sp>
      <p:sp>
        <p:nvSpPr>
          <p:cNvPr id="11" name="Text Placeholder 17"/>
          <p:cNvSpPr>
            <a:spLocks noGrp="1"/>
          </p:cNvSpPr>
          <p:nvPr>
            <p:ph type="body" sz="quarter" idx="18" hasCustomPrompt="1"/>
          </p:nvPr>
        </p:nvSpPr>
        <p:spPr>
          <a:xfrm>
            <a:off x="13315754" y="6607603"/>
            <a:ext cx="5970014" cy="983474"/>
          </a:xfrm>
        </p:spPr>
        <p:txBody>
          <a:bodyPr/>
          <a:lstStyle>
            <a:lvl1pPr marL="0" indent="0" algn="r">
              <a:buNone/>
              <a:defRPr sz="3217">
                <a:solidFill>
                  <a:schemeClr val="accent1"/>
                </a:solidFill>
              </a:defRPr>
            </a:lvl1pPr>
            <a:lvl2pPr marL="735085" indent="0">
              <a:buNone/>
              <a:defRPr/>
            </a:lvl2pPr>
            <a:lvl3pPr marL="1470168" indent="0">
              <a:buNone/>
              <a:defRPr/>
            </a:lvl3pPr>
            <a:lvl4pPr marL="2205254" indent="0">
              <a:buNone/>
              <a:defRPr/>
            </a:lvl4pPr>
            <a:lvl5pPr marL="2940337" indent="0">
              <a:buNone/>
              <a:defRPr/>
            </a:lvl5pPr>
          </a:lstStyle>
          <a:p>
            <a:pPr lvl="0"/>
            <a:r>
              <a:rPr lang="en-US" dirty="0"/>
              <a:t>Click to edit Sub-Headline, 2 lines MAX</a:t>
            </a:r>
          </a:p>
        </p:txBody>
      </p:sp>
    </p:spTree>
    <p:extLst>
      <p:ext uri="{BB962C8B-B14F-4D97-AF65-F5344CB8AC3E}">
        <p14:creationId xmlns:p14="http://schemas.microsoft.com/office/powerpoint/2010/main" val="254107208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8" name="Rectangle 7"/>
          <p:cNvSpPr/>
          <p:nvPr userDrawn="1"/>
        </p:nvSpPr>
        <p:spPr>
          <a:xfrm>
            <a:off x="459165" y="10440446"/>
            <a:ext cx="19074185" cy="8689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31"/>
          </a:p>
        </p:txBody>
      </p:sp>
      <p:sp>
        <p:nvSpPr>
          <p:cNvPr id="7" name="Rectangle 6"/>
          <p:cNvSpPr/>
          <p:nvPr userDrawn="1"/>
        </p:nvSpPr>
        <p:spPr>
          <a:xfrm>
            <a:off x="459165" y="10440454"/>
            <a:ext cx="19074185" cy="3481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31"/>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4474300" y="183204"/>
            <a:ext cx="5352313" cy="2790345"/>
          </a:xfrm>
          <a:prstGeom prst="rect">
            <a:avLst/>
          </a:prstGeom>
        </p:spPr>
      </p:pic>
      <p:sp>
        <p:nvSpPr>
          <p:cNvPr id="12" name="Text Placeholder 2"/>
          <p:cNvSpPr>
            <a:spLocks noGrp="1"/>
          </p:cNvSpPr>
          <p:nvPr>
            <p:ph type="body" sz="quarter" idx="17" hasCustomPrompt="1"/>
          </p:nvPr>
        </p:nvSpPr>
        <p:spPr>
          <a:xfrm>
            <a:off x="13314366" y="9715062"/>
            <a:ext cx="5971398" cy="709852"/>
          </a:xfrm>
        </p:spPr>
        <p:txBody>
          <a:bodyPr>
            <a:noAutofit/>
          </a:bodyPr>
          <a:lstStyle>
            <a:lvl1pPr marL="0" indent="0" algn="r" rtl="0">
              <a:buNone/>
              <a:defRPr sz="2894">
                <a:latin typeface="Calibri" panose="020F0502020204030204" pitchFamily="34" charset="0"/>
                <a:cs typeface="Calibri" panose="020F0502020204030204" pitchFamily="34" charset="0"/>
              </a:defRPr>
            </a:lvl1pPr>
          </a:lstStyle>
          <a:p>
            <a:pPr lvl="0"/>
            <a:r>
              <a:rPr lang="en-US" dirty="0"/>
              <a:t>9 July 2015</a:t>
            </a:r>
          </a:p>
        </p:txBody>
      </p:sp>
      <p:pic>
        <p:nvPicPr>
          <p:cNvPr id="21" name="Picture 20"/>
          <p:cNvPicPr>
            <a:picLocks noChangeAspect="1"/>
          </p:cNvPicPr>
          <p:nvPr userDrawn="1"/>
        </p:nvPicPr>
        <p:blipFill rotWithShape="1">
          <a:blip r:embed="rId3" cstate="email">
            <a:extLst>
              <a:ext uri="{28A0092B-C50C-407E-A947-70E740481C1C}">
                <a14:useLocalDpi xmlns:a14="http://schemas.microsoft.com/office/drawing/2010/main"/>
              </a:ext>
            </a:extLst>
          </a:blip>
          <a:srcRect l="33438" t="13425" r="41250" b="22826"/>
          <a:stretch/>
        </p:blipFill>
        <p:spPr>
          <a:xfrm>
            <a:off x="2300380" y="1179672"/>
            <a:ext cx="5799259" cy="8900877"/>
          </a:xfrm>
          <a:prstGeom prst="rect">
            <a:avLst/>
          </a:prstGeom>
        </p:spPr>
      </p:pic>
      <p:sp>
        <p:nvSpPr>
          <p:cNvPr id="9" name="Title 5"/>
          <p:cNvSpPr>
            <a:spLocks noGrp="1"/>
          </p:cNvSpPr>
          <p:nvPr>
            <p:ph type="title" hasCustomPrompt="1"/>
          </p:nvPr>
        </p:nvSpPr>
        <p:spPr>
          <a:xfrm>
            <a:off x="13314369" y="4191347"/>
            <a:ext cx="5971399" cy="1695592"/>
          </a:xfrm>
        </p:spPr>
        <p:txBody>
          <a:bodyPr/>
          <a:lstStyle>
            <a:lvl1pPr marL="0" indent="0" algn="r">
              <a:buNone/>
              <a:defRPr sz="5788" b="1">
                <a:solidFill>
                  <a:schemeClr val="tx2"/>
                </a:solidFill>
                <a:latin typeface="+mj-lt"/>
              </a:defRPr>
            </a:lvl1pPr>
          </a:lstStyle>
          <a:p>
            <a:pPr marL="0" lvl="0" indent="0" algn="r">
              <a:buNone/>
            </a:pPr>
            <a:r>
              <a:rPr lang="en-US" sz="5788" dirty="0">
                <a:solidFill>
                  <a:srgbClr val="5A2781"/>
                </a:solidFill>
                <a:cs typeface="STC" panose="01000500000000020006" pitchFamily="2" charset="-78"/>
              </a:rPr>
              <a:t>Headline goes here in 2 lines</a:t>
            </a:r>
          </a:p>
        </p:txBody>
      </p:sp>
      <p:sp>
        <p:nvSpPr>
          <p:cNvPr id="10" name="Text Placeholder 17"/>
          <p:cNvSpPr>
            <a:spLocks noGrp="1"/>
          </p:cNvSpPr>
          <p:nvPr>
            <p:ph type="body" sz="quarter" idx="18" hasCustomPrompt="1"/>
          </p:nvPr>
        </p:nvSpPr>
        <p:spPr>
          <a:xfrm>
            <a:off x="13315754" y="6607603"/>
            <a:ext cx="5970014" cy="983474"/>
          </a:xfrm>
        </p:spPr>
        <p:txBody>
          <a:bodyPr/>
          <a:lstStyle>
            <a:lvl1pPr marL="0" indent="0" algn="r">
              <a:buNone/>
              <a:defRPr sz="3217">
                <a:solidFill>
                  <a:schemeClr val="accent1"/>
                </a:solidFill>
              </a:defRPr>
            </a:lvl1pPr>
            <a:lvl2pPr marL="735085" indent="0">
              <a:buNone/>
              <a:defRPr/>
            </a:lvl2pPr>
            <a:lvl3pPr marL="1470168" indent="0">
              <a:buNone/>
              <a:defRPr/>
            </a:lvl3pPr>
            <a:lvl4pPr marL="2205254" indent="0">
              <a:buNone/>
              <a:defRPr/>
            </a:lvl4pPr>
            <a:lvl5pPr marL="2940337" indent="0">
              <a:buNone/>
              <a:defRPr/>
            </a:lvl5pPr>
          </a:lstStyle>
          <a:p>
            <a:pPr lvl="0"/>
            <a:r>
              <a:rPr lang="en-US" dirty="0"/>
              <a:t>Click to edit Sub-Headline, 2 lines MAX</a:t>
            </a:r>
          </a:p>
        </p:txBody>
      </p:sp>
    </p:spTree>
    <p:extLst>
      <p:ext uri="{BB962C8B-B14F-4D97-AF65-F5344CB8AC3E}">
        <p14:creationId xmlns:p14="http://schemas.microsoft.com/office/powerpoint/2010/main" val="327930332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8" name="Rectangle 7"/>
          <p:cNvSpPr/>
          <p:nvPr userDrawn="1"/>
        </p:nvSpPr>
        <p:spPr>
          <a:xfrm>
            <a:off x="459165" y="10440446"/>
            <a:ext cx="19074185" cy="8689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31"/>
          </a:p>
        </p:txBody>
      </p:sp>
      <p:sp>
        <p:nvSpPr>
          <p:cNvPr id="7" name="Rectangle 6"/>
          <p:cNvSpPr/>
          <p:nvPr userDrawn="1"/>
        </p:nvSpPr>
        <p:spPr>
          <a:xfrm>
            <a:off x="459165" y="10440454"/>
            <a:ext cx="19074185" cy="3481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31"/>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4474300" y="183204"/>
            <a:ext cx="5352313" cy="2790345"/>
          </a:xfrm>
          <a:prstGeom prst="rect">
            <a:avLst/>
          </a:prstGeom>
        </p:spPr>
      </p:pic>
      <p:sp>
        <p:nvSpPr>
          <p:cNvPr id="12" name="Text Placeholder 2"/>
          <p:cNvSpPr>
            <a:spLocks noGrp="1"/>
          </p:cNvSpPr>
          <p:nvPr>
            <p:ph type="body" sz="quarter" idx="17" hasCustomPrompt="1"/>
          </p:nvPr>
        </p:nvSpPr>
        <p:spPr>
          <a:xfrm>
            <a:off x="13314366" y="9715062"/>
            <a:ext cx="5971398" cy="709852"/>
          </a:xfrm>
        </p:spPr>
        <p:txBody>
          <a:bodyPr>
            <a:noAutofit/>
          </a:bodyPr>
          <a:lstStyle>
            <a:lvl1pPr marL="0" indent="0" algn="r" rtl="0">
              <a:buNone/>
              <a:defRPr sz="2894">
                <a:latin typeface="Calibri" panose="020F0502020204030204" pitchFamily="34" charset="0"/>
                <a:cs typeface="Calibri" panose="020F0502020204030204" pitchFamily="34" charset="0"/>
              </a:defRPr>
            </a:lvl1pPr>
          </a:lstStyle>
          <a:p>
            <a:pPr lvl="0"/>
            <a:r>
              <a:rPr lang="en-US" dirty="0"/>
              <a:t>9 July 2015</a:t>
            </a:r>
          </a:p>
        </p:txBody>
      </p:sp>
      <p:pic>
        <p:nvPicPr>
          <p:cNvPr id="27" name="Picture 26"/>
          <p:cNvPicPr>
            <a:picLocks noChangeAspect="1"/>
          </p:cNvPicPr>
          <p:nvPr userDrawn="1"/>
        </p:nvPicPr>
        <p:blipFill rotWithShape="1">
          <a:blip r:embed="rId3" cstate="email">
            <a:extLst>
              <a:ext uri="{28A0092B-C50C-407E-A947-70E740481C1C}">
                <a14:useLocalDpi xmlns:a14="http://schemas.microsoft.com/office/drawing/2010/main"/>
              </a:ext>
            </a:extLst>
          </a:blip>
          <a:srcRect l="24062" t="12778" r="24583" b="16667"/>
          <a:stretch/>
        </p:blipFill>
        <p:spPr>
          <a:xfrm>
            <a:off x="966550" y="1606457"/>
            <a:ext cx="10322684" cy="8642975"/>
          </a:xfrm>
          <a:prstGeom prst="rect">
            <a:avLst/>
          </a:prstGeom>
        </p:spPr>
      </p:pic>
      <p:sp>
        <p:nvSpPr>
          <p:cNvPr id="9" name="Title 5"/>
          <p:cNvSpPr>
            <a:spLocks noGrp="1"/>
          </p:cNvSpPr>
          <p:nvPr>
            <p:ph type="title" hasCustomPrompt="1"/>
          </p:nvPr>
        </p:nvSpPr>
        <p:spPr>
          <a:xfrm>
            <a:off x="13314369" y="4191347"/>
            <a:ext cx="5971399" cy="1695592"/>
          </a:xfrm>
        </p:spPr>
        <p:txBody>
          <a:bodyPr/>
          <a:lstStyle>
            <a:lvl1pPr marL="0" indent="0" algn="r">
              <a:buNone/>
              <a:defRPr sz="5788" b="1">
                <a:solidFill>
                  <a:schemeClr val="tx2"/>
                </a:solidFill>
                <a:latin typeface="+mj-lt"/>
              </a:defRPr>
            </a:lvl1pPr>
          </a:lstStyle>
          <a:p>
            <a:pPr marL="0" lvl="0" indent="0" algn="r">
              <a:buNone/>
            </a:pPr>
            <a:r>
              <a:rPr lang="en-US" sz="5788" dirty="0">
                <a:solidFill>
                  <a:srgbClr val="5A2781"/>
                </a:solidFill>
                <a:cs typeface="STC" panose="01000500000000020006" pitchFamily="2" charset="-78"/>
              </a:rPr>
              <a:t>Headline goes here in 2 lines</a:t>
            </a:r>
          </a:p>
        </p:txBody>
      </p:sp>
      <p:sp>
        <p:nvSpPr>
          <p:cNvPr id="10" name="Text Placeholder 17"/>
          <p:cNvSpPr>
            <a:spLocks noGrp="1"/>
          </p:cNvSpPr>
          <p:nvPr>
            <p:ph type="body" sz="quarter" idx="18" hasCustomPrompt="1"/>
          </p:nvPr>
        </p:nvSpPr>
        <p:spPr>
          <a:xfrm>
            <a:off x="13315754" y="6607603"/>
            <a:ext cx="5970014" cy="983474"/>
          </a:xfrm>
        </p:spPr>
        <p:txBody>
          <a:bodyPr/>
          <a:lstStyle>
            <a:lvl1pPr marL="0" indent="0" algn="r">
              <a:buNone/>
              <a:defRPr sz="3217">
                <a:solidFill>
                  <a:schemeClr val="accent1"/>
                </a:solidFill>
              </a:defRPr>
            </a:lvl1pPr>
            <a:lvl2pPr marL="735085" indent="0">
              <a:buNone/>
              <a:defRPr/>
            </a:lvl2pPr>
            <a:lvl3pPr marL="1470168" indent="0">
              <a:buNone/>
              <a:defRPr/>
            </a:lvl3pPr>
            <a:lvl4pPr marL="2205254" indent="0">
              <a:buNone/>
              <a:defRPr/>
            </a:lvl4pPr>
            <a:lvl5pPr marL="2940337" indent="0">
              <a:buNone/>
              <a:defRPr/>
            </a:lvl5pPr>
          </a:lstStyle>
          <a:p>
            <a:pPr lvl="0"/>
            <a:r>
              <a:rPr lang="en-US" dirty="0"/>
              <a:t>Click to edit Sub-Headline, 2 lines MAX</a:t>
            </a:r>
          </a:p>
        </p:txBody>
      </p:sp>
    </p:spTree>
    <p:extLst>
      <p:ext uri="{BB962C8B-B14F-4D97-AF65-F5344CB8AC3E}">
        <p14:creationId xmlns:p14="http://schemas.microsoft.com/office/powerpoint/2010/main" val="136269656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8" name="Picture 2" descr="D:\userdata\arcea\Desktop\world_background.PNG">
            <a:extLst>
              <a:ext uri="{FF2B5EF4-FFF2-40B4-BE49-F238E27FC236}">
                <a16:creationId xmlns:a16="http://schemas.microsoft.com/office/drawing/2014/main" id="{0F11C650-20E0-46EB-ABF1-963362D99B12}"/>
              </a:ext>
            </a:extLst>
          </p:cNvPr>
          <p:cNvPicPr>
            <a:picLocks noChangeAspect="1" noChangeArrowheads="1"/>
          </p:cNvPicPr>
          <p:nvPr userDrawn="1"/>
        </p:nvPicPr>
        <p:blipFill>
          <a:blip r:embed="rId2" cstate="print">
            <a:lum/>
          </a:blip>
          <a:srcRect/>
          <a:stretch>
            <a:fillRect/>
          </a:stretch>
        </p:blipFill>
        <p:spPr bwMode="auto">
          <a:xfrm>
            <a:off x="0" y="8"/>
            <a:ext cx="20104100" cy="11309348"/>
          </a:xfrm>
          <a:prstGeom prst="rect">
            <a:avLst/>
          </a:prstGeom>
          <a:noFill/>
        </p:spPr>
      </p:pic>
      <p:sp>
        <p:nvSpPr>
          <p:cNvPr id="2" name="Rectangle 1">
            <a:extLst>
              <a:ext uri="{FF2B5EF4-FFF2-40B4-BE49-F238E27FC236}">
                <a16:creationId xmlns:a16="http://schemas.microsoft.com/office/drawing/2014/main" id="{CB6E6550-6313-40D9-B54B-1546B1E4460D}"/>
              </a:ext>
            </a:extLst>
          </p:cNvPr>
          <p:cNvSpPr/>
          <p:nvPr userDrawn="1"/>
        </p:nvSpPr>
        <p:spPr>
          <a:xfrm>
            <a:off x="0" y="8"/>
            <a:ext cx="20104100" cy="11309348"/>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931"/>
          </a:p>
        </p:txBody>
      </p:sp>
      <p:cxnSp>
        <p:nvCxnSpPr>
          <p:cNvPr id="11" name="Straight Connector 10"/>
          <p:cNvCxnSpPr/>
          <p:nvPr userDrawn="1"/>
        </p:nvCxnSpPr>
        <p:spPr>
          <a:xfrm>
            <a:off x="644370" y="769036"/>
            <a:ext cx="18854552" cy="0"/>
          </a:xfrm>
          <a:prstGeom prst="line">
            <a:avLst/>
          </a:prstGeom>
          <a:ln w="57150">
            <a:gradFill>
              <a:gsLst>
                <a:gs pos="17000">
                  <a:srgbClr val="EE9012"/>
                </a:gs>
                <a:gs pos="44000">
                  <a:srgbClr val="DD219E"/>
                </a:gs>
                <a:gs pos="81000">
                  <a:srgbClr val="5A2781"/>
                </a:gs>
              </a:gsLst>
              <a:lin ang="10800000" scaled="0"/>
            </a:gradFill>
          </a:ln>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644367" y="1085143"/>
            <a:ext cx="2666627" cy="983026"/>
          </a:xfrm>
          <a:prstGeom prst="rect">
            <a:avLst/>
          </a:prstGeom>
          <a:noFill/>
        </p:spPr>
        <p:txBody>
          <a:bodyPr wrap="none" lIns="0" rIns="0" rtlCol="0">
            <a:spAutoFit/>
          </a:bodyPr>
          <a:lstStyle/>
          <a:p>
            <a:r>
              <a:rPr lang="en-US" sz="5788" b="1" dirty="0">
                <a:solidFill>
                  <a:schemeClr val="tx1"/>
                </a:solidFill>
                <a:latin typeface="Calibri" panose="020F0502020204030204" pitchFamily="34" charset="0"/>
                <a:cs typeface="Calibri" panose="020F0502020204030204" pitchFamily="34" charset="0"/>
              </a:rPr>
              <a:t>AGENDA</a:t>
            </a:r>
          </a:p>
        </p:txBody>
      </p:sp>
      <p:cxnSp>
        <p:nvCxnSpPr>
          <p:cNvPr id="9" name="Straight Connector 8"/>
          <p:cNvCxnSpPr/>
          <p:nvPr userDrawn="1"/>
        </p:nvCxnSpPr>
        <p:spPr>
          <a:xfrm>
            <a:off x="644367" y="3236115"/>
            <a:ext cx="4845662"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6253929" y="3236115"/>
            <a:ext cx="13234815"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 Placeholder 18"/>
          <p:cNvSpPr>
            <a:spLocks noGrp="1"/>
          </p:cNvSpPr>
          <p:nvPr>
            <p:ph type="body" sz="quarter" idx="11" hasCustomPrompt="1"/>
          </p:nvPr>
        </p:nvSpPr>
        <p:spPr>
          <a:xfrm>
            <a:off x="644370" y="3505379"/>
            <a:ext cx="4845662" cy="1099147"/>
          </a:xfrm>
        </p:spPr>
        <p:txBody>
          <a:bodyPr lIns="0" rIns="0">
            <a:spAutoFit/>
          </a:bodyPr>
          <a:lstStyle>
            <a:lvl1pPr marL="0" indent="0" algn="l">
              <a:buNone/>
              <a:defRPr sz="2894">
                <a:solidFill>
                  <a:schemeClr val="tx2"/>
                </a:solidFill>
                <a:latin typeface="Calibri" panose="020F0502020204030204" pitchFamily="34" charset="0"/>
                <a:cs typeface="Calibri" panose="020F0502020204030204" pitchFamily="34" charset="0"/>
              </a:defRPr>
            </a:lvl1pPr>
          </a:lstStyle>
          <a:p>
            <a:pPr lvl="0"/>
            <a:r>
              <a:rPr lang="en-US" dirty="0"/>
              <a:t>Additional notes appear here.</a:t>
            </a:r>
          </a:p>
          <a:p>
            <a:pPr lvl="0"/>
            <a:r>
              <a:rPr lang="en-US" dirty="0"/>
              <a:t>00 Month 2015</a:t>
            </a:r>
          </a:p>
        </p:txBody>
      </p:sp>
      <p:sp>
        <p:nvSpPr>
          <p:cNvPr id="16" name="Text Placeholder 2"/>
          <p:cNvSpPr>
            <a:spLocks noGrp="1"/>
          </p:cNvSpPr>
          <p:nvPr>
            <p:ph type="body" sz="quarter" idx="12" hasCustomPrompt="1"/>
          </p:nvPr>
        </p:nvSpPr>
        <p:spPr>
          <a:xfrm>
            <a:off x="6253536" y="3505389"/>
            <a:ext cx="13235199" cy="3832399"/>
          </a:xfrm>
        </p:spPr>
        <p:txBody>
          <a:bodyPr/>
          <a:lstStyle>
            <a:lvl1pPr marL="735085" indent="-735085">
              <a:buFont typeface="+mj-lt"/>
              <a:buAutoNum type="arabicPeriod"/>
              <a:defRPr sz="3859"/>
            </a:lvl1pPr>
            <a:lvl2pPr marL="1102625" indent="-367542">
              <a:buFont typeface="Arial" panose="020B0604020202020204" pitchFamily="34" charset="0"/>
              <a:buChar char="•"/>
              <a:defRPr sz="3217" baseline="0"/>
            </a:lvl2pPr>
            <a:lvl3pPr>
              <a:defRPr sz="2894"/>
            </a:lvl3pPr>
            <a:lvl4pPr>
              <a:defRPr sz="2572"/>
            </a:lvl4pPr>
            <a:lvl5pPr>
              <a:defRPr sz="2572"/>
            </a:lvl5pPr>
          </a:lstStyle>
          <a:p>
            <a:pPr lvl="0"/>
            <a:r>
              <a:rPr lang="en-US" dirty="0"/>
              <a:t>Main topic</a:t>
            </a:r>
          </a:p>
          <a:p>
            <a:pPr lvl="1"/>
            <a:r>
              <a:rPr lang="en-US" dirty="0"/>
              <a:t>Sub topic</a:t>
            </a:r>
          </a:p>
          <a:p>
            <a:pPr lvl="0"/>
            <a:r>
              <a:rPr lang="en-US" dirty="0"/>
              <a:t>Main topic</a:t>
            </a:r>
          </a:p>
          <a:p>
            <a:pPr lvl="1"/>
            <a:r>
              <a:rPr lang="en-US" dirty="0"/>
              <a:t>Sub topic</a:t>
            </a:r>
          </a:p>
          <a:p>
            <a:pPr lvl="0"/>
            <a:r>
              <a:rPr lang="en-US" dirty="0"/>
              <a:t>Main topic</a:t>
            </a:r>
          </a:p>
          <a:p>
            <a:pPr lvl="1"/>
            <a:r>
              <a:rPr lang="en-US" dirty="0"/>
              <a:t>Sub topic</a:t>
            </a:r>
          </a:p>
        </p:txBody>
      </p:sp>
    </p:spTree>
    <p:extLst>
      <p:ext uri="{BB962C8B-B14F-4D97-AF65-F5344CB8AC3E}">
        <p14:creationId xmlns:p14="http://schemas.microsoft.com/office/powerpoint/2010/main" val="3291768245"/>
      </p:ext>
    </p:extLst>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644369" y="189466"/>
            <a:ext cx="18845007" cy="445266"/>
          </a:xfrm>
        </p:spPr>
        <p:txBody>
          <a:bodyPr wrap="square" lIns="0" tIns="0" rIns="0" bIns="0" anchor="ctr">
            <a:spAutoFit/>
          </a:bodyPr>
          <a:lstStyle>
            <a:lvl1pPr marL="0" indent="0">
              <a:lnSpc>
                <a:spcPct val="100000"/>
              </a:lnSpc>
              <a:buNone/>
              <a:defRPr sz="2894" b="1" cap="all" baseline="0">
                <a:solidFill>
                  <a:schemeClr val="tx1"/>
                </a:solidFill>
                <a:latin typeface="Calibri" panose="020F0502020204030204" pitchFamily="34" charset="0"/>
                <a:cs typeface="Calibri" panose="020F0502020204030204" pitchFamily="34" charset="0"/>
              </a:defRPr>
            </a:lvl1pPr>
          </a:lstStyle>
          <a:p>
            <a:pPr lvl="0"/>
            <a:r>
              <a:rPr lang="en-US" dirty="0"/>
              <a:t>Title</a:t>
            </a:r>
          </a:p>
        </p:txBody>
      </p:sp>
      <p:sp>
        <p:nvSpPr>
          <p:cNvPr id="5" name="Text Placeholder 5"/>
          <p:cNvSpPr>
            <a:spLocks noGrp="1"/>
          </p:cNvSpPr>
          <p:nvPr>
            <p:ph type="body" sz="quarter" idx="12" hasCustomPrompt="1"/>
          </p:nvPr>
        </p:nvSpPr>
        <p:spPr>
          <a:xfrm>
            <a:off x="644368" y="905970"/>
            <a:ext cx="18844373" cy="445266"/>
          </a:xfrm>
        </p:spPr>
        <p:txBody>
          <a:bodyPr wrap="square" lIns="0" tIns="0" rIns="0" bIns="0">
            <a:spAutoFit/>
          </a:bodyPr>
          <a:lstStyle>
            <a:lvl1pPr marL="0" indent="0">
              <a:lnSpc>
                <a:spcPct val="100000"/>
              </a:lnSpc>
              <a:buNone/>
              <a:defRPr sz="2894" b="1" cap="none" baseline="0">
                <a:solidFill>
                  <a:schemeClr val="tx2"/>
                </a:solidFill>
                <a:latin typeface="Calibri" panose="020F0502020204030204" pitchFamily="34" charset="0"/>
                <a:cs typeface="Calibri" panose="020F0502020204030204" pitchFamily="34" charset="0"/>
              </a:defRPr>
            </a:lvl1pPr>
          </a:lstStyle>
          <a:p>
            <a:pPr lvl="0"/>
            <a:r>
              <a:rPr lang="en-US" dirty="0"/>
              <a:t>Key message</a:t>
            </a:r>
          </a:p>
        </p:txBody>
      </p:sp>
      <p:cxnSp>
        <p:nvCxnSpPr>
          <p:cNvPr id="8" name="Straight Connector 7"/>
          <p:cNvCxnSpPr/>
          <p:nvPr userDrawn="1"/>
        </p:nvCxnSpPr>
        <p:spPr>
          <a:xfrm>
            <a:off x="644370" y="769036"/>
            <a:ext cx="18854552" cy="0"/>
          </a:xfrm>
          <a:prstGeom prst="line">
            <a:avLst/>
          </a:prstGeom>
          <a:ln w="57150">
            <a:gradFill>
              <a:gsLst>
                <a:gs pos="17000">
                  <a:srgbClr val="EE9012"/>
                </a:gs>
                <a:gs pos="44000">
                  <a:srgbClr val="DD219E"/>
                </a:gs>
                <a:gs pos="81000">
                  <a:srgbClr val="5A2781"/>
                </a:gs>
              </a:gsLst>
              <a:lin ang="1080000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7614132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cxnSp>
        <p:nvCxnSpPr>
          <p:cNvPr id="11" name="Straight Connector 10"/>
          <p:cNvCxnSpPr/>
          <p:nvPr userDrawn="1"/>
        </p:nvCxnSpPr>
        <p:spPr>
          <a:xfrm>
            <a:off x="644370" y="769036"/>
            <a:ext cx="18854552" cy="0"/>
          </a:xfrm>
          <a:prstGeom prst="line">
            <a:avLst/>
          </a:prstGeom>
          <a:ln w="57150">
            <a:gradFill>
              <a:gsLst>
                <a:gs pos="17000">
                  <a:srgbClr val="EE9012"/>
                </a:gs>
                <a:gs pos="44000">
                  <a:srgbClr val="DD219E"/>
                </a:gs>
                <a:gs pos="81000">
                  <a:srgbClr val="5A2781"/>
                </a:gs>
              </a:gsLst>
              <a:lin ang="10800000" scaled="0"/>
            </a:gradFill>
          </a:ln>
        </p:spPr>
        <p:style>
          <a:lnRef idx="1">
            <a:schemeClr val="accent1"/>
          </a:lnRef>
          <a:fillRef idx="0">
            <a:schemeClr val="accent1"/>
          </a:fillRef>
          <a:effectRef idx="0">
            <a:schemeClr val="accent1"/>
          </a:effectRef>
          <a:fontRef idx="minor">
            <a:schemeClr val="tx1"/>
          </a:fontRef>
        </p:style>
      </p:cxnSp>
      <p:sp>
        <p:nvSpPr>
          <p:cNvPr id="26" name="Text Placeholder 5"/>
          <p:cNvSpPr>
            <a:spLocks noGrp="1"/>
          </p:cNvSpPr>
          <p:nvPr>
            <p:ph type="body" sz="quarter" idx="11" hasCustomPrompt="1"/>
          </p:nvPr>
        </p:nvSpPr>
        <p:spPr>
          <a:xfrm>
            <a:off x="644369" y="189466"/>
            <a:ext cx="18845007" cy="445266"/>
          </a:xfrm>
        </p:spPr>
        <p:txBody>
          <a:bodyPr wrap="square" lIns="0" tIns="0" rIns="0" bIns="0" anchor="ctr">
            <a:spAutoFit/>
          </a:bodyPr>
          <a:lstStyle>
            <a:lvl1pPr marL="0" indent="0">
              <a:lnSpc>
                <a:spcPct val="100000"/>
              </a:lnSpc>
              <a:buNone/>
              <a:defRPr sz="2894" b="1" cap="all" baseline="0">
                <a:solidFill>
                  <a:schemeClr val="tx1"/>
                </a:solidFill>
                <a:latin typeface="Calibri" panose="020F0502020204030204" pitchFamily="34" charset="0"/>
                <a:cs typeface="Calibri" panose="020F0502020204030204" pitchFamily="34" charset="0"/>
              </a:defRPr>
            </a:lvl1pPr>
          </a:lstStyle>
          <a:p>
            <a:pPr lvl="0"/>
            <a:r>
              <a:rPr lang="en-US" dirty="0"/>
              <a:t>Title</a:t>
            </a:r>
          </a:p>
        </p:txBody>
      </p:sp>
      <p:sp>
        <p:nvSpPr>
          <p:cNvPr id="27" name="Text Placeholder 5"/>
          <p:cNvSpPr>
            <a:spLocks noGrp="1"/>
          </p:cNvSpPr>
          <p:nvPr>
            <p:ph type="body" sz="quarter" idx="12" hasCustomPrompt="1"/>
          </p:nvPr>
        </p:nvSpPr>
        <p:spPr>
          <a:xfrm>
            <a:off x="644368" y="905970"/>
            <a:ext cx="18844373" cy="445266"/>
          </a:xfrm>
        </p:spPr>
        <p:txBody>
          <a:bodyPr wrap="square" lIns="0" tIns="0" rIns="0" bIns="0">
            <a:spAutoFit/>
          </a:bodyPr>
          <a:lstStyle>
            <a:lvl1pPr marL="0" indent="0">
              <a:lnSpc>
                <a:spcPct val="100000"/>
              </a:lnSpc>
              <a:buNone/>
              <a:defRPr sz="2894" b="1" cap="none" baseline="0">
                <a:solidFill>
                  <a:schemeClr val="tx2"/>
                </a:solidFill>
                <a:latin typeface="Calibri" panose="020F0502020204030204" pitchFamily="34" charset="0"/>
                <a:cs typeface="Calibri" panose="020F0502020204030204" pitchFamily="34" charset="0"/>
              </a:defRPr>
            </a:lvl1pPr>
          </a:lstStyle>
          <a:p>
            <a:pPr lvl="0"/>
            <a:r>
              <a:rPr lang="en-US" dirty="0"/>
              <a:t>Key message</a:t>
            </a:r>
          </a:p>
        </p:txBody>
      </p:sp>
      <p:sp>
        <p:nvSpPr>
          <p:cNvPr id="29" name="Text Placeholder 28"/>
          <p:cNvSpPr>
            <a:spLocks noGrp="1"/>
          </p:cNvSpPr>
          <p:nvPr>
            <p:ph type="body" sz="quarter" idx="13"/>
          </p:nvPr>
        </p:nvSpPr>
        <p:spPr>
          <a:xfrm>
            <a:off x="644368" y="2439895"/>
            <a:ext cx="18844373" cy="2401858"/>
          </a:xfrm>
        </p:spPr>
        <p:txBody>
          <a:bodyPr/>
          <a:lstStyle>
            <a:lvl1pPr>
              <a:defRPr sz="3217"/>
            </a:lvl1pPr>
            <a:lvl2pPr>
              <a:defRPr sz="2894"/>
            </a:lvl2pPr>
            <a:lvl3pPr>
              <a:defRPr sz="2572"/>
            </a:lvl3pPr>
            <a:lvl4pPr>
              <a:defRPr sz="2253"/>
            </a:lvl4pPr>
            <a:lvl5pPr>
              <a:defRPr sz="225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2337412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6" name="Text Placeholder 5"/>
          <p:cNvSpPr>
            <a:spLocks noGrp="1"/>
          </p:cNvSpPr>
          <p:nvPr>
            <p:ph type="body" sz="quarter" idx="14" hasCustomPrompt="1"/>
          </p:nvPr>
        </p:nvSpPr>
        <p:spPr>
          <a:xfrm>
            <a:off x="644376" y="1991453"/>
            <a:ext cx="18393316" cy="635749"/>
          </a:xfrm>
        </p:spPr>
        <p:txBody>
          <a:bodyPr vert="horz" lIns="0" tIns="45720" rIns="0" bIns="45720" rtlCol="0">
            <a:noAutofit/>
          </a:bodyPr>
          <a:lstStyle>
            <a:lvl1pPr>
              <a:defRPr lang="en-US" sz="2894" b="1" dirty="0" smtClean="0">
                <a:solidFill>
                  <a:schemeClr val="accent3"/>
                </a:solidFill>
              </a:defRPr>
            </a:lvl1pPr>
            <a:lvl2pPr>
              <a:defRPr lang="en-US" sz="2572" dirty="0" smtClean="0">
                <a:solidFill>
                  <a:schemeClr val="accent2">
                    <a:lumMod val="50000"/>
                  </a:schemeClr>
                </a:solidFill>
              </a:defRPr>
            </a:lvl2pPr>
          </a:lstStyle>
          <a:p>
            <a:pPr marL="0" lvl="0" indent="0">
              <a:buNone/>
            </a:pPr>
            <a:r>
              <a:rPr lang="en-US" dirty="0"/>
              <a:t>Sub-headlines should be in magenta / bold</a:t>
            </a:r>
          </a:p>
        </p:txBody>
      </p:sp>
      <p:sp>
        <p:nvSpPr>
          <p:cNvPr id="9" name="Text Placeholder 8"/>
          <p:cNvSpPr>
            <a:spLocks noGrp="1"/>
          </p:cNvSpPr>
          <p:nvPr>
            <p:ph type="body" sz="quarter" idx="15" hasCustomPrompt="1"/>
          </p:nvPr>
        </p:nvSpPr>
        <p:spPr>
          <a:xfrm>
            <a:off x="644368" y="3109774"/>
            <a:ext cx="18393317" cy="2401858"/>
          </a:xfrm>
        </p:spPr>
        <p:txBody>
          <a:bodyPr vert="horz" lIns="91440" tIns="45720" rIns="91440" bIns="45720" rtlCol="0">
            <a:spAutoFit/>
          </a:bodyPr>
          <a:lstStyle>
            <a:lvl1pPr>
              <a:defRPr lang="en-US" sz="3217" dirty="0" smtClean="0"/>
            </a:lvl1pPr>
            <a:lvl2pPr>
              <a:defRPr lang="en-US" sz="2894" dirty="0" smtClean="0"/>
            </a:lvl2pPr>
            <a:lvl3pPr>
              <a:defRPr lang="en-US" sz="2572" dirty="0" smtClean="0"/>
            </a:lvl3pPr>
            <a:lvl4pPr>
              <a:defRPr lang="en-US" sz="2253" dirty="0" smtClean="0"/>
            </a:lvl4pPr>
            <a:lvl5pPr>
              <a:defRPr lang="en-US" sz="2253" dirty="0"/>
            </a:lvl5pPr>
          </a:lstStyle>
          <a:p>
            <a:pPr lvl="0"/>
            <a:r>
              <a:rPr lang="en-US" dirty="0"/>
              <a:t>Body content and detailed information</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5" name="Straight Connector 14"/>
          <p:cNvCxnSpPr/>
          <p:nvPr userDrawn="1"/>
        </p:nvCxnSpPr>
        <p:spPr>
          <a:xfrm>
            <a:off x="644370" y="769036"/>
            <a:ext cx="18854552" cy="0"/>
          </a:xfrm>
          <a:prstGeom prst="line">
            <a:avLst/>
          </a:prstGeom>
          <a:ln w="57150">
            <a:gradFill>
              <a:gsLst>
                <a:gs pos="17000">
                  <a:srgbClr val="EE9012"/>
                </a:gs>
                <a:gs pos="44000">
                  <a:srgbClr val="DD219E"/>
                </a:gs>
                <a:gs pos="81000">
                  <a:srgbClr val="5A2781"/>
                </a:gs>
              </a:gsLst>
              <a:lin ang="10800000" scaled="0"/>
            </a:gradFill>
          </a:ln>
        </p:spPr>
        <p:style>
          <a:lnRef idx="1">
            <a:schemeClr val="accent1"/>
          </a:lnRef>
          <a:fillRef idx="0">
            <a:schemeClr val="accent1"/>
          </a:fillRef>
          <a:effectRef idx="0">
            <a:schemeClr val="accent1"/>
          </a:effectRef>
          <a:fontRef idx="minor">
            <a:schemeClr val="tx1"/>
          </a:fontRef>
        </p:style>
      </p:cxnSp>
      <p:sp>
        <p:nvSpPr>
          <p:cNvPr id="17" name="Text Placeholder 5"/>
          <p:cNvSpPr>
            <a:spLocks noGrp="1"/>
          </p:cNvSpPr>
          <p:nvPr>
            <p:ph type="body" sz="quarter" idx="11" hasCustomPrompt="1"/>
          </p:nvPr>
        </p:nvSpPr>
        <p:spPr>
          <a:xfrm>
            <a:off x="644369" y="189466"/>
            <a:ext cx="18845007" cy="445266"/>
          </a:xfrm>
        </p:spPr>
        <p:txBody>
          <a:bodyPr wrap="square" lIns="0" tIns="0" rIns="0" bIns="0" anchor="ctr">
            <a:spAutoFit/>
          </a:bodyPr>
          <a:lstStyle>
            <a:lvl1pPr marL="0" indent="0">
              <a:lnSpc>
                <a:spcPct val="100000"/>
              </a:lnSpc>
              <a:buNone/>
              <a:defRPr sz="2894" b="1" cap="all" baseline="0">
                <a:solidFill>
                  <a:schemeClr val="tx1"/>
                </a:solidFill>
                <a:latin typeface="Calibri" panose="020F0502020204030204" pitchFamily="34" charset="0"/>
                <a:cs typeface="Calibri" panose="020F0502020204030204" pitchFamily="34" charset="0"/>
              </a:defRPr>
            </a:lvl1pPr>
          </a:lstStyle>
          <a:p>
            <a:pPr lvl="0"/>
            <a:r>
              <a:rPr lang="en-US" dirty="0"/>
              <a:t>Title</a:t>
            </a:r>
          </a:p>
        </p:txBody>
      </p:sp>
      <p:sp>
        <p:nvSpPr>
          <p:cNvPr id="18" name="Text Placeholder 5"/>
          <p:cNvSpPr>
            <a:spLocks noGrp="1"/>
          </p:cNvSpPr>
          <p:nvPr>
            <p:ph type="body" sz="quarter" idx="12" hasCustomPrompt="1"/>
          </p:nvPr>
        </p:nvSpPr>
        <p:spPr>
          <a:xfrm>
            <a:off x="644368" y="905970"/>
            <a:ext cx="18844373" cy="445266"/>
          </a:xfrm>
        </p:spPr>
        <p:txBody>
          <a:bodyPr wrap="square" lIns="0" tIns="0" rIns="0" bIns="0">
            <a:spAutoFit/>
          </a:bodyPr>
          <a:lstStyle>
            <a:lvl1pPr marL="0" indent="0">
              <a:lnSpc>
                <a:spcPct val="100000"/>
              </a:lnSpc>
              <a:buNone/>
              <a:defRPr sz="2894" b="1" cap="none" baseline="0">
                <a:solidFill>
                  <a:schemeClr val="tx2"/>
                </a:solidFill>
                <a:latin typeface="Calibri" panose="020F0502020204030204" pitchFamily="34" charset="0"/>
                <a:cs typeface="Calibri" panose="020F0502020204030204" pitchFamily="34" charset="0"/>
              </a:defRPr>
            </a:lvl1pPr>
          </a:lstStyle>
          <a:p>
            <a:pPr lvl="0"/>
            <a:r>
              <a:rPr lang="en-US" dirty="0"/>
              <a:t>Key message</a:t>
            </a:r>
          </a:p>
        </p:txBody>
      </p:sp>
    </p:spTree>
    <p:extLst>
      <p:ext uri="{BB962C8B-B14F-4D97-AF65-F5344CB8AC3E}">
        <p14:creationId xmlns:p14="http://schemas.microsoft.com/office/powerpoint/2010/main" val="286808381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3" name="Picture 3"/>
          <p:cNvPicPr>
            <a:picLocks noChangeAspect="1" noChangeArrowheads="1"/>
          </p:cNvPicPr>
          <p:nvPr/>
        </p:nvPicPr>
        <p:blipFill rotWithShape="1">
          <a:blip r:embed="rId2" cstate="print"/>
          <a:srcRect l="43237" t="23815"/>
          <a:stretch/>
        </p:blipFill>
        <p:spPr bwMode="auto">
          <a:xfrm>
            <a:off x="3" y="571116"/>
            <a:ext cx="3416366" cy="3575653"/>
          </a:xfrm>
          <a:prstGeom prst="rect">
            <a:avLst/>
          </a:prstGeom>
          <a:noFill/>
          <a:ln w="9525">
            <a:noFill/>
            <a:miter lim="800000"/>
            <a:headEnd/>
            <a:tailEnd/>
          </a:ln>
          <a:effectLst/>
        </p:spPr>
      </p:pic>
      <p:pic>
        <p:nvPicPr>
          <p:cNvPr id="4" name="Picture 3" descr="D:\STC Running\2011 Projects\New CI Migration &amp; Guardianship Projects\Corporate Related\PPT Templates\STC Logo Option 2.jpg"/>
          <p:cNvPicPr>
            <a:picLocks noChangeAspect="1" noChangeArrowheads="1"/>
          </p:cNvPicPr>
          <p:nvPr userDrawn="1"/>
        </p:nvPicPr>
        <p:blipFill>
          <a:blip r:embed="rId3" cstate="print"/>
          <a:srcRect t="18155" b="21764"/>
          <a:stretch>
            <a:fillRect/>
          </a:stretch>
        </p:blipFill>
        <p:spPr bwMode="auto">
          <a:xfrm>
            <a:off x="17961076" y="10531121"/>
            <a:ext cx="2056474" cy="713218"/>
          </a:xfrm>
          <a:prstGeom prst="rect">
            <a:avLst/>
          </a:prstGeom>
          <a:noFill/>
        </p:spPr>
      </p:pic>
      <p:sp>
        <p:nvSpPr>
          <p:cNvPr id="5" name="Title 4"/>
          <p:cNvSpPr>
            <a:spLocks noGrp="1"/>
          </p:cNvSpPr>
          <p:nvPr>
            <p:ph type="title"/>
          </p:nvPr>
        </p:nvSpPr>
        <p:spPr>
          <a:xfrm>
            <a:off x="4" y="0"/>
            <a:ext cx="20017545" cy="971766"/>
          </a:xfrm>
        </p:spPr>
        <p:txBody>
          <a:bodyPr>
            <a:normAutofit/>
          </a:bodyPr>
          <a:lstStyle>
            <a:lvl1pPr algn="l">
              <a:defRPr sz="5277" b="1">
                <a:solidFill>
                  <a:srgbClr val="4B2884"/>
                </a:solidFill>
              </a:defRPr>
            </a:lvl1pPr>
          </a:lstStyle>
          <a:p>
            <a:r>
              <a:rPr lang="en-US"/>
              <a:t>Click to edit Master title style</a:t>
            </a:r>
          </a:p>
        </p:txBody>
      </p:sp>
      <p:sp>
        <p:nvSpPr>
          <p:cNvPr id="6" name="Content Placeholder 12"/>
          <p:cNvSpPr>
            <a:spLocks noGrp="1"/>
          </p:cNvSpPr>
          <p:nvPr>
            <p:ph sz="quarter" idx="10"/>
          </p:nvPr>
        </p:nvSpPr>
        <p:spPr>
          <a:xfrm>
            <a:off x="1405890" y="1676159"/>
            <a:ext cx="18111143" cy="8628615"/>
          </a:xfrm>
        </p:spPr>
        <p:txBody>
          <a:bodyPr>
            <a:normAutofit/>
          </a:bodyPr>
          <a:lstStyle>
            <a:lvl1pPr>
              <a:defRPr sz="5277">
                <a:latin typeface="+mj-lt"/>
                <a:cs typeface="Arial" panose="020B0604020202020204" pitchFamily="34" charset="0"/>
              </a:defRPr>
            </a:lvl1pPr>
            <a:lvl2pPr>
              <a:defRPr sz="4398">
                <a:latin typeface="+mj-lt"/>
                <a:cs typeface="Arial" panose="020B0604020202020204" pitchFamily="34" charset="0"/>
              </a:defRPr>
            </a:lvl2pPr>
            <a:lvl3pPr>
              <a:defRPr sz="3958">
                <a:latin typeface="+mj-lt"/>
                <a:cs typeface="Arial" panose="020B0604020202020204" pitchFamily="34" charset="0"/>
              </a:defRPr>
            </a:lvl3pPr>
            <a:lvl4pPr>
              <a:defRPr sz="3079">
                <a:latin typeface="+mj-lt"/>
                <a:cs typeface="Arial" panose="020B0604020202020204" pitchFamily="34" charset="0"/>
              </a:defRPr>
            </a:lvl4pPr>
            <a:lvl5pPr>
              <a:defRPr sz="3079">
                <a:latin typeface="+mj-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56244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19" name="Picture Placeholder 17"/>
          <p:cNvSpPr>
            <a:spLocks noGrp="1"/>
          </p:cNvSpPr>
          <p:nvPr>
            <p:ph type="pic" sz="quarter" idx="11"/>
          </p:nvPr>
        </p:nvSpPr>
        <p:spPr>
          <a:xfrm>
            <a:off x="866670" y="2733102"/>
            <a:ext cx="8408927" cy="537904"/>
          </a:xfrm>
        </p:spPr>
        <p:txBody>
          <a:bodyPr/>
          <a:lstStyle>
            <a:lvl1pPr>
              <a:defRPr sz="3217">
                <a:latin typeface="Calibri" panose="020F0502020204030204" pitchFamily="34" charset="0"/>
                <a:cs typeface="Calibri" panose="020F0502020204030204" pitchFamily="34" charset="0"/>
              </a:defRPr>
            </a:lvl1pPr>
          </a:lstStyle>
          <a:p>
            <a:endParaRPr lang="en-US"/>
          </a:p>
        </p:txBody>
      </p:sp>
      <p:sp>
        <p:nvSpPr>
          <p:cNvPr id="21" name="Picture Placeholder 20"/>
          <p:cNvSpPr>
            <a:spLocks noGrp="1"/>
          </p:cNvSpPr>
          <p:nvPr>
            <p:ph type="pic" sz="quarter" idx="12"/>
          </p:nvPr>
        </p:nvSpPr>
        <p:spPr>
          <a:xfrm>
            <a:off x="10090715" y="2733102"/>
            <a:ext cx="4407438" cy="537904"/>
          </a:xfrm>
        </p:spPr>
        <p:txBody>
          <a:bodyPr/>
          <a:lstStyle>
            <a:lvl1pPr>
              <a:defRPr sz="3217">
                <a:latin typeface="Calibri" panose="020F0502020204030204" pitchFamily="34" charset="0"/>
                <a:cs typeface="Calibri" panose="020F0502020204030204" pitchFamily="34" charset="0"/>
              </a:defRPr>
            </a:lvl1pPr>
          </a:lstStyle>
          <a:p>
            <a:endParaRPr lang="en-US"/>
          </a:p>
        </p:txBody>
      </p:sp>
      <p:sp>
        <p:nvSpPr>
          <p:cNvPr id="23" name="Picture Placeholder 20"/>
          <p:cNvSpPr>
            <a:spLocks noGrp="1"/>
          </p:cNvSpPr>
          <p:nvPr>
            <p:ph type="pic" sz="quarter" idx="13"/>
          </p:nvPr>
        </p:nvSpPr>
        <p:spPr>
          <a:xfrm>
            <a:off x="10090715" y="6464497"/>
            <a:ext cx="4407438" cy="537904"/>
          </a:xfrm>
        </p:spPr>
        <p:txBody>
          <a:bodyPr/>
          <a:lstStyle>
            <a:lvl1pPr>
              <a:defRPr sz="3217">
                <a:latin typeface="Calibri" panose="020F0502020204030204" pitchFamily="34" charset="0"/>
                <a:cs typeface="Calibri" panose="020F0502020204030204" pitchFamily="34" charset="0"/>
              </a:defRPr>
            </a:lvl1pPr>
          </a:lstStyle>
          <a:p>
            <a:endParaRPr lang="en-US" dirty="0"/>
          </a:p>
        </p:txBody>
      </p:sp>
      <p:sp>
        <p:nvSpPr>
          <p:cNvPr id="25" name="Text Placeholder 24"/>
          <p:cNvSpPr>
            <a:spLocks noGrp="1"/>
          </p:cNvSpPr>
          <p:nvPr>
            <p:ph type="body" sz="quarter" idx="14" hasCustomPrompt="1"/>
          </p:nvPr>
        </p:nvSpPr>
        <p:spPr>
          <a:xfrm>
            <a:off x="15039415" y="2733100"/>
            <a:ext cx="4407438" cy="493148"/>
          </a:xfrm>
        </p:spPr>
        <p:txBody>
          <a:bodyPr/>
          <a:lstStyle>
            <a:lvl1pPr marL="0" indent="0">
              <a:buNone/>
              <a:defRPr sz="2894">
                <a:latin typeface="Calibri" panose="020F0502020204030204" pitchFamily="34" charset="0"/>
                <a:cs typeface="Calibri" panose="020F0502020204030204" pitchFamily="34" charset="0"/>
              </a:defRPr>
            </a:lvl1pPr>
          </a:lstStyle>
          <a:p>
            <a:pPr lvl="0"/>
            <a:r>
              <a:rPr lang="en-US" dirty="0"/>
              <a:t>Description of images</a:t>
            </a:r>
          </a:p>
        </p:txBody>
      </p:sp>
      <p:sp>
        <p:nvSpPr>
          <p:cNvPr id="26" name="Text Placeholder 24"/>
          <p:cNvSpPr>
            <a:spLocks noGrp="1"/>
          </p:cNvSpPr>
          <p:nvPr>
            <p:ph type="body" sz="quarter" idx="15" hasCustomPrompt="1"/>
          </p:nvPr>
        </p:nvSpPr>
        <p:spPr>
          <a:xfrm>
            <a:off x="15039415" y="6463304"/>
            <a:ext cx="4407438" cy="493148"/>
          </a:xfrm>
        </p:spPr>
        <p:txBody>
          <a:bodyPr/>
          <a:lstStyle>
            <a:lvl1pPr marL="0" indent="0">
              <a:buNone/>
              <a:defRPr sz="2894">
                <a:latin typeface="Calibri" panose="020F0502020204030204" pitchFamily="34" charset="0"/>
                <a:cs typeface="Calibri" panose="020F0502020204030204" pitchFamily="34" charset="0"/>
              </a:defRPr>
            </a:lvl1pPr>
          </a:lstStyle>
          <a:p>
            <a:pPr lvl="0"/>
            <a:r>
              <a:rPr lang="en-US" dirty="0"/>
              <a:t>Description of images</a:t>
            </a:r>
          </a:p>
        </p:txBody>
      </p:sp>
      <p:sp>
        <p:nvSpPr>
          <p:cNvPr id="20" name="Text Placeholder 5"/>
          <p:cNvSpPr>
            <a:spLocks noGrp="1"/>
          </p:cNvSpPr>
          <p:nvPr>
            <p:ph type="body" sz="quarter" idx="16" hasCustomPrompt="1"/>
          </p:nvPr>
        </p:nvSpPr>
        <p:spPr>
          <a:xfrm>
            <a:off x="644368" y="921513"/>
            <a:ext cx="18844373" cy="445378"/>
          </a:xfrm>
        </p:spPr>
        <p:txBody>
          <a:bodyPr vert="horz" wrap="square" lIns="0" tIns="0" rIns="0" bIns="0" rtlCol="0">
            <a:spAutoFit/>
          </a:bodyPr>
          <a:lstStyle>
            <a:lvl1pPr>
              <a:defRPr lang="en-US" sz="2894" b="1" cap="none" dirty="0" smtClean="0">
                <a:solidFill>
                  <a:schemeClr val="tx2"/>
                </a:solidFill>
              </a:defRPr>
            </a:lvl1pPr>
          </a:lstStyle>
          <a:p>
            <a:pPr marL="0" lvl="0" indent="0">
              <a:lnSpc>
                <a:spcPct val="100000"/>
              </a:lnSpc>
              <a:buNone/>
            </a:pPr>
            <a:r>
              <a:rPr lang="en-US" dirty="0"/>
              <a:t>Key Message</a:t>
            </a:r>
          </a:p>
        </p:txBody>
      </p:sp>
      <p:sp>
        <p:nvSpPr>
          <p:cNvPr id="22" name="Text Placeholder 5"/>
          <p:cNvSpPr>
            <a:spLocks noGrp="1"/>
          </p:cNvSpPr>
          <p:nvPr>
            <p:ph type="body" sz="quarter" idx="17" hasCustomPrompt="1"/>
          </p:nvPr>
        </p:nvSpPr>
        <p:spPr>
          <a:xfrm>
            <a:off x="644367" y="189409"/>
            <a:ext cx="18870818" cy="445378"/>
          </a:xfrm>
        </p:spPr>
        <p:txBody>
          <a:bodyPr vert="horz" wrap="square" lIns="0" tIns="0" rIns="0" bIns="0" rtlCol="0" anchor="ctr">
            <a:spAutoFit/>
          </a:bodyPr>
          <a:lstStyle>
            <a:lvl1pPr>
              <a:defRPr lang="en-US" sz="2894" b="1" cap="all" dirty="0" smtClean="0"/>
            </a:lvl1pPr>
          </a:lstStyle>
          <a:p>
            <a:pPr marL="0" lvl="0" indent="0">
              <a:lnSpc>
                <a:spcPct val="100000"/>
              </a:lnSpc>
              <a:buNone/>
            </a:pPr>
            <a:r>
              <a:rPr lang="en-US" dirty="0"/>
              <a:t>Title</a:t>
            </a:r>
          </a:p>
        </p:txBody>
      </p:sp>
      <p:cxnSp>
        <p:nvCxnSpPr>
          <p:cNvPr id="13" name="Straight Connector 12"/>
          <p:cNvCxnSpPr/>
          <p:nvPr userDrawn="1"/>
        </p:nvCxnSpPr>
        <p:spPr>
          <a:xfrm>
            <a:off x="644370" y="769036"/>
            <a:ext cx="18854552" cy="0"/>
          </a:xfrm>
          <a:prstGeom prst="line">
            <a:avLst/>
          </a:prstGeom>
          <a:ln w="57150">
            <a:gradFill>
              <a:gsLst>
                <a:gs pos="17000">
                  <a:srgbClr val="EE9012"/>
                </a:gs>
                <a:gs pos="44000">
                  <a:srgbClr val="DD219E"/>
                </a:gs>
                <a:gs pos="81000">
                  <a:srgbClr val="5A2781"/>
                </a:gs>
              </a:gsLst>
              <a:lin ang="1080000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768639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sp>
        <p:nvSpPr>
          <p:cNvPr id="29" name="Text Placeholder 4"/>
          <p:cNvSpPr>
            <a:spLocks noGrp="1"/>
          </p:cNvSpPr>
          <p:nvPr>
            <p:ph type="body" sz="quarter" idx="10" hasCustomPrompt="1"/>
          </p:nvPr>
        </p:nvSpPr>
        <p:spPr>
          <a:xfrm>
            <a:off x="644368" y="934951"/>
            <a:ext cx="18844373" cy="445378"/>
          </a:xfrm>
        </p:spPr>
        <p:txBody>
          <a:bodyPr vert="horz" wrap="square" lIns="0" tIns="0" rIns="0" bIns="0" rtlCol="0">
            <a:spAutoFit/>
          </a:bodyPr>
          <a:lstStyle>
            <a:lvl1pPr>
              <a:defRPr lang="en-US" sz="2894" b="1" cap="none" dirty="0" smtClean="0">
                <a:solidFill>
                  <a:schemeClr val="tx2"/>
                </a:solidFill>
              </a:defRPr>
            </a:lvl1pPr>
          </a:lstStyle>
          <a:p>
            <a:pPr marL="0" lvl="0" indent="0">
              <a:lnSpc>
                <a:spcPct val="100000"/>
              </a:lnSpc>
              <a:buNone/>
            </a:pPr>
            <a:r>
              <a:rPr lang="en-US" dirty="0"/>
              <a:t>Sample chart layout</a:t>
            </a:r>
          </a:p>
        </p:txBody>
      </p:sp>
      <p:sp>
        <p:nvSpPr>
          <p:cNvPr id="6" name="Text Placeholder 5"/>
          <p:cNvSpPr>
            <a:spLocks noGrp="1"/>
          </p:cNvSpPr>
          <p:nvPr>
            <p:ph type="body" sz="quarter" idx="11" hasCustomPrompt="1"/>
          </p:nvPr>
        </p:nvSpPr>
        <p:spPr>
          <a:xfrm>
            <a:off x="644364" y="3110085"/>
            <a:ext cx="9919954" cy="1848241"/>
          </a:xfrm>
        </p:spPr>
        <p:txBody>
          <a:bodyPr lIns="0" rIns="0">
            <a:normAutofit/>
          </a:bodyPr>
          <a:lstStyle>
            <a:lvl1pPr marL="0" marR="0" indent="0" algn="l" defTabSz="1470168" rtl="0" eaLnBrk="1" fontAlgn="auto" latinLnBrk="0" hangingPunct="1">
              <a:lnSpc>
                <a:spcPct val="90000"/>
              </a:lnSpc>
              <a:spcBef>
                <a:spcPts val="1606"/>
              </a:spcBef>
              <a:spcAft>
                <a:spcPts val="0"/>
              </a:spcAft>
              <a:buClrTx/>
              <a:buSzTx/>
              <a:buFont typeface="Arial" panose="020B0604020202020204" pitchFamily="34" charset="0"/>
              <a:buNone/>
              <a:tabLst/>
              <a:defRPr sz="2572" baseline="0">
                <a:latin typeface="Calibri" panose="020F0502020204030204" pitchFamily="34" charset="0"/>
                <a:cs typeface="Calibri" panose="020F0502020204030204" pitchFamily="34" charset="0"/>
              </a:defRPr>
            </a:lvl1pPr>
          </a:lstStyle>
          <a:p>
            <a:pPr marL="0" marR="0" lvl="0" indent="0" algn="l" defTabSz="1470168" rtl="0" eaLnBrk="1" fontAlgn="auto" latinLnBrk="0" hangingPunct="1">
              <a:lnSpc>
                <a:spcPct val="90000"/>
              </a:lnSpc>
              <a:spcBef>
                <a:spcPts val="1606"/>
              </a:spcBef>
              <a:spcAft>
                <a:spcPts val="0"/>
              </a:spcAft>
              <a:buClrTx/>
              <a:buSzTx/>
              <a:buFont typeface="Arial" panose="020B0604020202020204" pitchFamily="34" charset="0"/>
              <a:buNone/>
              <a:tabLst/>
              <a:defRPr/>
            </a:pPr>
            <a:r>
              <a:rPr lang="en-US" dirty="0"/>
              <a:t>Click to edit Master text styles Click to edit Master text styles Click to edit Master text styles Click to edit Master text styles Click to edit Master text styles Click to edit Master text styles Click to edit Master text styles</a:t>
            </a:r>
          </a:p>
          <a:p>
            <a:pPr marL="0" marR="0" lvl="0" indent="0" algn="l" defTabSz="1470168" rtl="0" eaLnBrk="1" fontAlgn="auto" latinLnBrk="0" hangingPunct="1">
              <a:lnSpc>
                <a:spcPct val="90000"/>
              </a:lnSpc>
              <a:spcBef>
                <a:spcPts val="1606"/>
              </a:spcBef>
              <a:spcAft>
                <a:spcPts val="0"/>
              </a:spcAft>
              <a:buClrTx/>
              <a:buSzTx/>
              <a:buFont typeface="Arial" panose="020B0604020202020204" pitchFamily="34" charset="0"/>
              <a:buNone/>
              <a:tabLst/>
              <a:defRPr/>
            </a:pPr>
            <a:endParaRPr lang="en-US" dirty="0"/>
          </a:p>
        </p:txBody>
      </p:sp>
      <p:sp>
        <p:nvSpPr>
          <p:cNvPr id="9" name="Text Placeholder 8"/>
          <p:cNvSpPr>
            <a:spLocks noGrp="1"/>
          </p:cNvSpPr>
          <p:nvPr>
            <p:ph type="body" sz="quarter" idx="12" hasCustomPrompt="1"/>
          </p:nvPr>
        </p:nvSpPr>
        <p:spPr>
          <a:xfrm>
            <a:off x="644369" y="5529016"/>
            <a:ext cx="8303326" cy="795030"/>
          </a:xfrm>
        </p:spPr>
        <p:txBody>
          <a:bodyPr lIns="0" rIns="0">
            <a:noAutofit/>
          </a:bodyPr>
          <a:lstStyle>
            <a:lvl1pPr marL="0" indent="0">
              <a:buNone/>
              <a:defRPr sz="2572" b="1">
                <a:solidFill>
                  <a:schemeClr val="tx2"/>
                </a:solidFill>
                <a:latin typeface="Calibri" panose="020F0502020204030204" pitchFamily="34" charset="0"/>
                <a:cs typeface="Calibri" panose="020F0502020204030204" pitchFamily="34" charset="0"/>
              </a:defRPr>
            </a:lvl1pPr>
            <a:lvl2pPr marL="735085" indent="0">
              <a:buNone/>
              <a:defRPr/>
            </a:lvl2pPr>
            <a:lvl3pPr marL="1470168" indent="0">
              <a:buNone/>
              <a:defRPr/>
            </a:lvl3pPr>
            <a:lvl4pPr marL="2205254" indent="0">
              <a:buNone/>
              <a:defRPr/>
            </a:lvl4pPr>
            <a:lvl5pPr marL="2940337" indent="0">
              <a:buNone/>
              <a:defRPr/>
            </a:lvl5pPr>
          </a:lstStyle>
          <a:p>
            <a:pPr lvl="0"/>
            <a:r>
              <a:rPr lang="en-US" dirty="0"/>
              <a:t>Click to edit name of chart</a:t>
            </a:r>
          </a:p>
        </p:txBody>
      </p:sp>
      <p:sp>
        <p:nvSpPr>
          <p:cNvPr id="30" name="Text Placeholder 8"/>
          <p:cNvSpPr>
            <a:spLocks noGrp="1"/>
          </p:cNvSpPr>
          <p:nvPr>
            <p:ph type="body" sz="quarter" idx="13" hasCustomPrompt="1"/>
          </p:nvPr>
        </p:nvSpPr>
        <p:spPr>
          <a:xfrm>
            <a:off x="11592385" y="5529016"/>
            <a:ext cx="7896359" cy="795030"/>
          </a:xfrm>
        </p:spPr>
        <p:txBody>
          <a:bodyPr lIns="0" rIns="0">
            <a:noAutofit/>
          </a:bodyPr>
          <a:lstStyle>
            <a:lvl1pPr marL="0" indent="0">
              <a:buNone/>
              <a:defRPr sz="2572" b="1">
                <a:solidFill>
                  <a:schemeClr val="tx2"/>
                </a:solidFill>
                <a:latin typeface="Calibri" panose="020F0502020204030204" pitchFamily="34" charset="0"/>
                <a:cs typeface="Calibri" panose="020F0502020204030204" pitchFamily="34" charset="0"/>
              </a:defRPr>
            </a:lvl1pPr>
            <a:lvl2pPr marL="735085" indent="0">
              <a:buNone/>
              <a:defRPr/>
            </a:lvl2pPr>
            <a:lvl3pPr marL="1470168" indent="0">
              <a:buNone/>
              <a:defRPr/>
            </a:lvl3pPr>
            <a:lvl4pPr marL="2205254" indent="0">
              <a:buNone/>
              <a:defRPr/>
            </a:lvl4pPr>
            <a:lvl5pPr marL="2940337" indent="0">
              <a:buNone/>
              <a:defRPr/>
            </a:lvl5pPr>
          </a:lstStyle>
          <a:p>
            <a:pPr lvl="0"/>
            <a:r>
              <a:rPr lang="en-US" dirty="0"/>
              <a:t>Click to edit name of chart</a:t>
            </a:r>
          </a:p>
        </p:txBody>
      </p:sp>
      <p:sp>
        <p:nvSpPr>
          <p:cNvPr id="32" name="Chart Placeholder 31"/>
          <p:cNvSpPr>
            <a:spLocks noGrp="1"/>
          </p:cNvSpPr>
          <p:nvPr>
            <p:ph type="chart" sz="quarter" idx="14"/>
          </p:nvPr>
        </p:nvSpPr>
        <p:spPr>
          <a:xfrm>
            <a:off x="644369" y="6885094"/>
            <a:ext cx="8303326" cy="493148"/>
          </a:xfrm>
        </p:spPr>
        <p:txBody>
          <a:bodyPr lIns="0" rIns="0"/>
          <a:lstStyle>
            <a:lvl1pPr>
              <a:defRPr sz="2894">
                <a:latin typeface="Calibri" panose="020F0502020204030204" pitchFamily="34" charset="0"/>
                <a:cs typeface="Calibri" panose="020F0502020204030204" pitchFamily="34" charset="0"/>
              </a:defRPr>
            </a:lvl1pPr>
          </a:lstStyle>
          <a:p>
            <a:endParaRPr lang="en-US" dirty="0"/>
          </a:p>
        </p:txBody>
      </p:sp>
      <p:sp>
        <p:nvSpPr>
          <p:cNvPr id="34" name="Chart Placeholder 33"/>
          <p:cNvSpPr>
            <a:spLocks noGrp="1"/>
          </p:cNvSpPr>
          <p:nvPr>
            <p:ph type="chart" sz="quarter" idx="15"/>
          </p:nvPr>
        </p:nvSpPr>
        <p:spPr>
          <a:xfrm>
            <a:off x="11592083" y="6885094"/>
            <a:ext cx="7896660" cy="493148"/>
          </a:xfrm>
        </p:spPr>
        <p:txBody>
          <a:bodyPr lIns="0" rIns="0"/>
          <a:lstStyle>
            <a:lvl1pPr>
              <a:defRPr sz="2894">
                <a:latin typeface="Calibri" panose="020F0502020204030204" pitchFamily="34" charset="0"/>
                <a:cs typeface="Calibri" panose="020F0502020204030204" pitchFamily="34" charset="0"/>
              </a:defRPr>
            </a:lvl1pPr>
          </a:lstStyle>
          <a:p>
            <a:endParaRPr lang="en-US"/>
          </a:p>
        </p:txBody>
      </p:sp>
      <p:sp>
        <p:nvSpPr>
          <p:cNvPr id="14" name="Text Placeholder 5"/>
          <p:cNvSpPr>
            <a:spLocks noGrp="1"/>
          </p:cNvSpPr>
          <p:nvPr>
            <p:ph type="body" sz="quarter" idx="16" hasCustomPrompt="1"/>
          </p:nvPr>
        </p:nvSpPr>
        <p:spPr>
          <a:xfrm>
            <a:off x="644368" y="189409"/>
            <a:ext cx="18844373" cy="445378"/>
          </a:xfrm>
        </p:spPr>
        <p:txBody>
          <a:bodyPr vert="horz" wrap="square" lIns="0" tIns="0" rIns="0" bIns="0" rtlCol="0" anchor="ctr">
            <a:spAutoFit/>
          </a:bodyPr>
          <a:lstStyle>
            <a:lvl1pPr>
              <a:defRPr lang="en-US" sz="2894" b="1" cap="all" dirty="0" smtClean="0"/>
            </a:lvl1pPr>
          </a:lstStyle>
          <a:p>
            <a:pPr marL="0" lvl="0" indent="0">
              <a:lnSpc>
                <a:spcPct val="100000"/>
              </a:lnSpc>
              <a:buNone/>
            </a:pPr>
            <a:r>
              <a:rPr lang="en-US" dirty="0"/>
              <a:t>Title</a:t>
            </a:r>
          </a:p>
        </p:txBody>
      </p:sp>
      <p:cxnSp>
        <p:nvCxnSpPr>
          <p:cNvPr id="13" name="Straight Connector 12"/>
          <p:cNvCxnSpPr/>
          <p:nvPr userDrawn="1"/>
        </p:nvCxnSpPr>
        <p:spPr>
          <a:xfrm>
            <a:off x="644370" y="769036"/>
            <a:ext cx="18854552" cy="0"/>
          </a:xfrm>
          <a:prstGeom prst="line">
            <a:avLst/>
          </a:prstGeom>
          <a:ln w="57150">
            <a:gradFill>
              <a:gsLst>
                <a:gs pos="17000">
                  <a:srgbClr val="EE9012"/>
                </a:gs>
                <a:gs pos="44000">
                  <a:srgbClr val="DD219E"/>
                </a:gs>
                <a:gs pos="81000">
                  <a:srgbClr val="5A2781"/>
                </a:gs>
              </a:gsLst>
              <a:lin ang="1080000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6297333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Section Header">
    <p:spTree>
      <p:nvGrpSpPr>
        <p:cNvPr id="1" name=""/>
        <p:cNvGrpSpPr/>
        <p:nvPr/>
      </p:nvGrpSpPr>
      <p:grpSpPr>
        <a:xfrm>
          <a:off x="0" y="0"/>
          <a:ext cx="0" cy="0"/>
          <a:chOff x="0" y="0"/>
          <a:chExt cx="0" cy="0"/>
        </a:xfrm>
      </p:grpSpPr>
      <p:sp>
        <p:nvSpPr>
          <p:cNvPr id="15" name="Text Placeholder 4"/>
          <p:cNvSpPr>
            <a:spLocks noGrp="1"/>
          </p:cNvSpPr>
          <p:nvPr>
            <p:ph type="body" sz="quarter" idx="10" hasCustomPrompt="1"/>
          </p:nvPr>
        </p:nvSpPr>
        <p:spPr>
          <a:xfrm>
            <a:off x="644368" y="934951"/>
            <a:ext cx="18844373" cy="445378"/>
          </a:xfrm>
        </p:spPr>
        <p:txBody>
          <a:bodyPr vert="horz" wrap="square" lIns="0" tIns="0" rIns="0" bIns="0" rtlCol="0">
            <a:spAutoFit/>
          </a:bodyPr>
          <a:lstStyle>
            <a:lvl1pPr>
              <a:defRPr lang="en-US" sz="2894" b="1" cap="none" dirty="0" smtClean="0">
                <a:solidFill>
                  <a:schemeClr val="tx2"/>
                </a:solidFill>
              </a:defRPr>
            </a:lvl1pPr>
          </a:lstStyle>
          <a:p>
            <a:pPr marL="0" lvl="0" indent="0">
              <a:lnSpc>
                <a:spcPct val="100000"/>
              </a:lnSpc>
              <a:buNone/>
            </a:pPr>
            <a:r>
              <a:rPr lang="en-US" dirty="0"/>
              <a:t>Sample Table layout</a:t>
            </a:r>
          </a:p>
        </p:txBody>
      </p:sp>
      <p:sp>
        <p:nvSpPr>
          <p:cNvPr id="3" name="Text Placeholder 2"/>
          <p:cNvSpPr>
            <a:spLocks noGrp="1"/>
          </p:cNvSpPr>
          <p:nvPr>
            <p:ph type="body" sz="quarter" idx="11" hasCustomPrompt="1"/>
          </p:nvPr>
        </p:nvSpPr>
        <p:spPr>
          <a:xfrm>
            <a:off x="644369" y="2670269"/>
            <a:ext cx="7445604" cy="508157"/>
          </a:xfrm>
        </p:spPr>
        <p:txBody>
          <a:bodyPr lIns="0" rIns="0">
            <a:noAutofit/>
          </a:bodyPr>
          <a:lstStyle>
            <a:lvl1pPr marL="0" indent="0">
              <a:buNone/>
              <a:defRPr sz="2572" b="1">
                <a:solidFill>
                  <a:schemeClr val="tx2"/>
                </a:solidFill>
                <a:latin typeface="Calibri" panose="020F0502020204030204" pitchFamily="34" charset="0"/>
                <a:cs typeface="Calibri" panose="020F0502020204030204" pitchFamily="34" charset="0"/>
              </a:defRPr>
            </a:lvl1pPr>
          </a:lstStyle>
          <a:p>
            <a:pPr lvl="0"/>
            <a:r>
              <a:rPr lang="en-US" dirty="0"/>
              <a:t>Headlines in magenta / bold</a:t>
            </a:r>
          </a:p>
        </p:txBody>
      </p:sp>
      <p:sp>
        <p:nvSpPr>
          <p:cNvPr id="5" name="Text Placeholder 4"/>
          <p:cNvSpPr>
            <a:spLocks noGrp="1"/>
          </p:cNvSpPr>
          <p:nvPr>
            <p:ph type="body" sz="quarter" idx="12" hasCustomPrompt="1"/>
          </p:nvPr>
        </p:nvSpPr>
        <p:spPr>
          <a:xfrm>
            <a:off x="644367" y="3487051"/>
            <a:ext cx="7716235" cy="3895443"/>
          </a:xfrm>
        </p:spPr>
        <p:txBody>
          <a:bodyPr lIns="0" rIns="0">
            <a:normAutofit/>
          </a:bodyPr>
          <a:lstStyle>
            <a:lvl1pPr marL="0" marR="0" indent="0" algn="l" defTabSz="1470168" rtl="0" eaLnBrk="1" fontAlgn="auto" latinLnBrk="0" hangingPunct="1">
              <a:lnSpc>
                <a:spcPct val="90000"/>
              </a:lnSpc>
              <a:spcBef>
                <a:spcPts val="1606"/>
              </a:spcBef>
              <a:spcAft>
                <a:spcPts val="0"/>
              </a:spcAft>
              <a:buClrTx/>
              <a:buSzTx/>
              <a:buFont typeface="Arial" panose="020B0604020202020204" pitchFamily="34" charset="0"/>
              <a:buNone/>
              <a:tabLst/>
              <a:defRPr sz="2572" baseline="0">
                <a:latin typeface="Calibri" panose="020F0502020204030204" pitchFamily="34" charset="0"/>
                <a:cs typeface="Calibri" panose="020F0502020204030204" pitchFamily="34" charset="0"/>
              </a:defRPr>
            </a:lvl1pPr>
            <a:lvl2pPr marL="735085" indent="0">
              <a:buNone/>
              <a:defRPr/>
            </a:lvl2pPr>
            <a:lvl3pPr marL="1470168" indent="0">
              <a:buNone/>
              <a:defRPr/>
            </a:lvl3pPr>
            <a:lvl4pPr marL="2205254" indent="0">
              <a:buNone/>
              <a:defRPr/>
            </a:lvl4pPr>
            <a:lvl5pPr marL="2940337" indent="0">
              <a:buNone/>
              <a:defRPr/>
            </a:lvl5pPr>
          </a:lstStyle>
          <a:p>
            <a:pPr marL="0" marR="0" lvl="0" indent="0" algn="l" defTabSz="1470168" rtl="0" eaLnBrk="1" fontAlgn="auto" latinLnBrk="0" hangingPunct="1">
              <a:lnSpc>
                <a:spcPct val="90000"/>
              </a:lnSpc>
              <a:spcBef>
                <a:spcPts val="1606"/>
              </a:spcBef>
              <a:spcAft>
                <a:spcPts val="0"/>
              </a:spcAft>
              <a:buClrTx/>
              <a:buSzTx/>
              <a:buFont typeface="Arial" panose="020B0604020202020204" pitchFamily="34" charset="0"/>
              <a:buNone/>
              <a:tabLst/>
              <a:defRPr/>
            </a:pPr>
            <a:r>
              <a:rPr lang="en-US" dirty="0"/>
              <a:t>Description comes in this text box, click to add text here. Description comes in this text box, click to add text here. Description comes in this text box, click to add text here. Description comes in this text box, click to add text here. Description comes in this text box, click to add text here. Description comes in this text box, click to add text here. Description comes in this text box, click to add text here.</a:t>
            </a:r>
          </a:p>
          <a:p>
            <a:pPr marL="0" marR="0" lvl="0" indent="0" algn="l" defTabSz="1470168" rtl="0" eaLnBrk="1" fontAlgn="auto" latinLnBrk="0" hangingPunct="1">
              <a:lnSpc>
                <a:spcPct val="90000"/>
              </a:lnSpc>
              <a:spcBef>
                <a:spcPts val="1606"/>
              </a:spcBef>
              <a:spcAft>
                <a:spcPts val="0"/>
              </a:spcAft>
              <a:buClrTx/>
              <a:buSzTx/>
              <a:buFont typeface="Arial" panose="020B0604020202020204" pitchFamily="34" charset="0"/>
              <a:buNone/>
              <a:tabLst/>
              <a:defRPr/>
            </a:pPr>
            <a:endParaRPr lang="en-US" dirty="0"/>
          </a:p>
          <a:p>
            <a:pPr marL="0" marR="0" lvl="0" indent="0" algn="l" defTabSz="1470168" rtl="0" eaLnBrk="1" fontAlgn="auto" latinLnBrk="0" hangingPunct="1">
              <a:lnSpc>
                <a:spcPct val="90000"/>
              </a:lnSpc>
              <a:spcBef>
                <a:spcPts val="1606"/>
              </a:spcBef>
              <a:spcAft>
                <a:spcPts val="0"/>
              </a:spcAft>
              <a:buClrTx/>
              <a:buSzTx/>
              <a:buFont typeface="Arial" panose="020B0604020202020204" pitchFamily="34" charset="0"/>
              <a:buNone/>
              <a:tabLst/>
              <a:defRPr/>
            </a:pPr>
            <a:endParaRPr lang="en-US" dirty="0"/>
          </a:p>
          <a:p>
            <a:pPr marL="0" marR="0" lvl="0" indent="0" algn="l" defTabSz="1470168" rtl="0" eaLnBrk="1" fontAlgn="auto" latinLnBrk="0" hangingPunct="1">
              <a:lnSpc>
                <a:spcPct val="90000"/>
              </a:lnSpc>
              <a:spcBef>
                <a:spcPts val="1606"/>
              </a:spcBef>
              <a:spcAft>
                <a:spcPts val="0"/>
              </a:spcAft>
              <a:buClrTx/>
              <a:buSzTx/>
              <a:buFont typeface="Arial" panose="020B0604020202020204" pitchFamily="34" charset="0"/>
              <a:buNone/>
              <a:tabLst/>
              <a:defRPr/>
            </a:pPr>
            <a:endParaRPr lang="en-US" dirty="0"/>
          </a:p>
          <a:p>
            <a:pPr lvl="0"/>
            <a:endParaRPr lang="en-US" dirty="0"/>
          </a:p>
        </p:txBody>
      </p:sp>
      <p:sp>
        <p:nvSpPr>
          <p:cNvPr id="17" name="Table Placeholder 16"/>
          <p:cNvSpPr>
            <a:spLocks noGrp="1"/>
          </p:cNvSpPr>
          <p:nvPr>
            <p:ph type="tbl" sz="quarter" idx="13"/>
          </p:nvPr>
        </p:nvSpPr>
        <p:spPr>
          <a:xfrm>
            <a:off x="9820082" y="2670264"/>
            <a:ext cx="9162831" cy="7633813"/>
          </a:xfrm>
        </p:spPr>
        <p:txBody>
          <a:bodyPr>
            <a:normAutofit/>
          </a:bodyPr>
          <a:lstStyle>
            <a:lvl1pPr>
              <a:defRPr sz="2572">
                <a:latin typeface="Calibri" panose="020F0502020204030204" pitchFamily="34" charset="0"/>
                <a:cs typeface="Calibri" panose="020F0502020204030204" pitchFamily="34" charset="0"/>
              </a:defRPr>
            </a:lvl1pPr>
          </a:lstStyle>
          <a:p>
            <a:endParaRPr lang="en-US"/>
          </a:p>
        </p:txBody>
      </p:sp>
      <p:sp>
        <p:nvSpPr>
          <p:cNvPr id="19" name="Text Placeholder 5"/>
          <p:cNvSpPr>
            <a:spLocks noGrp="1"/>
          </p:cNvSpPr>
          <p:nvPr>
            <p:ph type="body" sz="quarter" idx="16" hasCustomPrompt="1"/>
          </p:nvPr>
        </p:nvSpPr>
        <p:spPr>
          <a:xfrm>
            <a:off x="644368" y="189409"/>
            <a:ext cx="18844373" cy="445378"/>
          </a:xfrm>
        </p:spPr>
        <p:txBody>
          <a:bodyPr vert="horz" wrap="square" lIns="0" tIns="0" rIns="0" bIns="0" rtlCol="0" anchor="ctr">
            <a:spAutoFit/>
          </a:bodyPr>
          <a:lstStyle>
            <a:lvl1pPr>
              <a:defRPr lang="en-US" sz="2894" b="1" cap="all" dirty="0" smtClean="0"/>
            </a:lvl1pPr>
          </a:lstStyle>
          <a:p>
            <a:pPr marL="0" lvl="0" indent="0">
              <a:lnSpc>
                <a:spcPct val="100000"/>
              </a:lnSpc>
              <a:buNone/>
            </a:pPr>
            <a:r>
              <a:rPr lang="en-US" dirty="0"/>
              <a:t>Title</a:t>
            </a:r>
          </a:p>
        </p:txBody>
      </p:sp>
      <p:cxnSp>
        <p:nvCxnSpPr>
          <p:cNvPr id="11" name="Straight Connector 10"/>
          <p:cNvCxnSpPr/>
          <p:nvPr userDrawn="1"/>
        </p:nvCxnSpPr>
        <p:spPr>
          <a:xfrm>
            <a:off x="644370" y="769036"/>
            <a:ext cx="18854552" cy="0"/>
          </a:xfrm>
          <a:prstGeom prst="line">
            <a:avLst/>
          </a:prstGeom>
          <a:ln w="57150">
            <a:gradFill>
              <a:gsLst>
                <a:gs pos="17000">
                  <a:srgbClr val="EE9012"/>
                </a:gs>
                <a:gs pos="44000">
                  <a:srgbClr val="DD219E"/>
                </a:gs>
                <a:gs pos="81000">
                  <a:srgbClr val="5A2781"/>
                </a:gs>
              </a:gsLst>
              <a:lin ang="1080000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7187711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3_Section Header">
    <p:spTree>
      <p:nvGrpSpPr>
        <p:cNvPr id="1" name=""/>
        <p:cNvGrpSpPr/>
        <p:nvPr/>
      </p:nvGrpSpPr>
      <p:grpSpPr>
        <a:xfrm>
          <a:off x="0" y="0"/>
          <a:ext cx="0" cy="0"/>
          <a:chOff x="0" y="0"/>
          <a:chExt cx="0" cy="0"/>
        </a:xfrm>
      </p:grpSpPr>
      <p:sp>
        <p:nvSpPr>
          <p:cNvPr id="9" name="Rectangle 8"/>
          <p:cNvSpPr/>
          <p:nvPr userDrawn="1"/>
        </p:nvSpPr>
        <p:spPr>
          <a:xfrm>
            <a:off x="6904800" y="4520603"/>
            <a:ext cx="6577505" cy="1873718"/>
          </a:xfrm>
          <a:prstGeom prst="rect">
            <a:avLst/>
          </a:prstGeom>
        </p:spPr>
        <p:txBody>
          <a:bodyPr wrap="none">
            <a:spAutoFit/>
          </a:bodyPr>
          <a:lstStyle/>
          <a:p>
            <a:pPr algn="ctr"/>
            <a:r>
              <a:rPr lang="en-US" sz="11576" b="1" i="0" dirty="0">
                <a:solidFill>
                  <a:schemeClr val="tx2"/>
                </a:solidFill>
                <a:latin typeface="Calibri" panose="020F0502020204030204" pitchFamily="34" charset="0"/>
                <a:cs typeface="Calibri" panose="020F0502020204030204" pitchFamily="34" charset="0"/>
              </a:rPr>
              <a:t>Thank you</a:t>
            </a:r>
            <a:endParaRPr lang="en-US" sz="5145" i="0" dirty="0">
              <a:solidFill>
                <a:schemeClr val="tx2"/>
              </a:solidFill>
              <a:latin typeface="Calibri" panose="020F0502020204030204" pitchFamily="34" charset="0"/>
              <a:cs typeface="Calibri" panose="020F0502020204030204" pitchFamily="34" charset="0"/>
            </a:endParaRP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4474300" y="183204"/>
            <a:ext cx="5352313" cy="2790345"/>
          </a:xfrm>
          <a:prstGeom prst="rect">
            <a:avLst/>
          </a:prstGeom>
        </p:spPr>
      </p:pic>
    </p:spTree>
    <p:extLst>
      <p:ext uri="{BB962C8B-B14F-4D97-AF65-F5344CB8AC3E}">
        <p14:creationId xmlns:p14="http://schemas.microsoft.com/office/powerpoint/2010/main" val="219668467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graphicFrame>
        <p:nvGraphicFramePr>
          <p:cNvPr id="2" name="Object 14" hidden="1"/>
          <p:cNvGraphicFramePr>
            <a:graphicFrameLocks noChangeAspect="1"/>
          </p:cNvGraphicFramePr>
          <p:nvPr>
            <p:custDataLst>
              <p:tags r:id="rId2"/>
            </p:custDataLst>
          </p:nvPr>
        </p:nvGraphicFramePr>
        <p:xfrm>
          <a:off x="7" y="9"/>
          <a:ext cx="322180" cy="261792"/>
        </p:xfrm>
        <a:graphic>
          <a:graphicData uri="http://schemas.openxmlformats.org/presentationml/2006/ole">
            <mc:AlternateContent xmlns:mc="http://schemas.openxmlformats.org/markup-compatibility/2006">
              <mc:Choice xmlns:v="urn:schemas-microsoft-com:vml" Requires="v">
                <p:oleObj spid="_x0000_s4253" name="think-cell Slide" r:id="rId4" imgW="360" imgH="360" progId="TCLayout.ActiveDocument.1">
                  <p:embed/>
                </p:oleObj>
              </mc:Choice>
              <mc:Fallback>
                <p:oleObj name="think-cell Slide" r:id="rId4" imgW="360" imgH="360" progId="TCLayout.ActiveDocument.1">
                  <p:embed/>
                  <p:pic>
                    <p:nvPicPr>
                      <p:cNvPr id="2"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9"/>
                        <a:ext cx="322180" cy="26179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6"/>
          <p:cNvPicPr>
            <a:picLocks noChangeAspect="1" noChangeArrowheads="1"/>
          </p:cNvPicPr>
          <p:nvPr userDrawn="1"/>
        </p:nvPicPr>
        <p:blipFill>
          <a:blip r:embed="rId6" cstate="print"/>
          <a:srcRect t="17297" r="17204"/>
          <a:stretch>
            <a:fillRect/>
          </a:stretch>
        </p:blipFill>
        <p:spPr bwMode="auto">
          <a:xfrm>
            <a:off x="7130358" y="0"/>
            <a:ext cx="12973846" cy="8293523"/>
          </a:xfrm>
          <a:prstGeom prst="rect">
            <a:avLst/>
          </a:prstGeom>
          <a:noFill/>
          <a:ln w="9525">
            <a:noFill/>
            <a:miter lim="800000"/>
            <a:headEnd/>
            <a:tailEnd/>
          </a:ln>
        </p:spPr>
      </p:pic>
      <p:pic>
        <p:nvPicPr>
          <p:cNvPr id="9" name="Picture 7" descr="D:\STC Running\2011 Projects\New CI Migration &amp; Guardianship Projects\Corporate Related\PPT Templates\STC Logo Option 2.jpg"/>
          <p:cNvPicPr>
            <a:picLocks noChangeAspect="1" noChangeArrowheads="1"/>
          </p:cNvPicPr>
          <p:nvPr userDrawn="1"/>
        </p:nvPicPr>
        <p:blipFill>
          <a:blip r:embed="rId7" cstate="print"/>
          <a:srcRect t="18155" b="21764"/>
          <a:stretch>
            <a:fillRect/>
          </a:stretch>
        </p:blipFill>
        <p:spPr bwMode="auto">
          <a:xfrm>
            <a:off x="16465396" y="9869751"/>
            <a:ext cx="3618181" cy="1426759"/>
          </a:xfrm>
          <a:prstGeom prst="rect">
            <a:avLst/>
          </a:prstGeom>
          <a:noFill/>
          <a:ln w="9525">
            <a:noFill/>
            <a:miter lim="800000"/>
            <a:headEnd/>
            <a:tailEnd/>
          </a:ln>
        </p:spPr>
      </p:pic>
    </p:spTree>
    <p:extLst>
      <p:ext uri="{BB962C8B-B14F-4D97-AF65-F5344CB8AC3E}">
        <p14:creationId xmlns:p14="http://schemas.microsoft.com/office/powerpoint/2010/main" val="117231803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9004911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E7E7E7"/>
        </a:solid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D89EBFD-AD8C-477F-8D61-2E475D3984B6}"/>
              </a:ext>
            </a:extLst>
          </p:cNvPr>
          <p:cNvSpPr>
            <a:spLocks noGrp="1"/>
          </p:cNvSpPr>
          <p:nvPr>
            <p:ph sz="quarter" idx="10"/>
          </p:nvPr>
        </p:nvSpPr>
        <p:spPr>
          <a:xfrm>
            <a:off x="243370" y="4083933"/>
            <a:ext cx="10015526" cy="5968824"/>
          </a:xfrm>
        </p:spPr>
        <p:txBody>
          <a:bodyPr vert="horz" lIns="91384" tIns="45693" rIns="91384" bIns="45693" rtlCol="0">
            <a:normAutofit/>
          </a:bodyPr>
          <a:lstStyle>
            <a:lvl1pPr marL="442178" indent="-442178">
              <a:buFont typeface="Wingdings" panose="05000000000000000000" pitchFamily="2" charset="2"/>
              <a:buChar char="§"/>
              <a:defRPr lang="en-US" sz="4129" b="1" smtClean="0">
                <a:latin typeface="+mj-lt"/>
                <a:cs typeface="Arial" panose="020B0604020202020204" pitchFamily="34" charset="0"/>
              </a:defRPr>
            </a:lvl1pPr>
            <a:lvl2pPr>
              <a:defRPr lang="en-US" sz="2582" smtClean="0">
                <a:solidFill>
                  <a:srgbClr val="6D519D"/>
                </a:solidFill>
                <a:latin typeface="+mn-lt"/>
                <a:cs typeface="Arial" panose="020B0604020202020204" pitchFamily="34" charset="0"/>
              </a:defRPr>
            </a:lvl2pPr>
            <a:lvl3pPr>
              <a:defRPr lang="en-US" sz="2322" smtClean="0">
                <a:latin typeface="Arial" panose="020B0604020202020204" pitchFamily="34" charset="0"/>
                <a:cs typeface="Arial" panose="020B0604020202020204" pitchFamily="34" charset="0"/>
              </a:defRPr>
            </a:lvl3pPr>
            <a:lvl4pPr>
              <a:defRPr lang="en-US" sz="2065" i="1" smtClean="0">
                <a:solidFill>
                  <a:schemeClr val="tx2"/>
                </a:solidFill>
                <a:latin typeface="Arial" panose="020B0604020202020204" pitchFamily="34" charset="0"/>
                <a:cs typeface="Arial" panose="020B0604020202020204" pitchFamily="34" charset="0"/>
              </a:defRPr>
            </a:lvl4pPr>
            <a:lvl5pPr>
              <a:defRPr lang="en-US" sz="2065">
                <a:latin typeface="Arial" panose="020B0604020202020204" pitchFamily="34" charset="0"/>
                <a:cs typeface="Arial" panose="020B0604020202020204" pitchFamily="34" charset="0"/>
              </a:defRPr>
            </a:lvl5pPr>
          </a:lstStyle>
          <a:p>
            <a:pPr marL="442178" lvl="0" indent="-442178"/>
            <a:r>
              <a:rPr lang="en-US" dirty="0"/>
              <a:t>Edit Master text styles</a:t>
            </a:r>
          </a:p>
          <a:p>
            <a:pPr lvl="1"/>
            <a:r>
              <a:rPr lang="en-US" dirty="0"/>
              <a:t>Second level</a:t>
            </a:r>
          </a:p>
        </p:txBody>
      </p:sp>
      <p:pic>
        <p:nvPicPr>
          <p:cNvPr id="6" name="Picture 5">
            <a:extLst>
              <a:ext uri="{FF2B5EF4-FFF2-40B4-BE49-F238E27FC236}">
                <a16:creationId xmlns:a16="http://schemas.microsoft.com/office/drawing/2014/main" id="{ADD9A37C-1BD3-42B6-99D0-4515A72133A4}"/>
              </a:ext>
            </a:extLst>
          </p:cNvPr>
          <p:cNvPicPr>
            <a:picLocks noChangeAspect="1"/>
          </p:cNvPicPr>
          <p:nvPr userDrawn="1"/>
        </p:nvPicPr>
        <p:blipFill>
          <a:blip r:embed="rId2" cstate="email">
            <a:clrChange>
              <a:clrFrom>
                <a:srgbClr val="FEFEFE"/>
              </a:clrFrom>
              <a:clrTo>
                <a:srgbClr val="FEFEFE">
                  <a:alpha val="0"/>
                </a:srgbClr>
              </a:clrTo>
            </a:clrChange>
            <a:extLst>
              <a:ext uri="{28A0092B-C50C-407E-A947-70E740481C1C}">
                <a14:useLocalDpi xmlns:a14="http://schemas.microsoft.com/office/drawing/2010/main"/>
              </a:ext>
            </a:extLst>
          </a:blip>
          <a:stretch>
            <a:fillRect/>
          </a:stretch>
        </p:blipFill>
        <p:spPr>
          <a:xfrm>
            <a:off x="13896938" y="7584245"/>
            <a:ext cx="6207167" cy="3725107"/>
          </a:xfrm>
          <a:prstGeom prst="rect">
            <a:avLst/>
          </a:prstGeom>
        </p:spPr>
      </p:pic>
      <p:pic>
        <p:nvPicPr>
          <p:cNvPr id="8" name="Picture 7">
            <a:extLst>
              <a:ext uri="{FF2B5EF4-FFF2-40B4-BE49-F238E27FC236}">
                <a16:creationId xmlns:a16="http://schemas.microsoft.com/office/drawing/2014/main" id="{B6555973-5C19-4E9C-9BA5-FEC43B0AA692}"/>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0497412" y="0"/>
            <a:ext cx="9606696" cy="4398081"/>
          </a:xfrm>
          <a:prstGeom prst="rect">
            <a:avLst/>
          </a:prstGeom>
          <a:ln>
            <a:noFill/>
          </a:ln>
          <a:effectLst>
            <a:softEdge rad="31750"/>
          </a:effectLst>
        </p:spPr>
      </p:pic>
      <p:sp>
        <p:nvSpPr>
          <p:cNvPr id="5" name="Title 1"/>
          <p:cNvSpPr>
            <a:spLocks noGrp="1"/>
          </p:cNvSpPr>
          <p:nvPr>
            <p:ph type="title" hasCustomPrompt="1"/>
          </p:nvPr>
        </p:nvSpPr>
        <p:spPr>
          <a:xfrm>
            <a:off x="248755" y="602543"/>
            <a:ext cx="12388762" cy="2111816"/>
          </a:xfrm>
        </p:spPr>
        <p:txBody>
          <a:bodyPr/>
          <a:lstStyle>
            <a:lvl1pPr algn="l">
              <a:defRPr b="1">
                <a:solidFill>
                  <a:srgbClr val="7030A0"/>
                </a:solidFill>
                <a:effectLst>
                  <a:reflection blurRad="6350" stA="50000" endA="300" endPos="50000" dist="29997" dir="5400000" sy="-100000" algn="bl" rotWithShape="0"/>
                </a:effectLst>
                <a:latin typeface="+mj-lt"/>
                <a:cs typeface="Segoe UI Semilight" panose="020B0402040204020203" pitchFamily="34" charset="0"/>
              </a:defRPr>
            </a:lvl1pPr>
          </a:lstStyle>
          <a:p>
            <a:r>
              <a:rPr lang="en-US" dirty="0"/>
              <a:t>CLICK TO EDIT MASTER TITLE STYLE</a:t>
            </a:r>
          </a:p>
        </p:txBody>
      </p:sp>
    </p:spTree>
    <p:extLst>
      <p:ext uri="{BB962C8B-B14F-4D97-AF65-F5344CB8AC3E}">
        <p14:creationId xmlns:p14="http://schemas.microsoft.com/office/powerpoint/2010/main" val="220396185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867418" y="2"/>
            <a:ext cx="17339786" cy="769036"/>
          </a:xfrm>
        </p:spPr>
        <p:txBody>
          <a:bodyPr>
            <a:noAutofit/>
          </a:bodyPr>
          <a:lstStyle>
            <a:lvl1pPr>
              <a:defRPr sz="4634"/>
            </a:lvl1pPr>
          </a:lstStyle>
          <a:p>
            <a:r>
              <a:rPr lang="en-US"/>
              <a:t>Click to edit Master title style</a:t>
            </a:r>
            <a:endParaRPr lang="en-GB"/>
          </a:p>
        </p:txBody>
      </p:sp>
      <p:sp>
        <p:nvSpPr>
          <p:cNvPr id="3" name="Date Placeholder 2"/>
          <p:cNvSpPr>
            <a:spLocks noGrp="1"/>
          </p:cNvSpPr>
          <p:nvPr>
            <p:ph type="dt" sz="half" idx="10"/>
          </p:nvPr>
        </p:nvSpPr>
        <p:spPr>
          <a:xfrm>
            <a:off x="867422" y="10604220"/>
            <a:ext cx="1863710" cy="602118"/>
          </a:xfrm>
        </p:spPr>
        <p:txBody>
          <a:bodyPr/>
          <a:lstStyle/>
          <a:p>
            <a:fld id="{F077519F-0905-4C16-B2BE-19409A41AECC}" type="datetimeFigureOut">
              <a:rPr lang="en-US" smtClean="0"/>
              <a:t>10/26/2020</a:t>
            </a:fld>
            <a:endParaRPr lang="en-US" dirty="0"/>
          </a:p>
        </p:txBody>
      </p:sp>
      <p:sp>
        <p:nvSpPr>
          <p:cNvPr id="5" name="Slide Number Placeholder 4"/>
          <p:cNvSpPr>
            <a:spLocks noGrp="1"/>
          </p:cNvSpPr>
          <p:nvPr>
            <p:ph type="sldNum" sz="quarter" idx="12"/>
          </p:nvPr>
        </p:nvSpPr>
        <p:spPr>
          <a:xfrm>
            <a:off x="16981992" y="10482109"/>
            <a:ext cx="1739961" cy="602118"/>
          </a:xfrm>
        </p:spPr>
        <p:txBody>
          <a:bodyPr/>
          <a:lstStyle/>
          <a:p>
            <a:fld id="{AB27A2A4-8B22-45DF-BF96-33C6715BEF74}" type="slidenum">
              <a:rPr lang="en-US" smtClean="0"/>
              <a:t>‹#›</a:t>
            </a:fld>
            <a:endParaRPr lang="en-US" dirty="0"/>
          </a:p>
        </p:txBody>
      </p:sp>
      <p:cxnSp>
        <p:nvCxnSpPr>
          <p:cNvPr id="6" name="Straight Connector 5"/>
          <p:cNvCxnSpPr/>
          <p:nvPr userDrawn="1"/>
        </p:nvCxnSpPr>
        <p:spPr>
          <a:xfrm>
            <a:off x="867427" y="769036"/>
            <a:ext cx="18393113" cy="0"/>
          </a:xfrm>
          <a:prstGeom prst="line">
            <a:avLst/>
          </a:prstGeom>
          <a:ln w="57150">
            <a:gradFill>
              <a:gsLst>
                <a:gs pos="17000">
                  <a:srgbClr val="EE9012"/>
                </a:gs>
                <a:gs pos="44000">
                  <a:srgbClr val="DD219E"/>
                </a:gs>
                <a:gs pos="81000">
                  <a:srgbClr val="5A2781"/>
                </a:gs>
              </a:gsLst>
              <a:lin ang="10800000" scaled="0"/>
            </a:gra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867427" y="10604206"/>
            <a:ext cx="18393113" cy="0"/>
          </a:xfrm>
          <a:prstGeom prst="line">
            <a:avLst/>
          </a:prstGeom>
          <a:ln w="19050">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7920004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cSld name="5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513013" y="4393138"/>
            <a:ext cx="15078075" cy="1395062"/>
          </a:xfrm>
        </p:spPr>
        <p:txBody>
          <a:bodyPr anchor="b"/>
          <a:lstStyle>
            <a:lvl1pPr algn="ctr">
              <a:defRPr sz="9406"/>
            </a:lvl1pPr>
          </a:lstStyle>
          <a:p>
            <a:r>
              <a:rPr lang="en-US"/>
              <a:t>Click to edit Master title style</a:t>
            </a:r>
          </a:p>
        </p:txBody>
      </p:sp>
      <p:sp>
        <p:nvSpPr>
          <p:cNvPr id="3" name="Subtitle 2"/>
          <p:cNvSpPr>
            <a:spLocks noGrp="1"/>
          </p:cNvSpPr>
          <p:nvPr>
            <p:ph type="subTitle" idx="1"/>
          </p:nvPr>
        </p:nvSpPr>
        <p:spPr>
          <a:xfrm>
            <a:off x="2513013" y="5940036"/>
            <a:ext cx="15078075" cy="613501"/>
          </a:xfrm>
        </p:spPr>
        <p:txBody>
          <a:bodyPr/>
          <a:lstStyle>
            <a:lvl1pPr marL="0" indent="0" algn="ctr">
              <a:buNone/>
              <a:defRPr sz="3763"/>
            </a:lvl1pPr>
            <a:lvl2pPr marL="716708" indent="0" algn="ctr">
              <a:buNone/>
              <a:defRPr sz="3136"/>
            </a:lvl2pPr>
            <a:lvl3pPr marL="1433415" indent="0" algn="ctr">
              <a:buNone/>
              <a:defRPr sz="2821"/>
            </a:lvl3pPr>
            <a:lvl4pPr marL="2150123" indent="0" algn="ctr">
              <a:buNone/>
              <a:defRPr sz="2510"/>
            </a:lvl4pPr>
            <a:lvl5pPr marL="2866828" indent="0" algn="ctr">
              <a:buNone/>
              <a:defRPr sz="2510"/>
            </a:lvl5pPr>
            <a:lvl6pPr marL="3583536" indent="0" algn="ctr">
              <a:buNone/>
              <a:defRPr sz="2510"/>
            </a:lvl6pPr>
            <a:lvl7pPr marL="4300242" indent="0" algn="ctr">
              <a:buNone/>
              <a:defRPr sz="2510"/>
            </a:lvl7pPr>
            <a:lvl8pPr marL="5016951" indent="0" algn="ctr">
              <a:buNone/>
              <a:defRPr sz="2510"/>
            </a:lvl8pPr>
            <a:lvl9pPr marL="5733655" indent="0" algn="ctr">
              <a:buNone/>
              <a:defRPr sz="2510"/>
            </a:lvl9pPr>
          </a:lstStyle>
          <a:p>
            <a:r>
              <a:rPr lang="en-US"/>
              <a:t>Click to edit Master subtitle style</a:t>
            </a:r>
          </a:p>
        </p:txBody>
      </p:sp>
      <p:sp>
        <p:nvSpPr>
          <p:cNvPr id="4" name="Date Placeholder 3"/>
          <p:cNvSpPr>
            <a:spLocks noGrp="1"/>
          </p:cNvSpPr>
          <p:nvPr>
            <p:ph type="dt" sz="half" idx="10"/>
          </p:nvPr>
        </p:nvSpPr>
        <p:spPr/>
        <p:txBody>
          <a:bodyPr/>
          <a:lstStyle/>
          <a:p>
            <a:fld id="{C27C67B7-893A-4552-A03C-7C50078BFCC4}" type="datetimeFigureOut">
              <a:rPr lang="en-US" smtClean="0"/>
              <a:t>10/26/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1CCBB8F-8E6C-4BC5-A12C-57CBC4C239EE}" type="slidenum">
              <a:rPr lang="en-US" smtClean="0"/>
              <a:t>‹#›</a:t>
            </a:fld>
            <a:endParaRPr lang="en-US"/>
          </a:p>
        </p:txBody>
      </p:sp>
    </p:spTree>
    <p:extLst>
      <p:ext uri="{BB962C8B-B14F-4D97-AF65-F5344CB8AC3E}">
        <p14:creationId xmlns:p14="http://schemas.microsoft.com/office/powerpoint/2010/main" val="89130762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3" name="Picture 3"/>
          <p:cNvPicPr>
            <a:picLocks noChangeAspect="1" noChangeArrowheads="1"/>
          </p:cNvPicPr>
          <p:nvPr/>
        </p:nvPicPr>
        <p:blipFill>
          <a:blip r:embed="rId2" cstate="print"/>
          <a:srcRect l="36325" b="280"/>
          <a:stretch>
            <a:fillRect/>
          </a:stretch>
        </p:blipFill>
        <p:spPr bwMode="auto">
          <a:xfrm>
            <a:off x="6" y="753966"/>
            <a:ext cx="2906162" cy="2764506"/>
          </a:xfrm>
          <a:prstGeom prst="rect">
            <a:avLst/>
          </a:prstGeom>
          <a:noFill/>
          <a:ln w="9525">
            <a:noFill/>
            <a:miter lim="800000"/>
            <a:headEnd/>
            <a:tailEnd/>
          </a:ln>
          <a:effectLst/>
        </p:spPr>
      </p:pic>
      <p:pic>
        <p:nvPicPr>
          <p:cNvPr id="4" name="Picture 3" descr="D:\STC Running\2011 Projects\New CI Migration &amp; Guardianship Projects\Corporate Related\PPT Templates\STC Logo Option 2.jpg"/>
          <p:cNvPicPr>
            <a:picLocks noChangeAspect="1" noChangeArrowheads="1"/>
          </p:cNvPicPr>
          <p:nvPr userDrawn="1"/>
        </p:nvPicPr>
        <p:blipFill>
          <a:blip r:embed="rId3" cstate="print"/>
          <a:srcRect t="18155" b="21764"/>
          <a:stretch>
            <a:fillRect/>
          </a:stretch>
        </p:blipFill>
        <p:spPr bwMode="auto">
          <a:xfrm>
            <a:off x="17961076" y="10531121"/>
            <a:ext cx="2056474" cy="713218"/>
          </a:xfrm>
          <a:prstGeom prst="rect">
            <a:avLst/>
          </a:prstGeom>
          <a:noFill/>
        </p:spPr>
      </p:pic>
      <p:sp>
        <p:nvSpPr>
          <p:cNvPr id="5" name="Title 4"/>
          <p:cNvSpPr>
            <a:spLocks noGrp="1"/>
          </p:cNvSpPr>
          <p:nvPr>
            <p:ph type="title"/>
          </p:nvPr>
        </p:nvSpPr>
        <p:spPr>
          <a:xfrm>
            <a:off x="4" y="0"/>
            <a:ext cx="20017545" cy="971766"/>
          </a:xfrm>
        </p:spPr>
        <p:txBody>
          <a:bodyPr>
            <a:normAutofit/>
          </a:bodyPr>
          <a:lstStyle>
            <a:lvl1pPr algn="l">
              <a:defRPr sz="5277" b="1">
                <a:solidFill>
                  <a:srgbClr val="4B2884"/>
                </a:solidFill>
              </a:defRPr>
            </a:lvl1pPr>
          </a:lstStyle>
          <a:p>
            <a:r>
              <a:rPr lang="en-US"/>
              <a:t>Click to edit Master title style</a:t>
            </a:r>
          </a:p>
        </p:txBody>
      </p:sp>
      <p:sp>
        <p:nvSpPr>
          <p:cNvPr id="6" name="Content Placeholder 12"/>
          <p:cNvSpPr>
            <a:spLocks noGrp="1"/>
          </p:cNvSpPr>
          <p:nvPr>
            <p:ph sz="quarter" idx="10"/>
          </p:nvPr>
        </p:nvSpPr>
        <p:spPr>
          <a:xfrm>
            <a:off x="1405890" y="1676159"/>
            <a:ext cx="18111143" cy="8628615"/>
          </a:xfrm>
        </p:spPr>
        <p:txBody>
          <a:bodyPr>
            <a:normAutofit/>
          </a:bodyPr>
          <a:lstStyle>
            <a:lvl1pPr>
              <a:defRPr sz="5277">
                <a:latin typeface="+mj-lt"/>
                <a:cs typeface="Arial" panose="020B0604020202020204" pitchFamily="34" charset="0"/>
              </a:defRPr>
            </a:lvl1pPr>
            <a:lvl2pPr>
              <a:defRPr sz="4398">
                <a:latin typeface="+mj-lt"/>
                <a:cs typeface="Arial" panose="020B0604020202020204" pitchFamily="34" charset="0"/>
              </a:defRPr>
            </a:lvl2pPr>
            <a:lvl3pPr>
              <a:defRPr sz="3958">
                <a:latin typeface="+mj-lt"/>
                <a:cs typeface="Arial" panose="020B0604020202020204" pitchFamily="34" charset="0"/>
              </a:defRPr>
            </a:lvl3pPr>
            <a:lvl4pPr>
              <a:defRPr sz="3079">
                <a:latin typeface="+mj-lt"/>
                <a:cs typeface="Arial" panose="020B0604020202020204" pitchFamily="34" charset="0"/>
              </a:defRPr>
            </a:lvl4pPr>
            <a:lvl5pPr>
              <a:defRPr sz="3079">
                <a:latin typeface="+mj-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58849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pic>
        <p:nvPicPr>
          <p:cNvPr id="3" name="Picture 2"/>
          <p:cNvPicPr>
            <a:picLocks noChangeAspect="1" noChangeArrowheads="1"/>
          </p:cNvPicPr>
          <p:nvPr/>
        </p:nvPicPr>
        <p:blipFill>
          <a:blip r:embed="rId2" cstate="print"/>
          <a:srcRect l="47613" t="12847"/>
          <a:stretch>
            <a:fillRect/>
          </a:stretch>
        </p:blipFill>
        <p:spPr bwMode="auto">
          <a:xfrm>
            <a:off x="3" y="125659"/>
            <a:ext cx="3357695" cy="4398081"/>
          </a:xfrm>
          <a:prstGeom prst="rect">
            <a:avLst/>
          </a:prstGeom>
          <a:noFill/>
          <a:ln w="9525">
            <a:noFill/>
            <a:miter lim="800000"/>
            <a:headEnd/>
            <a:tailEnd/>
          </a:ln>
          <a:effectLst/>
        </p:spPr>
      </p:pic>
      <p:pic>
        <p:nvPicPr>
          <p:cNvPr id="4" name="Picture 3" descr="D:\STC Running\2011 Projects\New CI Migration &amp; Guardianship Projects\Corporate Related\PPT Templates\STC Logo Option 2.jpg"/>
          <p:cNvPicPr>
            <a:picLocks noChangeAspect="1" noChangeArrowheads="1"/>
          </p:cNvPicPr>
          <p:nvPr userDrawn="1"/>
        </p:nvPicPr>
        <p:blipFill>
          <a:blip r:embed="rId3" cstate="print"/>
          <a:srcRect t="18155" b="21764"/>
          <a:stretch>
            <a:fillRect/>
          </a:stretch>
        </p:blipFill>
        <p:spPr bwMode="auto">
          <a:xfrm>
            <a:off x="17961076" y="10531121"/>
            <a:ext cx="2056474" cy="713218"/>
          </a:xfrm>
          <a:prstGeom prst="rect">
            <a:avLst/>
          </a:prstGeom>
          <a:noFill/>
        </p:spPr>
      </p:pic>
      <p:sp>
        <p:nvSpPr>
          <p:cNvPr id="5" name="Title 4"/>
          <p:cNvSpPr>
            <a:spLocks noGrp="1"/>
          </p:cNvSpPr>
          <p:nvPr>
            <p:ph type="title"/>
          </p:nvPr>
        </p:nvSpPr>
        <p:spPr>
          <a:xfrm>
            <a:off x="4" y="0"/>
            <a:ext cx="20017545" cy="971766"/>
          </a:xfrm>
        </p:spPr>
        <p:txBody>
          <a:bodyPr>
            <a:normAutofit/>
          </a:bodyPr>
          <a:lstStyle>
            <a:lvl1pPr algn="l">
              <a:defRPr sz="5277" b="1">
                <a:solidFill>
                  <a:srgbClr val="4B2884"/>
                </a:solidFill>
              </a:defRPr>
            </a:lvl1pPr>
          </a:lstStyle>
          <a:p>
            <a:r>
              <a:rPr lang="en-US"/>
              <a:t>Click to edit Master title style</a:t>
            </a:r>
          </a:p>
        </p:txBody>
      </p:sp>
      <p:sp>
        <p:nvSpPr>
          <p:cNvPr id="6" name="Content Placeholder 12"/>
          <p:cNvSpPr>
            <a:spLocks noGrp="1"/>
          </p:cNvSpPr>
          <p:nvPr>
            <p:ph sz="quarter" idx="10"/>
          </p:nvPr>
        </p:nvSpPr>
        <p:spPr>
          <a:xfrm>
            <a:off x="1405890" y="1676159"/>
            <a:ext cx="18111143" cy="8628615"/>
          </a:xfrm>
        </p:spPr>
        <p:txBody>
          <a:bodyPr>
            <a:normAutofit/>
          </a:bodyPr>
          <a:lstStyle>
            <a:lvl1pPr>
              <a:defRPr sz="5277">
                <a:latin typeface="+mj-lt"/>
                <a:cs typeface="Arial" panose="020B0604020202020204" pitchFamily="34" charset="0"/>
              </a:defRPr>
            </a:lvl1pPr>
            <a:lvl2pPr>
              <a:defRPr sz="4398">
                <a:latin typeface="+mj-lt"/>
                <a:cs typeface="Arial" panose="020B0604020202020204" pitchFamily="34" charset="0"/>
              </a:defRPr>
            </a:lvl2pPr>
            <a:lvl3pPr>
              <a:defRPr sz="3958">
                <a:latin typeface="+mj-lt"/>
                <a:cs typeface="Arial" panose="020B0604020202020204" pitchFamily="34" charset="0"/>
              </a:defRPr>
            </a:lvl3pPr>
            <a:lvl4pPr>
              <a:defRPr sz="3079">
                <a:latin typeface="+mj-lt"/>
                <a:cs typeface="Arial" panose="020B0604020202020204" pitchFamily="34" charset="0"/>
              </a:defRPr>
            </a:lvl4pPr>
            <a:lvl5pPr>
              <a:defRPr sz="3079">
                <a:latin typeface="+mj-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3405843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3" name="Picture 3"/>
          <p:cNvPicPr>
            <a:picLocks noChangeAspect="1" noChangeArrowheads="1"/>
          </p:cNvPicPr>
          <p:nvPr/>
        </p:nvPicPr>
        <p:blipFill rotWithShape="1">
          <a:blip r:embed="rId2" cstate="print"/>
          <a:srcRect l="43237" t="23815"/>
          <a:stretch/>
        </p:blipFill>
        <p:spPr bwMode="auto">
          <a:xfrm>
            <a:off x="3" y="571116"/>
            <a:ext cx="3416366" cy="3575653"/>
          </a:xfrm>
          <a:prstGeom prst="rect">
            <a:avLst/>
          </a:prstGeom>
          <a:noFill/>
          <a:ln w="9525">
            <a:noFill/>
            <a:miter lim="800000"/>
            <a:headEnd/>
            <a:tailEnd/>
          </a:ln>
          <a:effectLst/>
        </p:spPr>
      </p:pic>
      <p:pic>
        <p:nvPicPr>
          <p:cNvPr id="4" name="Picture 3" descr="D:\STC Running\2011 Projects\New CI Migration &amp; Guardianship Projects\Corporate Related\PPT Templates\STC Logo Option 2.jpg"/>
          <p:cNvPicPr>
            <a:picLocks noChangeAspect="1" noChangeArrowheads="1"/>
          </p:cNvPicPr>
          <p:nvPr userDrawn="1"/>
        </p:nvPicPr>
        <p:blipFill>
          <a:blip r:embed="rId3" cstate="print"/>
          <a:srcRect t="18155" b="21764"/>
          <a:stretch>
            <a:fillRect/>
          </a:stretch>
        </p:blipFill>
        <p:spPr bwMode="auto">
          <a:xfrm>
            <a:off x="17961076" y="10531121"/>
            <a:ext cx="2056474" cy="713218"/>
          </a:xfrm>
          <a:prstGeom prst="rect">
            <a:avLst/>
          </a:prstGeom>
          <a:noFill/>
        </p:spPr>
      </p:pic>
      <p:sp>
        <p:nvSpPr>
          <p:cNvPr id="5" name="Title 4"/>
          <p:cNvSpPr>
            <a:spLocks noGrp="1"/>
          </p:cNvSpPr>
          <p:nvPr>
            <p:ph type="title"/>
          </p:nvPr>
        </p:nvSpPr>
        <p:spPr>
          <a:xfrm>
            <a:off x="4" y="0"/>
            <a:ext cx="20017545" cy="971766"/>
          </a:xfrm>
        </p:spPr>
        <p:txBody>
          <a:bodyPr>
            <a:normAutofit/>
          </a:bodyPr>
          <a:lstStyle>
            <a:lvl1pPr algn="l">
              <a:defRPr sz="5277" b="1">
                <a:solidFill>
                  <a:srgbClr val="4B2884"/>
                </a:solidFill>
              </a:defRPr>
            </a:lvl1pPr>
          </a:lstStyle>
          <a:p>
            <a:r>
              <a:rPr lang="en-US"/>
              <a:t>Click to edit Master title style</a:t>
            </a:r>
          </a:p>
        </p:txBody>
      </p:sp>
      <p:sp>
        <p:nvSpPr>
          <p:cNvPr id="6" name="Content Placeholder 12"/>
          <p:cNvSpPr>
            <a:spLocks noGrp="1"/>
          </p:cNvSpPr>
          <p:nvPr>
            <p:ph sz="quarter" idx="10"/>
          </p:nvPr>
        </p:nvSpPr>
        <p:spPr>
          <a:xfrm>
            <a:off x="1405890" y="1676159"/>
            <a:ext cx="18111143" cy="8628615"/>
          </a:xfrm>
        </p:spPr>
        <p:txBody>
          <a:bodyPr>
            <a:normAutofit/>
          </a:bodyPr>
          <a:lstStyle>
            <a:lvl1pPr>
              <a:defRPr sz="5277">
                <a:latin typeface="+mj-lt"/>
                <a:cs typeface="Arial" panose="020B0604020202020204" pitchFamily="34" charset="0"/>
              </a:defRPr>
            </a:lvl1pPr>
            <a:lvl2pPr>
              <a:defRPr sz="4398">
                <a:latin typeface="+mj-lt"/>
                <a:cs typeface="Arial" panose="020B0604020202020204" pitchFamily="34" charset="0"/>
              </a:defRPr>
            </a:lvl2pPr>
            <a:lvl3pPr>
              <a:defRPr sz="3958">
                <a:latin typeface="+mj-lt"/>
                <a:cs typeface="Arial" panose="020B0604020202020204" pitchFamily="34" charset="0"/>
              </a:defRPr>
            </a:lvl3pPr>
            <a:lvl4pPr>
              <a:defRPr sz="3079">
                <a:latin typeface="+mj-lt"/>
                <a:cs typeface="Arial" panose="020B0604020202020204" pitchFamily="34" charset="0"/>
              </a:defRPr>
            </a:lvl4pPr>
            <a:lvl5pPr>
              <a:defRPr sz="3079">
                <a:latin typeface="+mj-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66920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pic>
        <p:nvPicPr>
          <p:cNvPr id="3" name="Picture 2"/>
          <p:cNvPicPr>
            <a:picLocks noChangeAspect="1" noChangeArrowheads="1"/>
          </p:cNvPicPr>
          <p:nvPr/>
        </p:nvPicPr>
        <p:blipFill>
          <a:blip r:embed="rId2" cstate="print"/>
          <a:srcRect l="47613" t="12847"/>
          <a:stretch>
            <a:fillRect/>
          </a:stretch>
        </p:blipFill>
        <p:spPr bwMode="auto">
          <a:xfrm>
            <a:off x="3" y="125659"/>
            <a:ext cx="3357695" cy="4398081"/>
          </a:xfrm>
          <a:prstGeom prst="rect">
            <a:avLst/>
          </a:prstGeom>
          <a:noFill/>
          <a:ln w="9525">
            <a:noFill/>
            <a:miter lim="800000"/>
            <a:headEnd/>
            <a:tailEnd/>
          </a:ln>
          <a:effectLst/>
        </p:spPr>
      </p:pic>
      <p:pic>
        <p:nvPicPr>
          <p:cNvPr id="4" name="Picture 3" descr="D:\STC Running\2011 Projects\New CI Migration &amp; Guardianship Projects\Corporate Related\PPT Templates\STC Logo Option 2.jpg"/>
          <p:cNvPicPr>
            <a:picLocks noChangeAspect="1" noChangeArrowheads="1"/>
          </p:cNvPicPr>
          <p:nvPr userDrawn="1"/>
        </p:nvPicPr>
        <p:blipFill>
          <a:blip r:embed="rId3" cstate="print"/>
          <a:srcRect t="18155" b="21764"/>
          <a:stretch>
            <a:fillRect/>
          </a:stretch>
        </p:blipFill>
        <p:spPr bwMode="auto">
          <a:xfrm>
            <a:off x="17961076" y="10531121"/>
            <a:ext cx="2056474" cy="713218"/>
          </a:xfrm>
          <a:prstGeom prst="rect">
            <a:avLst/>
          </a:prstGeom>
          <a:noFill/>
        </p:spPr>
      </p:pic>
      <p:sp>
        <p:nvSpPr>
          <p:cNvPr id="5" name="Title 4"/>
          <p:cNvSpPr>
            <a:spLocks noGrp="1"/>
          </p:cNvSpPr>
          <p:nvPr>
            <p:ph type="title"/>
          </p:nvPr>
        </p:nvSpPr>
        <p:spPr>
          <a:xfrm>
            <a:off x="4" y="0"/>
            <a:ext cx="20017545" cy="971766"/>
          </a:xfrm>
        </p:spPr>
        <p:txBody>
          <a:bodyPr>
            <a:normAutofit/>
          </a:bodyPr>
          <a:lstStyle>
            <a:lvl1pPr algn="l">
              <a:defRPr sz="5277" b="1">
                <a:solidFill>
                  <a:srgbClr val="4B2884"/>
                </a:solidFill>
              </a:defRPr>
            </a:lvl1pPr>
          </a:lstStyle>
          <a:p>
            <a:r>
              <a:rPr lang="en-US"/>
              <a:t>Click to edit Master title style</a:t>
            </a:r>
          </a:p>
        </p:txBody>
      </p:sp>
      <p:sp>
        <p:nvSpPr>
          <p:cNvPr id="6" name="Content Placeholder 12"/>
          <p:cNvSpPr>
            <a:spLocks noGrp="1"/>
          </p:cNvSpPr>
          <p:nvPr>
            <p:ph sz="quarter" idx="10"/>
          </p:nvPr>
        </p:nvSpPr>
        <p:spPr>
          <a:xfrm>
            <a:off x="1405890" y="1676159"/>
            <a:ext cx="18111143" cy="8628615"/>
          </a:xfrm>
        </p:spPr>
        <p:txBody>
          <a:bodyPr>
            <a:normAutofit/>
          </a:bodyPr>
          <a:lstStyle>
            <a:lvl1pPr>
              <a:defRPr sz="5277">
                <a:latin typeface="+mj-lt"/>
                <a:cs typeface="Arial" panose="020B0604020202020204" pitchFamily="34" charset="0"/>
              </a:defRPr>
            </a:lvl1pPr>
            <a:lvl2pPr>
              <a:defRPr sz="4398">
                <a:latin typeface="+mj-lt"/>
                <a:cs typeface="Arial" panose="020B0604020202020204" pitchFamily="34" charset="0"/>
              </a:defRPr>
            </a:lvl2pPr>
            <a:lvl3pPr>
              <a:defRPr sz="3958">
                <a:latin typeface="+mj-lt"/>
                <a:cs typeface="Arial" panose="020B0604020202020204" pitchFamily="34" charset="0"/>
              </a:defRPr>
            </a:lvl3pPr>
            <a:lvl4pPr>
              <a:defRPr sz="3079">
                <a:latin typeface="+mj-lt"/>
                <a:cs typeface="Arial" panose="020B0604020202020204" pitchFamily="34" charset="0"/>
              </a:defRPr>
            </a:lvl4pPr>
            <a:lvl5pPr>
              <a:defRPr sz="3079">
                <a:latin typeface="+mj-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5010788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3" name="Picture 2"/>
          <p:cNvPicPr>
            <a:picLocks noChangeAspect="1" noChangeArrowheads="1"/>
          </p:cNvPicPr>
          <p:nvPr/>
        </p:nvPicPr>
        <p:blipFill>
          <a:blip r:embed="rId2" cstate="print"/>
          <a:srcRect l="13770" r="74538" b="29321"/>
          <a:stretch>
            <a:fillRect/>
          </a:stretch>
        </p:blipFill>
        <p:spPr bwMode="auto">
          <a:xfrm>
            <a:off x="8" y="251321"/>
            <a:ext cx="1007547" cy="3040429"/>
          </a:xfrm>
          <a:prstGeom prst="rect">
            <a:avLst/>
          </a:prstGeom>
          <a:noFill/>
          <a:ln w="9525">
            <a:noFill/>
            <a:miter lim="800000"/>
            <a:headEnd/>
            <a:tailEnd/>
          </a:ln>
          <a:effectLst/>
        </p:spPr>
      </p:pic>
      <p:pic>
        <p:nvPicPr>
          <p:cNvPr id="4" name="Picture 3" descr="D:\STC Running\2011 Projects\New CI Migration &amp; Guardianship Projects\Corporate Related\PPT Templates\STC Logo Option 2.jpg"/>
          <p:cNvPicPr>
            <a:picLocks noChangeAspect="1" noChangeArrowheads="1"/>
          </p:cNvPicPr>
          <p:nvPr userDrawn="1"/>
        </p:nvPicPr>
        <p:blipFill>
          <a:blip r:embed="rId3" cstate="print"/>
          <a:srcRect t="18155" b="21764"/>
          <a:stretch>
            <a:fillRect/>
          </a:stretch>
        </p:blipFill>
        <p:spPr bwMode="auto">
          <a:xfrm>
            <a:off x="17961076" y="10531121"/>
            <a:ext cx="2056474" cy="713218"/>
          </a:xfrm>
          <a:prstGeom prst="rect">
            <a:avLst/>
          </a:prstGeom>
          <a:noFill/>
        </p:spPr>
      </p:pic>
      <p:sp>
        <p:nvSpPr>
          <p:cNvPr id="5" name="Title 4"/>
          <p:cNvSpPr>
            <a:spLocks noGrp="1"/>
          </p:cNvSpPr>
          <p:nvPr>
            <p:ph type="title"/>
          </p:nvPr>
        </p:nvSpPr>
        <p:spPr>
          <a:xfrm>
            <a:off x="4" y="0"/>
            <a:ext cx="20017545" cy="971766"/>
          </a:xfrm>
        </p:spPr>
        <p:txBody>
          <a:bodyPr>
            <a:normAutofit/>
          </a:bodyPr>
          <a:lstStyle>
            <a:lvl1pPr algn="l">
              <a:defRPr sz="5277" b="1">
                <a:solidFill>
                  <a:srgbClr val="4B2884"/>
                </a:solidFill>
              </a:defRPr>
            </a:lvl1pPr>
          </a:lstStyle>
          <a:p>
            <a:r>
              <a:rPr lang="en-US"/>
              <a:t>Click to edit Master title style</a:t>
            </a:r>
          </a:p>
        </p:txBody>
      </p:sp>
      <p:sp>
        <p:nvSpPr>
          <p:cNvPr id="6" name="Content Placeholder 12"/>
          <p:cNvSpPr>
            <a:spLocks noGrp="1"/>
          </p:cNvSpPr>
          <p:nvPr>
            <p:ph sz="quarter" idx="10"/>
          </p:nvPr>
        </p:nvSpPr>
        <p:spPr>
          <a:xfrm>
            <a:off x="1405890" y="1676159"/>
            <a:ext cx="18111143" cy="8628615"/>
          </a:xfrm>
        </p:spPr>
        <p:txBody>
          <a:bodyPr>
            <a:normAutofit/>
          </a:bodyPr>
          <a:lstStyle>
            <a:lvl1pPr>
              <a:defRPr sz="5277">
                <a:latin typeface="+mj-lt"/>
                <a:cs typeface="Arial" panose="020B0604020202020204" pitchFamily="34" charset="0"/>
              </a:defRPr>
            </a:lvl1pPr>
            <a:lvl2pPr>
              <a:defRPr sz="4398">
                <a:latin typeface="+mj-lt"/>
                <a:cs typeface="Arial" panose="020B0604020202020204" pitchFamily="34" charset="0"/>
              </a:defRPr>
            </a:lvl2pPr>
            <a:lvl3pPr>
              <a:defRPr sz="3958">
                <a:latin typeface="+mj-lt"/>
                <a:cs typeface="Arial" panose="020B0604020202020204" pitchFamily="34" charset="0"/>
              </a:defRPr>
            </a:lvl3pPr>
            <a:lvl4pPr>
              <a:defRPr sz="3079">
                <a:latin typeface="+mj-lt"/>
                <a:cs typeface="Arial" panose="020B0604020202020204" pitchFamily="34" charset="0"/>
              </a:defRPr>
            </a:lvl4pPr>
            <a:lvl5pPr>
              <a:defRPr sz="3079">
                <a:latin typeface="+mj-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992430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pic>
        <p:nvPicPr>
          <p:cNvPr id="7" name="Picture 2"/>
          <p:cNvPicPr>
            <a:picLocks noChangeAspect="1" noChangeArrowheads="1"/>
          </p:cNvPicPr>
          <p:nvPr/>
        </p:nvPicPr>
        <p:blipFill>
          <a:blip r:embed="rId2" cstate="print"/>
          <a:srcRect l="13770" r="74538" b="29321"/>
          <a:stretch>
            <a:fillRect/>
          </a:stretch>
        </p:blipFill>
        <p:spPr bwMode="auto">
          <a:xfrm>
            <a:off x="4" y="2"/>
            <a:ext cx="2725961" cy="8235765"/>
          </a:xfrm>
          <a:prstGeom prst="rect">
            <a:avLst/>
          </a:prstGeom>
          <a:noFill/>
          <a:ln w="9525">
            <a:noFill/>
            <a:miter lim="800000"/>
            <a:headEnd/>
            <a:tailEnd/>
          </a:ln>
          <a:effectLst/>
        </p:spPr>
      </p:pic>
      <p:pic>
        <p:nvPicPr>
          <p:cNvPr id="4" name="Picture 3" descr="D:\STC Running\2011 Projects\New CI Migration &amp; Guardianship Projects\Corporate Related\PPT Templates\STC Logo Option 2.jpg"/>
          <p:cNvPicPr>
            <a:picLocks noChangeAspect="1" noChangeArrowheads="1"/>
          </p:cNvPicPr>
          <p:nvPr userDrawn="1"/>
        </p:nvPicPr>
        <p:blipFill>
          <a:blip r:embed="rId3" cstate="print"/>
          <a:srcRect t="18155" b="21764"/>
          <a:stretch>
            <a:fillRect/>
          </a:stretch>
        </p:blipFill>
        <p:spPr bwMode="auto">
          <a:xfrm>
            <a:off x="17961076" y="10531121"/>
            <a:ext cx="2056474" cy="713218"/>
          </a:xfrm>
          <a:prstGeom prst="rect">
            <a:avLst/>
          </a:prstGeom>
          <a:noFill/>
        </p:spPr>
      </p:pic>
    </p:spTree>
    <p:extLst>
      <p:ext uri="{BB962C8B-B14F-4D97-AF65-F5344CB8AC3E}">
        <p14:creationId xmlns:p14="http://schemas.microsoft.com/office/powerpoint/2010/main" val="62074797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Vertical Title and Text">
    <p:spTree>
      <p:nvGrpSpPr>
        <p:cNvPr id="1" name=""/>
        <p:cNvGrpSpPr/>
        <p:nvPr/>
      </p:nvGrpSpPr>
      <p:grpSpPr>
        <a:xfrm>
          <a:off x="0" y="0"/>
          <a:ext cx="0" cy="0"/>
          <a:chOff x="0" y="0"/>
          <a:chExt cx="0" cy="0"/>
        </a:xfrm>
      </p:grpSpPr>
      <p:pic>
        <p:nvPicPr>
          <p:cNvPr id="7" name="Picture 2"/>
          <p:cNvPicPr>
            <a:picLocks noChangeAspect="1" noChangeArrowheads="1"/>
          </p:cNvPicPr>
          <p:nvPr/>
        </p:nvPicPr>
        <p:blipFill>
          <a:blip r:embed="rId2" cstate="print"/>
          <a:srcRect/>
          <a:stretch>
            <a:fillRect/>
          </a:stretch>
        </p:blipFill>
        <p:spPr bwMode="auto">
          <a:xfrm>
            <a:off x="4" y="3337612"/>
            <a:ext cx="6309714" cy="6268368"/>
          </a:xfrm>
          <a:prstGeom prst="rect">
            <a:avLst/>
          </a:prstGeom>
          <a:noFill/>
          <a:ln w="9525">
            <a:noFill/>
            <a:miter lim="800000"/>
            <a:headEnd/>
            <a:tailEnd/>
          </a:ln>
          <a:effectLst/>
        </p:spPr>
      </p:pic>
      <p:pic>
        <p:nvPicPr>
          <p:cNvPr id="4" name="Picture 3" descr="D:\STC Running\2011 Projects\New CI Migration &amp; Guardianship Projects\Corporate Related\PPT Templates\STC Logo Option 2.jpg"/>
          <p:cNvPicPr>
            <a:picLocks noChangeAspect="1" noChangeArrowheads="1"/>
          </p:cNvPicPr>
          <p:nvPr userDrawn="1"/>
        </p:nvPicPr>
        <p:blipFill>
          <a:blip r:embed="rId3" cstate="print"/>
          <a:srcRect t="18155" b="21764"/>
          <a:stretch>
            <a:fillRect/>
          </a:stretch>
        </p:blipFill>
        <p:spPr bwMode="auto">
          <a:xfrm>
            <a:off x="17961076" y="10531121"/>
            <a:ext cx="2056474" cy="713218"/>
          </a:xfrm>
          <a:prstGeom prst="rect">
            <a:avLst/>
          </a:prstGeom>
          <a:noFill/>
        </p:spPr>
      </p:pic>
    </p:spTree>
    <p:extLst>
      <p:ext uri="{BB962C8B-B14F-4D97-AF65-F5344CB8AC3E}">
        <p14:creationId xmlns:p14="http://schemas.microsoft.com/office/powerpoint/2010/main" val="177436981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1471528" y="251321"/>
            <a:ext cx="17001313" cy="1055017"/>
          </a:xfrm>
        </p:spPr>
        <p:txBody>
          <a:bodyPr/>
          <a:lstStyle>
            <a:lvl1pPr algn="l">
              <a:defRPr>
                <a:solidFill>
                  <a:srgbClr val="7030A0"/>
                </a:solidFill>
                <a:latin typeface="Segoe UI Semilight" panose="020B0402040204020203" pitchFamily="34" charset="0"/>
                <a:cs typeface="Segoe UI Semilight" panose="020B0402040204020203" pitchFamily="34" charset="0"/>
              </a:defRPr>
            </a:lvl1pPr>
          </a:lstStyle>
          <a:p>
            <a:r>
              <a:rPr lang="en-US" dirty="0"/>
              <a:t>Click to edit master title style</a:t>
            </a:r>
          </a:p>
        </p:txBody>
      </p:sp>
      <p:sp>
        <p:nvSpPr>
          <p:cNvPr id="8" name="Content Placeholder 7"/>
          <p:cNvSpPr>
            <a:spLocks noGrp="1"/>
          </p:cNvSpPr>
          <p:nvPr>
            <p:ph sz="quarter" idx="11"/>
          </p:nvPr>
        </p:nvSpPr>
        <p:spPr>
          <a:xfrm>
            <a:off x="248757" y="2010551"/>
            <a:ext cx="19732286" cy="8544842"/>
          </a:xfrm>
        </p:spPr>
        <p:txBody>
          <a:bodyPr/>
          <a:lstStyle>
            <a:lvl1pPr>
              <a:defRPr lang="en-US" sz="3517" b="1" kern="1200" dirty="0" smtClean="0">
                <a:solidFill>
                  <a:schemeClr val="tx1"/>
                </a:solidFill>
                <a:latin typeface="Arial" panose="020B0604020202020204" pitchFamily="34" charset="0"/>
                <a:ea typeface="+mn-ea"/>
                <a:cs typeface="Arial" panose="020B0604020202020204" pitchFamily="34" charset="0"/>
              </a:defRPr>
            </a:lvl1pPr>
            <a:lvl2pPr marL="1088277" indent="-418567">
              <a:defRPr lang="en-US" sz="2858" kern="1200" dirty="0" smtClean="0">
                <a:solidFill>
                  <a:schemeClr val="tx1">
                    <a:lumMod val="50000"/>
                    <a:lumOff val="50000"/>
                  </a:schemeClr>
                </a:solidFill>
                <a:latin typeface="Arial" panose="020B0604020202020204" pitchFamily="34" charset="0"/>
                <a:ea typeface="+mn-ea"/>
                <a:cs typeface="Arial" panose="020B0604020202020204" pitchFamily="34" charset="0"/>
              </a:defRPr>
            </a:lvl2pPr>
            <a:lvl3pPr marL="2009508" indent="-670084">
              <a:defRPr lang="en-US" sz="2638" kern="1200" dirty="0" smtClean="0">
                <a:solidFill>
                  <a:schemeClr val="tx1"/>
                </a:solidFill>
                <a:latin typeface="Arial" panose="020B0604020202020204" pitchFamily="34" charset="0"/>
                <a:ea typeface="+mn-ea"/>
                <a:cs typeface="Arial" panose="020B0604020202020204" pitchFamily="34" charset="0"/>
              </a:defRPr>
            </a:lvl3pPr>
            <a:lvl4pPr marL="2343991" indent="-334853">
              <a:defRPr lang="en-US" sz="2198" i="1" kern="1200" dirty="0" smtClean="0">
                <a:solidFill>
                  <a:schemeClr val="tx2"/>
                </a:solidFill>
                <a:latin typeface="Arial" panose="020B0604020202020204" pitchFamily="34" charset="0"/>
                <a:ea typeface="+mn-ea"/>
                <a:cs typeface="Arial" panose="020B0604020202020204" pitchFamily="34" charset="0"/>
              </a:defRPr>
            </a:lvl4pPr>
            <a:lvl5pPr marL="3013699" indent="-334853">
              <a:defRPr lang="en-US" sz="2198" kern="1200" dirty="0">
                <a:solidFill>
                  <a:schemeClr val="tx1"/>
                </a:solidFill>
                <a:latin typeface="Arial" panose="020B0604020202020204" pitchFamily="34" charset="0"/>
                <a:ea typeface="+mn-ea"/>
                <a:cs typeface="Arial" panose="020B0604020202020204" pitchFamily="34" charset="0"/>
              </a:defRPr>
            </a:lvl5pPr>
          </a:lstStyle>
          <a:p>
            <a:pPr marL="0" lvl="0" indent="0" algn="l" defTabSz="669710" rtl="0" eaLnBrk="1" latinLnBrk="0" hangingPunct="1">
              <a:spcBef>
                <a:spcPct val="20000"/>
              </a:spcBef>
              <a:buFont typeface="Arial"/>
              <a:buNone/>
            </a:pPr>
            <a:r>
              <a:rPr lang="en-US" dirty="0"/>
              <a:t>Click to edit Master text styles</a:t>
            </a:r>
          </a:p>
          <a:p>
            <a:pPr marL="1088277" lvl="1" indent="-418567" algn="l" defTabSz="669710" rtl="0" eaLnBrk="1" latinLnBrk="0" hangingPunct="1">
              <a:spcBef>
                <a:spcPct val="20000"/>
              </a:spcBef>
              <a:buFont typeface="Arial"/>
              <a:buChar char="–"/>
            </a:pPr>
            <a:r>
              <a:rPr lang="en-US" dirty="0"/>
              <a:t>Second level</a:t>
            </a:r>
          </a:p>
          <a:p>
            <a:pPr marL="1841984" lvl="2" indent="-502561" algn="l" defTabSz="669710" rtl="0" eaLnBrk="1" latinLnBrk="0" hangingPunct="1">
              <a:spcBef>
                <a:spcPct val="20000"/>
              </a:spcBef>
              <a:buFont typeface="+mj-lt"/>
              <a:buAutoNum type="arabicPeriod"/>
            </a:pPr>
            <a:r>
              <a:rPr lang="en-US" dirty="0"/>
              <a:t>Third level</a:t>
            </a:r>
          </a:p>
          <a:p>
            <a:pPr marL="2343991" lvl="3" indent="-334853" algn="l" defTabSz="669710" rtl="0" eaLnBrk="1" latinLnBrk="0" hangingPunct="1">
              <a:spcBef>
                <a:spcPct val="20000"/>
              </a:spcBef>
              <a:buFont typeface="Arial"/>
              <a:buChar char="–"/>
            </a:pPr>
            <a:r>
              <a:rPr lang="en-US" dirty="0"/>
              <a:t>Fourth level</a:t>
            </a:r>
          </a:p>
          <a:p>
            <a:pPr marL="3013699" lvl="4" indent="-334853" algn="l" defTabSz="669710" rtl="0" eaLnBrk="1" latinLnBrk="0" hangingPunct="1">
              <a:spcBef>
                <a:spcPct val="20000"/>
              </a:spcBef>
              <a:buFont typeface="Arial"/>
              <a:buChar char="»"/>
            </a:pPr>
            <a:r>
              <a:rPr lang="en-US" dirty="0"/>
              <a:t>Fifth level</a:t>
            </a:r>
          </a:p>
        </p:txBody>
      </p:sp>
    </p:spTree>
    <p:extLst>
      <p:ext uri="{BB962C8B-B14F-4D97-AF65-F5344CB8AC3E}">
        <p14:creationId xmlns:p14="http://schemas.microsoft.com/office/powerpoint/2010/main" val="271101646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pic>
        <p:nvPicPr>
          <p:cNvPr id="3" name="Picture 2"/>
          <p:cNvPicPr>
            <a:picLocks noChangeAspect="1" noChangeArrowheads="1"/>
          </p:cNvPicPr>
          <p:nvPr/>
        </p:nvPicPr>
        <p:blipFill>
          <a:blip r:embed="rId2" cstate="print"/>
          <a:srcRect l="3940" t="14776" r="36950"/>
          <a:stretch>
            <a:fillRect/>
          </a:stretch>
        </p:blipFill>
        <p:spPr bwMode="auto">
          <a:xfrm>
            <a:off x="2" y="753956"/>
            <a:ext cx="1897534" cy="2136211"/>
          </a:xfrm>
          <a:prstGeom prst="rect">
            <a:avLst/>
          </a:prstGeom>
          <a:noFill/>
          <a:ln w="9525">
            <a:noFill/>
            <a:miter lim="800000"/>
            <a:headEnd/>
            <a:tailEnd/>
          </a:ln>
          <a:effectLst/>
        </p:spPr>
      </p:pic>
      <p:pic>
        <p:nvPicPr>
          <p:cNvPr id="4" name="Picture 3" descr="D:\STC Running\2011 Projects\New CI Migration &amp; Guardianship Projects\Corporate Related\PPT Templates\STC Logo Option 2.jpg"/>
          <p:cNvPicPr>
            <a:picLocks noChangeAspect="1" noChangeArrowheads="1"/>
          </p:cNvPicPr>
          <p:nvPr userDrawn="1"/>
        </p:nvPicPr>
        <p:blipFill>
          <a:blip r:embed="rId3" cstate="print"/>
          <a:srcRect t="18155" b="21764"/>
          <a:stretch>
            <a:fillRect/>
          </a:stretch>
        </p:blipFill>
        <p:spPr bwMode="auto">
          <a:xfrm>
            <a:off x="17961076" y="10531121"/>
            <a:ext cx="2056474" cy="713218"/>
          </a:xfrm>
          <a:prstGeom prst="rect">
            <a:avLst/>
          </a:prstGeom>
          <a:noFill/>
        </p:spPr>
      </p:pic>
      <p:sp>
        <p:nvSpPr>
          <p:cNvPr id="5" name="Title 4"/>
          <p:cNvSpPr>
            <a:spLocks noGrp="1"/>
          </p:cNvSpPr>
          <p:nvPr>
            <p:ph type="title"/>
          </p:nvPr>
        </p:nvSpPr>
        <p:spPr>
          <a:xfrm>
            <a:off x="4" y="0"/>
            <a:ext cx="20017545" cy="971766"/>
          </a:xfrm>
        </p:spPr>
        <p:txBody>
          <a:bodyPr>
            <a:normAutofit/>
          </a:bodyPr>
          <a:lstStyle>
            <a:lvl1pPr algn="l">
              <a:defRPr sz="5277" b="1">
                <a:solidFill>
                  <a:srgbClr val="4B2884"/>
                </a:solidFill>
              </a:defRPr>
            </a:lvl1pPr>
          </a:lstStyle>
          <a:p>
            <a:r>
              <a:rPr lang="en-US"/>
              <a:t>Click to edit Master title style</a:t>
            </a:r>
          </a:p>
        </p:txBody>
      </p:sp>
      <p:sp>
        <p:nvSpPr>
          <p:cNvPr id="13" name="Content Placeholder 12"/>
          <p:cNvSpPr>
            <a:spLocks noGrp="1"/>
          </p:cNvSpPr>
          <p:nvPr>
            <p:ph sz="quarter" idx="10"/>
          </p:nvPr>
        </p:nvSpPr>
        <p:spPr>
          <a:xfrm>
            <a:off x="1405890" y="1676159"/>
            <a:ext cx="18111143" cy="8628615"/>
          </a:xfrm>
        </p:spPr>
        <p:txBody>
          <a:bodyPr>
            <a:normAutofit/>
          </a:bodyPr>
          <a:lstStyle>
            <a:lvl1pPr>
              <a:defRPr sz="5277">
                <a:latin typeface="+mj-lt"/>
                <a:cs typeface="Arial" panose="020B0604020202020204" pitchFamily="34" charset="0"/>
              </a:defRPr>
            </a:lvl1pPr>
            <a:lvl2pPr>
              <a:defRPr sz="4398">
                <a:latin typeface="+mj-lt"/>
                <a:cs typeface="Arial" panose="020B0604020202020204" pitchFamily="34" charset="0"/>
              </a:defRPr>
            </a:lvl2pPr>
            <a:lvl3pPr>
              <a:defRPr sz="3958">
                <a:latin typeface="+mj-lt"/>
                <a:cs typeface="Arial" panose="020B0604020202020204" pitchFamily="34" charset="0"/>
              </a:defRPr>
            </a:lvl3pPr>
            <a:lvl4pPr>
              <a:defRPr sz="3079">
                <a:latin typeface="+mj-lt"/>
                <a:cs typeface="Arial" panose="020B0604020202020204" pitchFamily="34" charset="0"/>
              </a:defRPr>
            </a:lvl4pPr>
            <a:lvl5pPr>
              <a:defRPr sz="3079">
                <a:latin typeface="+mj-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4227366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pic>
        <p:nvPicPr>
          <p:cNvPr id="3" name="Picture 2"/>
          <p:cNvPicPr>
            <a:picLocks noChangeAspect="1" noChangeArrowheads="1"/>
          </p:cNvPicPr>
          <p:nvPr/>
        </p:nvPicPr>
        <p:blipFill rotWithShape="1">
          <a:blip r:embed="rId2" cstate="print"/>
          <a:srcRect l="16357" r="72430" b="53533"/>
          <a:stretch/>
        </p:blipFill>
        <p:spPr bwMode="auto">
          <a:xfrm>
            <a:off x="2" y="0"/>
            <a:ext cx="1779371" cy="3520918"/>
          </a:xfrm>
          <a:prstGeom prst="rect">
            <a:avLst/>
          </a:prstGeom>
          <a:noFill/>
          <a:ln w="9525">
            <a:noFill/>
            <a:miter lim="800000"/>
            <a:headEnd/>
            <a:tailEnd/>
          </a:ln>
          <a:effectLst/>
        </p:spPr>
      </p:pic>
      <p:pic>
        <p:nvPicPr>
          <p:cNvPr id="4" name="Picture 3" descr="D:\STC Running\2011 Projects\New CI Migration &amp; Guardianship Projects\Corporate Related\PPT Templates\STC Logo Option 2.jpg"/>
          <p:cNvPicPr>
            <a:picLocks noChangeAspect="1" noChangeArrowheads="1"/>
          </p:cNvPicPr>
          <p:nvPr userDrawn="1"/>
        </p:nvPicPr>
        <p:blipFill>
          <a:blip r:embed="rId3" cstate="print"/>
          <a:srcRect t="18155" b="21764"/>
          <a:stretch>
            <a:fillRect/>
          </a:stretch>
        </p:blipFill>
        <p:spPr bwMode="auto">
          <a:xfrm>
            <a:off x="17961076" y="10531121"/>
            <a:ext cx="2056474" cy="713218"/>
          </a:xfrm>
          <a:prstGeom prst="rect">
            <a:avLst/>
          </a:prstGeom>
          <a:noFill/>
        </p:spPr>
      </p:pic>
      <p:sp>
        <p:nvSpPr>
          <p:cNvPr id="5" name="Title 4"/>
          <p:cNvSpPr>
            <a:spLocks noGrp="1"/>
          </p:cNvSpPr>
          <p:nvPr>
            <p:ph type="title"/>
          </p:nvPr>
        </p:nvSpPr>
        <p:spPr>
          <a:xfrm>
            <a:off x="4" y="0"/>
            <a:ext cx="20017545" cy="971766"/>
          </a:xfrm>
        </p:spPr>
        <p:txBody>
          <a:bodyPr>
            <a:normAutofit/>
          </a:bodyPr>
          <a:lstStyle>
            <a:lvl1pPr algn="l">
              <a:defRPr sz="5277" b="1">
                <a:solidFill>
                  <a:srgbClr val="4B2884"/>
                </a:solidFill>
              </a:defRPr>
            </a:lvl1pPr>
          </a:lstStyle>
          <a:p>
            <a:r>
              <a:rPr lang="en-US"/>
              <a:t>Click to edit Master title style</a:t>
            </a:r>
          </a:p>
        </p:txBody>
      </p:sp>
      <p:sp>
        <p:nvSpPr>
          <p:cNvPr id="6" name="Content Placeholder 12"/>
          <p:cNvSpPr>
            <a:spLocks noGrp="1"/>
          </p:cNvSpPr>
          <p:nvPr>
            <p:ph sz="quarter" idx="10"/>
          </p:nvPr>
        </p:nvSpPr>
        <p:spPr>
          <a:xfrm>
            <a:off x="1405890" y="1676159"/>
            <a:ext cx="18111143" cy="8628615"/>
          </a:xfrm>
        </p:spPr>
        <p:txBody>
          <a:bodyPr>
            <a:normAutofit/>
          </a:bodyPr>
          <a:lstStyle>
            <a:lvl1pPr>
              <a:defRPr sz="5277">
                <a:latin typeface="+mj-lt"/>
                <a:cs typeface="Arial" panose="020B0604020202020204" pitchFamily="34" charset="0"/>
              </a:defRPr>
            </a:lvl1pPr>
            <a:lvl2pPr>
              <a:defRPr sz="4398">
                <a:latin typeface="+mj-lt"/>
                <a:cs typeface="Arial" panose="020B0604020202020204" pitchFamily="34" charset="0"/>
              </a:defRPr>
            </a:lvl2pPr>
            <a:lvl3pPr>
              <a:defRPr sz="3958">
                <a:latin typeface="+mj-lt"/>
                <a:cs typeface="Arial" panose="020B0604020202020204" pitchFamily="34" charset="0"/>
              </a:defRPr>
            </a:lvl3pPr>
            <a:lvl4pPr>
              <a:defRPr sz="3079">
                <a:latin typeface="+mj-lt"/>
                <a:cs typeface="Arial" panose="020B0604020202020204" pitchFamily="34" charset="0"/>
              </a:defRPr>
            </a:lvl4pPr>
            <a:lvl5pPr>
              <a:defRPr sz="3079">
                <a:latin typeface="+mj-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576265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Title Only Green">
    <p:spTree>
      <p:nvGrpSpPr>
        <p:cNvPr id="1" name=""/>
        <p:cNvGrpSpPr/>
        <p:nvPr/>
      </p:nvGrpSpPr>
      <p:grpSpPr>
        <a:xfrm>
          <a:off x="0" y="0"/>
          <a:ext cx="0" cy="0"/>
          <a:chOff x="0" y="0"/>
          <a:chExt cx="0" cy="0"/>
        </a:xfrm>
      </p:grpSpPr>
      <p:sp>
        <p:nvSpPr>
          <p:cNvPr id="2" name="Title 1"/>
          <p:cNvSpPr>
            <a:spLocks noGrp="1"/>
          </p:cNvSpPr>
          <p:nvPr>
            <p:ph type="title"/>
          </p:nvPr>
        </p:nvSpPr>
        <p:spPr>
          <a:xfrm>
            <a:off x="1005205" y="384364"/>
            <a:ext cx="18093690" cy="1357124"/>
          </a:xfrm>
          <a:prstGeom prst="rect">
            <a:avLst/>
          </a:prstGeom>
        </p:spPr>
        <p:txBody>
          <a:bodyPr lIns="91424" tIns="45711" rIns="91424" bIns="45711"/>
          <a:lstStyle/>
          <a:p>
            <a:r>
              <a:rPr lang="en-US"/>
              <a:t>Click to edit Master title style</a:t>
            </a:r>
            <a:endParaRPr lang="en-US" dirty="0"/>
          </a:p>
        </p:txBody>
      </p:sp>
      <p:cxnSp>
        <p:nvCxnSpPr>
          <p:cNvPr id="5" name="Straight Connector 4"/>
          <p:cNvCxnSpPr/>
          <p:nvPr userDrawn="1"/>
        </p:nvCxnSpPr>
        <p:spPr>
          <a:xfrm>
            <a:off x="1151806" y="1741272"/>
            <a:ext cx="17713249" cy="0"/>
          </a:xfrm>
          <a:prstGeom prst="line">
            <a:avLst/>
          </a:prstGeom>
          <a:ln w="6350">
            <a:solidFill>
              <a:srgbClr val="ED8000"/>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55880649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867418" y="2"/>
            <a:ext cx="17339786" cy="769036"/>
          </a:xfrm>
        </p:spPr>
        <p:txBody>
          <a:bodyPr>
            <a:noAutofit/>
          </a:bodyPr>
          <a:lstStyle>
            <a:lvl1pPr>
              <a:defRPr sz="4873"/>
            </a:lvl1pPr>
          </a:lstStyle>
          <a:p>
            <a:r>
              <a:rPr lang="en-US"/>
              <a:t>Click to edit Master title style</a:t>
            </a:r>
            <a:endParaRPr lang="en-GB"/>
          </a:p>
        </p:txBody>
      </p:sp>
      <p:sp>
        <p:nvSpPr>
          <p:cNvPr id="3" name="Date Placeholder 2"/>
          <p:cNvSpPr>
            <a:spLocks noGrp="1"/>
          </p:cNvSpPr>
          <p:nvPr>
            <p:ph type="dt" sz="half" idx="10"/>
          </p:nvPr>
        </p:nvSpPr>
        <p:spPr>
          <a:xfrm>
            <a:off x="867419" y="10604213"/>
            <a:ext cx="1863710" cy="602118"/>
          </a:xfrm>
        </p:spPr>
        <p:txBody>
          <a:bodyPr/>
          <a:lstStyle/>
          <a:p>
            <a:fld id="{F077519F-0905-4C16-B2BE-19409A41AECC}" type="datetimeFigureOut">
              <a:rPr lang="en-US" smtClean="0">
                <a:solidFill>
                  <a:prstClr val="black">
                    <a:tint val="75000"/>
                  </a:prstClr>
                </a:solidFill>
              </a:rPr>
              <a:pPr/>
              <a:t>10/26/2020</a:t>
            </a:fld>
            <a:endParaRPr lang="en-US" dirty="0">
              <a:solidFill>
                <a:prstClr val="black">
                  <a:tint val="75000"/>
                </a:prstClr>
              </a:solidFill>
            </a:endParaRPr>
          </a:p>
        </p:txBody>
      </p:sp>
      <p:sp>
        <p:nvSpPr>
          <p:cNvPr id="5" name="Slide Number Placeholder 4"/>
          <p:cNvSpPr>
            <a:spLocks noGrp="1"/>
          </p:cNvSpPr>
          <p:nvPr>
            <p:ph type="sldNum" sz="quarter" idx="12"/>
          </p:nvPr>
        </p:nvSpPr>
        <p:spPr>
          <a:xfrm>
            <a:off x="16981985" y="10482103"/>
            <a:ext cx="1739961" cy="602118"/>
          </a:xfrm>
        </p:spPr>
        <p:txBody>
          <a:bodyPr/>
          <a:lstStyle/>
          <a:p>
            <a:fld id="{AB27A2A4-8B22-45DF-BF96-33C6715BEF74}" type="slidenum">
              <a:rPr lang="en-US" smtClean="0">
                <a:solidFill>
                  <a:prstClr val="black">
                    <a:tint val="75000"/>
                  </a:prstClr>
                </a:solidFill>
              </a:rPr>
              <a:pPr/>
              <a:t>‹#›</a:t>
            </a:fld>
            <a:endParaRPr lang="en-US" dirty="0">
              <a:solidFill>
                <a:prstClr val="black">
                  <a:tint val="75000"/>
                </a:prstClr>
              </a:solidFill>
            </a:endParaRPr>
          </a:p>
        </p:txBody>
      </p:sp>
      <p:cxnSp>
        <p:nvCxnSpPr>
          <p:cNvPr id="6" name="Straight Connector 5"/>
          <p:cNvCxnSpPr/>
          <p:nvPr userDrawn="1"/>
        </p:nvCxnSpPr>
        <p:spPr>
          <a:xfrm flipV="1">
            <a:off x="0" y="769040"/>
            <a:ext cx="20104100" cy="2"/>
          </a:xfrm>
          <a:prstGeom prst="line">
            <a:avLst/>
          </a:prstGeom>
          <a:ln w="28575">
            <a:gradFill>
              <a:gsLst>
                <a:gs pos="17000">
                  <a:srgbClr val="EE9012"/>
                </a:gs>
                <a:gs pos="44000">
                  <a:srgbClr val="DD219E"/>
                </a:gs>
                <a:gs pos="81000">
                  <a:srgbClr val="5A2781"/>
                </a:gs>
              </a:gsLst>
              <a:lin ang="10800000" scaled="0"/>
            </a:gra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867419" y="10604206"/>
            <a:ext cx="18393113" cy="0"/>
          </a:xfrm>
          <a:prstGeom prst="line">
            <a:avLst/>
          </a:prstGeom>
          <a:ln w="19050">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955115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3" name="Picture 2"/>
          <p:cNvPicPr>
            <a:picLocks noChangeAspect="1" noChangeArrowheads="1"/>
          </p:cNvPicPr>
          <p:nvPr/>
        </p:nvPicPr>
        <p:blipFill>
          <a:blip r:embed="rId2" cstate="print"/>
          <a:srcRect l="13770" r="74538" b="29321"/>
          <a:stretch>
            <a:fillRect/>
          </a:stretch>
        </p:blipFill>
        <p:spPr bwMode="auto">
          <a:xfrm>
            <a:off x="8" y="251321"/>
            <a:ext cx="1007547" cy="3040429"/>
          </a:xfrm>
          <a:prstGeom prst="rect">
            <a:avLst/>
          </a:prstGeom>
          <a:noFill/>
          <a:ln w="9525">
            <a:noFill/>
            <a:miter lim="800000"/>
            <a:headEnd/>
            <a:tailEnd/>
          </a:ln>
          <a:effectLst/>
        </p:spPr>
      </p:pic>
      <p:pic>
        <p:nvPicPr>
          <p:cNvPr id="4" name="Picture 3" descr="D:\STC Running\2011 Projects\New CI Migration &amp; Guardianship Projects\Corporate Related\PPT Templates\STC Logo Option 2.jpg"/>
          <p:cNvPicPr>
            <a:picLocks noChangeAspect="1" noChangeArrowheads="1"/>
          </p:cNvPicPr>
          <p:nvPr userDrawn="1"/>
        </p:nvPicPr>
        <p:blipFill>
          <a:blip r:embed="rId3" cstate="print"/>
          <a:srcRect t="18155" b="21764"/>
          <a:stretch>
            <a:fillRect/>
          </a:stretch>
        </p:blipFill>
        <p:spPr bwMode="auto">
          <a:xfrm>
            <a:off x="17961076" y="10531121"/>
            <a:ext cx="2056474" cy="713218"/>
          </a:xfrm>
          <a:prstGeom prst="rect">
            <a:avLst/>
          </a:prstGeom>
          <a:noFill/>
        </p:spPr>
      </p:pic>
      <p:sp>
        <p:nvSpPr>
          <p:cNvPr id="5" name="Title 4"/>
          <p:cNvSpPr>
            <a:spLocks noGrp="1"/>
          </p:cNvSpPr>
          <p:nvPr>
            <p:ph type="title"/>
          </p:nvPr>
        </p:nvSpPr>
        <p:spPr>
          <a:xfrm>
            <a:off x="4" y="0"/>
            <a:ext cx="20017545" cy="971766"/>
          </a:xfrm>
        </p:spPr>
        <p:txBody>
          <a:bodyPr>
            <a:normAutofit/>
          </a:bodyPr>
          <a:lstStyle>
            <a:lvl1pPr algn="l">
              <a:defRPr sz="5277" b="1">
                <a:solidFill>
                  <a:srgbClr val="4B2884"/>
                </a:solidFill>
              </a:defRPr>
            </a:lvl1pPr>
          </a:lstStyle>
          <a:p>
            <a:r>
              <a:rPr lang="en-US"/>
              <a:t>Click to edit Master title style</a:t>
            </a:r>
          </a:p>
        </p:txBody>
      </p:sp>
      <p:sp>
        <p:nvSpPr>
          <p:cNvPr id="6" name="Content Placeholder 12"/>
          <p:cNvSpPr>
            <a:spLocks noGrp="1"/>
          </p:cNvSpPr>
          <p:nvPr>
            <p:ph sz="quarter" idx="10"/>
          </p:nvPr>
        </p:nvSpPr>
        <p:spPr>
          <a:xfrm>
            <a:off x="1405890" y="1676159"/>
            <a:ext cx="18111143" cy="8628615"/>
          </a:xfrm>
        </p:spPr>
        <p:txBody>
          <a:bodyPr>
            <a:normAutofit/>
          </a:bodyPr>
          <a:lstStyle>
            <a:lvl1pPr>
              <a:defRPr sz="5277">
                <a:latin typeface="+mj-lt"/>
                <a:cs typeface="Arial" panose="020B0604020202020204" pitchFamily="34" charset="0"/>
              </a:defRPr>
            </a:lvl1pPr>
            <a:lvl2pPr>
              <a:defRPr sz="4398">
                <a:latin typeface="+mj-lt"/>
                <a:cs typeface="Arial" panose="020B0604020202020204" pitchFamily="34" charset="0"/>
              </a:defRPr>
            </a:lvl2pPr>
            <a:lvl3pPr>
              <a:defRPr sz="3958">
                <a:latin typeface="+mj-lt"/>
                <a:cs typeface="Arial" panose="020B0604020202020204" pitchFamily="34" charset="0"/>
              </a:defRPr>
            </a:lvl3pPr>
            <a:lvl4pPr>
              <a:defRPr sz="3079">
                <a:latin typeface="+mj-lt"/>
                <a:cs typeface="Arial" panose="020B0604020202020204" pitchFamily="34" charset="0"/>
              </a:defRPr>
            </a:lvl4pPr>
            <a:lvl5pPr>
              <a:defRPr sz="3079">
                <a:latin typeface="+mj-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8010475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779697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2_Title Sllide 1">
    <p:bg>
      <p:bgPr>
        <a:solidFill>
          <a:schemeClr val="tx2"/>
        </a:solidFill>
        <a:effectLst/>
      </p:bgPr>
    </p:bg>
    <p:spTree>
      <p:nvGrpSpPr>
        <p:cNvPr id="1" name=""/>
        <p:cNvGrpSpPr/>
        <p:nvPr/>
      </p:nvGrpSpPr>
      <p:grpSpPr>
        <a:xfrm>
          <a:off x="0" y="0"/>
          <a:ext cx="0" cy="0"/>
          <a:chOff x="0" y="0"/>
          <a:chExt cx="0" cy="0"/>
        </a:xfrm>
      </p:grpSpPr>
      <p:grpSp>
        <p:nvGrpSpPr>
          <p:cNvPr id="13" name="Grupo 12">
            <a:extLst>
              <a:ext uri="{FF2B5EF4-FFF2-40B4-BE49-F238E27FC236}">
                <a16:creationId xmlns:a16="http://schemas.microsoft.com/office/drawing/2014/main" id="{401C62B8-AF7E-4B7D-9538-1418B4BFEBEF}"/>
              </a:ext>
            </a:extLst>
          </p:cNvPr>
          <p:cNvGrpSpPr/>
          <p:nvPr userDrawn="1"/>
        </p:nvGrpSpPr>
        <p:grpSpPr>
          <a:xfrm>
            <a:off x="0" y="4488399"/>
            <a:ext cx="10786786" cy="2319464"/>
            <a:chOff x="0" y="2721769"/>
            <a:chExt cx="6541576" cy="1406525"/>
          </a:xfrm>
        </p:grpSpPr>
        <p:sp>
          <p:nvSpPr>
            <p:cNvPr id="11" name="Rectángulo 10">
              <a:extLst>
                <a:ext uri="{FF2B5EF4-FFF2-40B4-BE49-F238E27FC236}">
                  <a16:creationId xmlns:a16="http://schemas.microsoft.com/office/drawing/2014/main" id="{C8B6B93A-A8F8-4F2B-BC71-4B643F447AE8}"/>
                </a:ext>
              </a:extLst>
            </p:cNvPr>
            <p:cNvSpPr/>
            <p:nvPr userDrawn="1"/>
          </p:nvSpPr>
          <p:spPr>
            <a:xfrm>
              <a:off x="0" y="2721769"/>
              <a:ext cx="5133975" cy="140652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968" dirty="0"/>
            </a:p>
          </p:txBody>
        </p:sp>
        <p:sp>
          <p:nvSpPr>
            <p:cNvPr id="12" name="Rectángulo 11">
              <a:extLst>
                <a:ext uri="{FF2B5EF4-FFF2-40B4-BE49-F238E27FC236}">
                  <a16:creationId xmlns:a16="http://schemas.microsoft.com/office/drawing/2014/main" id="{C75FFB40-3AC2-49EB-8E48-A86BA5920297}"/>
                </a:ext>
              </a:extLst>
            </p:cNvPr>
            <p:cNvSpPr/>
            <p:nvPr userDrawn="1"/>
          </p:nvSpPr>
          <p:spPr>
            <a:xfrm>
              <a:off x="5133976" y="2721769"/>
              <a:ext cx="1407600" cy="1406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968" dirty="0"/>
            </a:p>
          </p:txBody>
        </p:sp>
      </p:grpSp>
      <p:sp>
        <p:nvSpPr>
          <p:cNvPr id="8" name="Marcador de texto 7">
            <a:extLst>
              <a:ext uri="{FF2B5EF4-FFF2-40B4-BE49-F238E27FC236}">
                <a16:creationId xmlns:a16="http://schemas.microsoft.com/office/drawing/2014/main" id="{7D6440B0-FCC9-4D31-ABFB-730764070B93}"/>
              </a:ext>
            </a:extLst>
          </p:cNvPr>
          <p:cNvSpPr>
            <a:spLocks noGrp="1"/>
          </p:cNvSpPr>
          <p:nvPr>
            <p:ph type="body" sz="quarter" idx="13" hasCustomPrompt="1"/>
          </p:nvPr>
        </p:nvSpPr>
        <p:spPr>
          <a:xfrm>
            <a:off x="353294" y="8037259"/>
            <a:ext cx="1808846" cy="691127"/>
          </a:xfrm>
        </p:spPr>
        <p:txBody>
          <a:bodyPr lIns="0" tIns="0" rIns="0" bIns="0" anchor="ctr">
            <a:noAutofit/>
          </a:bodyPr>
          <a:lstStyle>
            <a:lvl1pPr marL="0" indent="0">
              <a:lnSpc>
                <a:spcPct val="100000"/>
              </a:lnSpc>
              <a:spcBef>
                <a:spcPts val="0"/>
              </a:spcBef>
              <a:buNone/>
              <a:defRPr sz="1814">
                <a:solidFill>
                  <a:schemeClr val="bg1"/>
                </a:solidFill>
              </a:defRPr>
            </a:lvl1pPr>
            <a:lvl2pPr marL="753923" indent="0">
              <a:buNone/>
              <a:defRPr sz="1731">
                <a:solidFill>
                  <a:schemeClr val="bg1"/>
                </a:solidFill>
              </a:defRPr>
            </a:lvl2pPr>
            <a:lvl3pPr marL="1507846" indent="0">
              <a:buNone/>
              <a:defRPr sz="1649">
                <a:solidFill>
                  <a:schemeClr val="bg1"/>
                </a:solidFill>
              </a:defRPr>
            </a:lvl3pPr>
            <a:lvl4pPr marL="2261768" indent="0">
              <a:buNone/>
              <a:defRPr sz="1484">
                <a:solidFill>
                  <a:schemeClr val="bg1"/>
                </a:solidFill>
              </a:defRPr>
            </a:lvl4pPr>
            <a:lvl5pPr marL="3015691" indent="0">
              <a:buNone/>
              <a:defRPr sz="1484">
                <a:solidFill>
                  <a:schemeClr val="bg1"/>
                </a:solidFill>
              </a:defRPr>
            </a:lvl5pPr>
          </a:lstStyle>
          <a:p>
            <a:pPr lvl="0"/>
            <a:r>
              <a:rPr lang="en-GB" noProof="0"/>
              <a:t>Text</a:t>
            </a:r>
          </a:p>
          <a:p>
            <a:pPr lvl="0"/>
            <a:r>
              <a:rPr lang="en-GB" noProof="0"/>
              <a:t>Date</a:t>
            </a:r>
          </a:p>
        </p:txBody>
      </p:sp>
      <p:sp>
        <p:nvSpPr>
          <p:cNvPr id="16" name="Marcador de texto 7">
            <a:extLst>
              <a:ext uri="{FF2B5EF4-FFF2-40B4-BE49-F238E27FC236}">
                <a16:creationId xmlns:a16="http://schemas.microsoft.com/office/drawing/2014/main" id="{0FCADBF3-8EA9-40FC-ACDC-5AD02B297BA8}"/>
              </a:ext>
            </a:extLst>
          </p:cNvPr>
          <p:cNvSpPr>
            <a:spLocks noGrp="1"/>
          </p:cNvSpPr>
          <p:nvPr>
            <p:ph type="body" sz="quarter" idx="14" hasCustomPrompt="1"/>
          </p:nvPr>
        </p:nvSpPr>
        <p:spPr>
          <a:xfrm>
            <a:off x="2889965" y="7300215"/>
            <a:ext cx="7896820" cy="2165214"/>
          </a:xfrm>
        </p:spPr>
        <p:txBody>
          <a:bodyPr lIns="0" tIns="0" rIns="0" bIns="0" anchor="ctr">
            <a:noAutofit/>
          </a:bodyPr>
          <a:lstStyle>
            <a:lvl1pPr marL="0" indent="0" algn="r">
              <a:lnSpc>
                <a:spcPct val="100000"/>
              </a:lnSpc>
              <a:spcBef>
                <a:spcPts val="0"/>
              </a:spcBef>
              <a:buNone/>
              <a:defRPr sz="11873">
                <a:solidFill>
                  <a:schemeClr val="bg1"/>
                </a:solidFill>
                <a:latin typeface="Arial Unicode MS" panose="020B0604020202020204" pitchFamily="34" charset="-128"/>
                <a:ea typeface="Arial Unicode MS" panose="020B0604020202020204" pitchFamily="34" charset="-128"/>
                <a:cs typeface="Arial Unicode MS" panose="020B0604020202020204" pitchFamily="34" charset="-128"/>
              </a:defRPr>
            </a:lvl1pPr>
            <a:lvl2pPr marL="753923" indent="0">
              <a:buNone/>
              <a:defRPr sz="1731">
                <a:solidFill>
                  <a:schemeClr val="bg1"/>
                </a:solidFill>
              </a:defRPr>
            </a:lvl2pPr>
            <a:lvl3pPr marL="1507846" indent="0">
              <a:buNone/>
              <a:defRPr sz="1649">
                <a:solidFill>
                  <a:schemeClr val="bg1"/>
                </a:solidFill>
              </a:defRPr>
            </a:lvl3pPr>
            <a:lvl4pPr marL="2261768" indent="0">
              <a:buNone/>
              <a:defRPr sz="1484">
                <a:solidFill>
                  <a:schemeClr val="bg1"/>
                </a:solidFill>
              </a:defRPr>
            </a:lvl4pPr>
            <a:lvl5pPr marL="3015691" indent="0">
              <a:buNone/>
              <a:defRPr sz="1484">
                <a:solidFill>
                  <a:schemeClr val="bg1"/>
                </a:solidFill>
              </a:defRPr>
            </a:lvl5pPr>
          </a:lstStyle>
          <a:p>
            <a:pPr lvl="0"/>
            <a:r>
              <a:rPr lang="ar-AE" dirty="0"/>
              <a:t>انظر للأمام</a:t>
            </a:r>
            <a:endParaRPr lang="es-ES" dirty="0"/>
          </a:p>
        </p:txBody>
      </p:sp>
      <p:sp>
        <p:nvSpPr>
          <p:cNvPr id="18" name="Título 1">
            <a:extLst>
              <a:ext uri="{FF2B5EF4-FFF2-40B4-BE49-F238E27FC236}">
                <a16:creationId xmlns:a16="http://schemas.microsoft.com/office/drawing/2014/main" id="{435E0EAF-5FD4-4865-A795-3F2F13627757}"/>
              </a:ext>
            </a:extLst>
          </p:cNvPr>
          <p:cNvSpPr>
            <a:spLocks noGrp="1"/>
          </p:cNvSpPr>
          <p:nvPr>
            <p:ph type="title" hasCustomPrompt="1"/>
          </p:nvPr>
        </p:nvSpPr>
        <p:spPr>
          <a:xfrm>
            <a:off x="353293" y="4488400"/>
            <a:ext cx="7808014" cy="2319462"/>
          </a:xfrm>
        </p:spPr>
        <p:txBody>
          <a:bodyPr vert="horz" lIns="0" tIns="0" rIns="0" bIns="0" rtlCol="0" anchor="ctr">
            <a:normAutofit/>
          </a:bodyPr>
          <a:lstStyle>
            <a:lvl1pPr>
              <a:defRPr lang="es-ES" sz="9894" dirty="0">
                <a:solidFill>
                  <a:schemeClr val="tx2"/>
                </a:solidFill>
              </a:defRPr>
            </a:lvl1pPr>
          </a:lstStyle>
          <a:p>
            <a:pPr marL="0" lvl="0"/>
            <a:r>
              <a:rPr lang="en-GB" noProof="0"/>
              <a:t>Text</a:t>
            </a:r>
          </a:p>
        </p:txBody>
      </p:sp>
      <p:pic>
        <p:nvPicPr>
          <p:cNvPr id="9" name="Imagen 8">
            <a:extLst>
              <a:ext uri="{FF2B5EF4-FFF2-40B4-BE49-F238E27FC236}">
                <a16:creationId xmlns:a16="http://schemas.microsoft.com/office/drawing/2014/main" id="{34C474B0-EBAA-6149-80E6-73D779A2223A}"/>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206379" y="10190981"/>
            <a:ext cx="1167349" cy="583716"/>
          </a:xfrm>
          <a:prstGeom prst="rect">
            <a:avLst/>
          </a:prstGeom>
        </p:spPr>
      </p:pic>
    </p:spTree>
    <p:extLst>
      <p:ext uri="{BB962C8B-B14F-4D97-AF65-F5344CB8AC3E}">
        <p14:creationId xmlns:p14="http://schemas.microsoft.com/office/powerpoint/2010/main" val="6992091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Sllide 1">
    <p:bg>
      <p:bgPr>
        <a:solidFill>
          <a:schemeClr val="tx2"/>
        </a:solidFill>
        <a:effectLst/>
      </p:bgPr>
    </p:bg>
    <p:spTree>
      <p:nvGrpSpPr>
        <p:cNvPr id="1" name=""/>
        <p:cNvGrpSpPr/>
        <p:nvPr/>
      </p:nvGrpSpPr>
      <p:grpSpPr>
        <a:xfrm>
          <a:off x="0" y="0"/>
          <a:ext cx="0" cy="0"/>
          <a:chOff x="0" y="0"/>
          <a:chExt cx="0" cy="0"/>
        </a:xfrm>
      </p:grpSpPr>
      <p:pic>
        <p:nvPicPr>
          <p:cNvPr id="19" name="Imagen 18">
            <a:extLst>
              <a:ext uri="{FF2B5EF4-FFF2-40B4-BE49-F238E27FC236}">
                <a16:creationId xmlns:a16="http://schemas.microsoft.com/office/drawing/2014/main" id="{CDE873E3-468F-41C9-A3D5-AE1CFF571F4A}"/>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206379" y="10190981"/>
            <a:ext cx="1167349" cy="583716"/>
          </a:xfrm>
          <a:prstGeom prst="rect">
            <a:avLst/>
          </a:prstGeom>
        </p:spPr>
      </p:pic>
      <p:sp>
        <p:nvSpPr>
          <p:cNvPr id="2" name="Title 1">
            <a:extLst>
              <a:ext uri="{FF2B5EF4-FFF2-40B4-BE49-F238E27FC236}">
                <a16:creationId xmlns:a16="http://schemas.microsoft.com/office/drawing/2014/main" id="{1D616A16-5F6F-4F25-88DA-B5D1E5C6D6A9}"/>
              </a:ext>
            </a:extLst>
          </p:cNvPr>
          <p:cNvSpPr>
            <a:spLocks noGrp="1"/>
          </p:cNvSpPr>
          <p:nvPr>
            <p:ph type="title" hasCustomPrompt="1"/>
          </p:nvPr>
        </p:nvSpPr>
        <p:spPr>
          <a:xfrm>
            <a:off x="496617" y="314896"/>
            <a:ext cx="8693826" cy="2185952"/>
          </a:xfrm>
        </p:spPr>
        <p:txBody>
          <a:bodyPr anchor="t">
            <a:noAutofit/>
          </a:bodyPr>
          <a:lstStyle>
            <a:lvl1pPr>
              <a:defRPr sz="8905">
                <a:solidFill>
                  <a:schemeClr val="bg1"/>
                </a:solidFill>
              </a:defRPr>
            </a:lvl1pPr>
          </a:lstStyle>
          <a:p>
            <a:r>
              <a:rPr lang="en-GB" noProof="0"/>
              <a:t>Title</a:t>
            </a:r>
          </a:p>
        </p:txBody>
      </p:sp>
      <p:sp>
        <p:nvSpPr>
          <p:cNvPr id="14" name="Marcador de texto 19">
            <a:extLst>
              <a:ext uri="{FF2B5EF4-FFF2-40B4-BE49-F238E27FC236}">
                <a16:creationId xmlns:a16="http://schemas.microsoft.com/office/drawing/2014/main" id="{F0A5F956-78D9-483E-8513-18F922BFD069}"/>
              </a:ext>
            </a:extLst>
          </p:cNvPr>
          <p:cNvSpPr>
            <a:spLocks noGrp="1"/>
          </p:cNvSpPr>
          <p:nvPr>
            <p:ph type="body" sz="quarter" idx="10" hasCustomPrompt="1"/>
          </p:nvPr>
        </p:nvSpPr>
        <p:spPr>
          <a:xfrm>
            <a:off x="17185412" y="389504"/>
            <a:ext cx="2985439" cy="250572"/>
          </a:xfrm>
          <a:noFill/>
        </p:spPr>
        <p:txBody>
          <a:bodyPr wrap="square" lIns="0" tIns="0" rIns="0" bIns="0" rtlCol="0" anchor="ctr">
            <a:noAutofit/>
          </a:bodyPr>
          <a:lstStyle>
            <a:lvl1pPr marL="0" indent="0">
              <a:buNone/>
              <a:defRPr lang="es-ES" sz="1319" b="0" smtClean="0">
                <a:solidFill>
                  <a:schemeClr val="bg1"/>
                </a:solidFill>
              </a:defRPr>
            </a:lvl1pPr>
            <a:lvl2pPr marL="376961" indent="0">
              <a:buNone/>
              <a:defRPr lang="es-ES" sz="2968" smtClean="0"/>
            </a:lvl2pPr>
            <a:lvl3pPr marL="1130884" indent="0">
              <a:buNone/>
              <a:defRPr lang="es-ES" sz="2968" smtClean="0"/>
            </a:lvl3pPr>
            <a:lvl4pPr marL="1790567" indent="0">
              <a:buFont typeface="Arial" panose="020B0604020202020204" pitchFamily="34" charset="0"/>
              <a:buNone/>
              <a:defRPr lang="es-ES" smtClean="0"/>
            </a:lvl4pPr>
            <a:lvl5pPr marL="2638730" indent="0">
              <a:buNone/>
              <a:defRPr lang="es-ES"/>
            </a:lvl5pPr>
          </a:lstStyle>
          <a:p>
            <a:pPr marL="0" lvl="0"/>
            <a:r>
              <a:rPr lang="en-GB" noProof="0" dirty="0"/>
              <a:t>Document Title</a:t>
            </a:r>
          </a:p>
        </p:txBody>
      </p:sp>
    </p:spTree>
    <p:extLst>
      <p:ext uri="{BB962C8B-B14F-4D97-AF65-F5344CB8AC3E}">
        <p14:creationId xmlns:p14="http://schemas.microsoft.com/office/powerpoint/2010/main" val="332114885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Sllide 40px">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2651B967-5412-4F9E-949F-4173106E63EA}"/>
              </a:ext>
            </a:extLst>
          </p:cNvPr>
          <p:cNvSpPr>
            <a:spLocks noGrp="1"/>
          </p:cNvSpPr>
          <p:nvPr>
            <p:ph type="pic" sz="quarter" idx="11"/>
          </p:nvPr>
        </p:nvSpPr>
        <p:spPr>
          <a:xfrm>
            <a:off x="0" y="0"/>
            <a:ext cx="20104100" cy="11309350"/>
          </a:xfrm>
        </p:spPr>
        <p:txBody>
          <a:bodyPr anchor="ctr"/>
          <a:lstStyle>
            <a:lvl1pPr marL="0" indent="0" algn="ctr">
              <a:buNone/>
              <a:defRPr/>
            </a:lvl1pPr>
          </a:lstStyle>
          <a:p>
            <a:endParaRPr lang="en-GB"/>
          </a:p>
        </p:txBody>
      </p:sp>
      <p:pic>
        <p:nvPicPr>
          <p:cNvPr id="19" name="Imagen 18">
            <a:extLst>
              <a:ext uri="{FF2B5EF4-FFF2-40B4-BE49-F238E27FC236}">
                <a16:creationId xmlns:a16="http://schemas.microsoft.com/office/drawing/2014/main" id="{CDE873E3-468F-41C9-A3D5-AE1CFF571F4A}"/>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206379" y="10190981"/>
            <a:ext cx="1167349" cy="583716"/>
          </a:xfrm>
          <a:prstGeom prst="rect">
            <a:avLst/>
          </a:prstGeom>
        </p:spPr>
      </p:pic>
      <p:sp>
        <p:nvSpPr>
          <p:cNvPr id="2" name="Title 1">
            <a:extLst>
              <a:ext uri="{FF2B5EF4-FFF2-40B4-BE49-F238E27FC236}">
                <a16:creationId xmlns:a16="http://schemas.microsoft.com/office/drawing/2014/main" id="{1D616A16-5F6F-4F25-88DA-B5D1E5C6D6A9}"/>
              </a:ext>
            </a:extLst>
          </p:cNvPr>
          <p:cNvSpPr>
            <a:spLocks noGrp="1"/>
          </p:cNvSpPr>
          <p:nvPr>
            <p:ph type="title" hasCustomPrompt="1"/>
          </p:nvPr>
        </p:nvSpPr>
        <p:spPr>
          <a:xfrm>
            <a:off x="496617" y="314896"/>
            <a:ext cx="8693826" cy="4615742"/>
          </a:xfrm>
        </p:spPr>
        <p:txBody>
          <a:bodyPr vert="horz" lIns="0" tIns="0" rIns="0" bIns="0" rtlCol="0" anchor="t">
            <a:noAutofit/>
          </a:bodyPr>
          <a:lstStyle>
            <a:lvl1pPr>
              <a:defRPr lang="en-GB" sz="6596" dirty="0">
                <a:solidFill>
                  <a:schemeClr val="bg1"/>
                </a:solidFill>
              </a:defRPr>
            </a:lvl1pPr>
          </a:lstStyle>
          <a:p>
            <a:pPr lvl="0">
              <a:lnSpc>
                <a:spcPts val="5772"/>
              </a:lnSpc>
            </a:pPr>
            <a:r>
              <a:rPr lang="en-GB" noProof="0"/>
              <a:t>Title</a:t>
            </a:r>
          </a:p>
        </p:txBody>
      </p:sp>
      <p:sp>
        <p:nvSpPr>
          <p:cNvPr id="14" name="Marcador de texto 19">
            <a:extLst>
              <a:ext uri="{FF2B5EF4-FFF2-40B4-BE49-F238E27FC236}">
                <a16:creationId xmlns:a16="http://schemas.microsoft.com/office/drawing/2014/main" id="{F0A5F956-78D9-483E-8513-18F922BFD069}"/>
              </a:ext>
            </a:extLst>
          </p:cNvPr>
          <p:cNvSpPr>
            <a:spLocks noGrp="1"/>
          </p:cNvSpPr>
          <p:nvPr>
            <p:ph type="body" sz="quarter" idx="10" hasCustomPrompt="1"/>
          </p:nvPr>
        </p:nvSpPr>
        <p:spPr>
          <a:xfrm>
            <a:off x="17185412" y="389504"/>
            <a:ext cx="2985439" cy="250572"/>
          </a:xfrm>
          <a:noFill/>
        </p:spPr>
        <p:txBody>
          <a:bodyPr wrap="square" lIns="0" tIns="0" rIns="0" bIns="0" rtlCol="0" anchor="ctr">
            <a:noAutofit/>
          </a:bodyPr>
          <a:lstStyle>
            <a:lvl1pPr marL="0" indent="0">
              <a:buNone/>
              <a:defRPr lang="es-ES" sz="1319" b="0" smtClean="0">
                <a:solidFill>
                  <a:schemeClr val="bg1"/>
                </a:solidFill>
              </a:defRPr>
            </a:lvl1pPr>
            <a:lvl2pPr marL="376961" indent="0">
              <a:buNone/>
              <a:defRPr lang="es-ES" sz="2968" smtClean="0"/>
            </a:lvl2pPr>
            <a:lvl3pPr marL="1130884" indent="0">
              <a:buNone/>
              <a:defRPr lang="es-ES" sz="2968" smtClean="0"/>
            </a:lvl3pPr>
            <a:lvl4pPr marL="1790567" indent="0">
              <a:buFont typeface="Arial" panose="020B0604020202020204" pitchFamily="34" charset="0"/>
              <a:buNone/>
              <a:defRPr lang="es-ES" smtClean="0"/>
            </a:lvl4pPr>
            <a:lvl5pPr marL="2638730" indent="0">
              <a:buNone/>
              <a:defRPr lang="es-ES"/>
            </a:lvl5pPr>
          </a:lstStyle>
          <a:p>
            <a:pPr marL="0" lvl="0"/>
            <a:r>
              <a:rPr lang="es-ES" noProof="0" dirty="0"/>
              <a:t>D</a:t>
            </a:r>
            <a:r>
              <a:rPr lang="en-GB" noProof="0" dirty="0" err="1"/>
              <a:t>ocument</a:t>
            </a:r>
            <a:r>
              <a:rPr lang="en-GB" noProof="0" dirty="0"/>
              <a:t> Title</a:t>
            </a:r>
          </a:p>
        </p:txBody>
      </p:sp>
    </p:spTree>
    <p:extLst>
      <p:ext uri="{BB962C8B-B14F-4D97-AF65-F5344CB8AC3E}">
        <p14:creationId xmlns:p14="http://schemas.microsoft.com/office/powerpoint/2010/main" val="4286523213"/>
      </p:ext>
    </p:extLst>
  </p:cSld>
  <p:clrMapOvr>
    <a:overrideClrMapping bg1="lt1" tx1="dk1" bg2="lt2" tx2="dk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le Sllide 40px - purple">
    <p:bg>
      <p:bgRef idx="1001">
        <a:schemeClr val="bg1"/>
      </p:bgRef>
    </p:bg>
    <p:spTree>
      <p:nvGrpSpPr>
        <p:cNvPr id="1" name=""/>
        <p:cNvGrpSpPr/>
        <p:nvPr/>
      </p:nvGrpSpPr>
      <p:grpSpPr>
        <a:xfrm>
          <a:off x="0" y="0"/>
          <a:ext cx="0" cy="0"/>
          <a:chOff x="0" y="0"/>
          <a:chExt cx="0" cy="0"/>
        </a:xfrm>
      </p:grpSpPr>
      <p:pic>
        <p:nvPicPr>
          <p:cNvPr id="19" name="Imagen 18">
            <a:extLst>
              <a:ext uri="{FF2B5EF4-FFF2-40B4-BE49-F238E27FC236}">
                <a16:creationId xmlns:a16="http://schemas.microsoft.com/office/drawing/2014/main" id="{CDE873E3-468F-41C9-A3D5-AE1CFF571F4A}"/>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206379" y="10190981"/>
            <a:ext cx="1167349" cy="583716"/>
          </a:xfrm>
          <a:prstGeom prst="rect">
            <a:avLst/>
          </a:prstGeom>
        </p:spPr>
      </p:pic>
      <p:sp>
        <p:nvSpPr>
          <p:cNvPr id="2" name="Title 1">
            <a:extLst>
              <a:ext uri="{FF2B5EF4-FFF2-40B4-BE49-F238E27FC236}">
                <a16:creationId xmlns:a16="http://schemas.microsoft.com/office/drawing/2014/main" id="{1D616A16-5F6F-4F25-88DA-B5D1E5C6D6A9}"/>
              </a:ext>
            </a:extLst>
          </p:cNvPr>
          <p:cNvSpPr>
            <a:spLocks noGrp="1"/>
          </p:cNvSpPr>
          <p:nvPr>
            <p:ph type="title" hasCustomPrompt="1"/>
          </p:nvPr>
        </p:nvSpPr>
        <p:spPr>
          <a:xfrm>
            <a:off x="496617" y="314896"/>
            <a:ext cx="8693826" cy="4615742"/>
          </a:xfrm>
        </p:spPr>
        <p:txBody>
          <a:bodyPr vert="horz" lIns="0" tIns="0" rIns="0" bIns="0" rtlCol="0" anchor="t">
            <a:noAutofit/>
          </a:bodyPr>
          <a:lstStyle>
            <a:lvl1pPr>
              <a:lnSpc>
                <a:spcPct val="100000"/>
              </a:lnSpc>
              <a:defRPr lang="en-GB" sz="6596" dirty="0">
                <a:solidFill>
                  <a:schemeClr val="tx2"/>
                </a:solidFill>
              </a:defRPr>
            </a:lvl1pPr>
          </a:lstStyle>
          <a:p>
            <a:pPr lvl="0">
              <a:lnSpc>
                <a:spcPts val="5772"/>
              </a:lnSpc>
            </a:pPr>
            <a:r>
              <a:rPr lang="en-GB" noProof="0"/>
              <a:t>Title</a:t>
            </a:r>
          </a:p>
        </p:txBody>
      </p:sp>
      <p:sp>
        <p:nvSpPr>
          <p:cNvPr id="14" name="Marcador de texto 19">
            <a:extLst>
              <a:ext uri="{FF2B5EF4-FFF2-40B4-BE49-F238E27FC236}">
                <a16:creationId xmlns:a16="http://schemas.microsoft.com/office/drawing/2014/main" id="{F0A5F956-78D9-483E-8513-18F922BFD069}"/>
              </a:ext>
            </a:extLst>
          </p:cNvPr>
          <p:cNvSpPr>
            <a:spLocks noGrp="1"/>
          </p:cNvSpPr>
          <p:nvPr>
            <p:ph type="body" sz="quarter" idx="10" hasCustomPrompt="1"/>
          </p:nvPr>
        </p:nvSpPr>
        <p:spPr>
          <a:xfrm>
            <a:off x="17185412" y="389504"/>
            <a:ext cx="2985439" cy="250572"/>
          </a:xfrm>
          <a:noFill/>
        </p:spPr>
        <p:txBody>
          <a:bodyPr wrap="square" lIns="0" tIns="0" rIns="0" bIns="0" rtlCol="0" anchor="ctr">
            <a:noAutofit/>
          </a:bodyPr>
          <a:lstStyle>
            <a:lvl1pPr marL="0" indent="0">
              <a:buNone/>
              <a:defRPr lang="es-ES" sz="1319" b="0" smtClean="0">
                <a:solidFill>
                  <a:schemeClr val="tx2"/>
                </a:solidFill>
              </a:defRPr>
            </a:lvl1pPr>
            <a:lvl2pPr marL="376961" indent="0">
              <a:buNone/>
              <a:defRPr lang="es-ES" sz="2968" smtClean="0"/>
            </a:lvl2pPr>
            <a:lvl3pPr marL="1130884" indent="0">
              <a:buNone/>
              <a:defRPr lang="es-ES" sz="2968" smtClean="0"/>
            </a:lvl3pPr>
            <a:lvl4pPr marL="1790567" indent="0">
              <a:buFont typeface="Arial" panose="020B0604020202020204" pitchFamily="34" charset="0"/>
              <a:buNone/>
              <a:defRPr lang="es-ES" smtClean="0"/>
            </a:lvl4pPr>
            <a:lvl5pPr marL="2638730" indent="0">
              <a:buNone/>
              <a:defRPr lang="es-ES"/>
            </a:lvl5pPr>
          </a:lstStyle>
          <a:p>
            <a:pPr marL="0" lvl="0"/>
            <a:r>
              <a:rPr lang="es-ES" noProof="0" dirty="0"/>
              <a:t>D</a:t>
            </a:r>
            <a:r>
              <a:rPr lang="en-GB" noProof="0" dirty="0" err="1"/>
              <a:t>ocument</a:t>
            </a:r>
            <a:r>
              <a:rPr lang="en-GB" noProof="0" dirty="0"/>
              <a:t> Title</a:t>
            </a:r>
          </a:p>
        </p:txBody>
      </p:sp>
      <p:pic>
        <p:nvPicPr>
          <p:cNvPr id="8" name="Imagen 15">
            <a:extLst>
              <a:ext uri="{FF2B5EF4-FFF2-40B4-BE49-F238E27FC236}">
                <a16:creationId xmlns:a16="http://schemas.microsoft.com/office/drawing/2014/main" id="{B065F7FD-B3E1-43A0-BA90-5D534CBEF16D}"/>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8206627" y="10175274"/>
            <a:ext cx="1170610" cy="607079"/>
          </a:xfrm>
          <a:prstGeom prst="rect">
            <a:avLst/>
          </a:prstGeom>
        </p:spPr>
      </p:pic>
    </p:spTree>
    <p:extLst>
      <p:ext uri="{BB962C8B-B14F-4D97-AF65-F5344CB8AC3E}">
        <p14:creationId xmlns:p14="http://schemas.microsoft.com/office/powerpoint/2010/main" val="763530343"/>
      </p:ext>
    </p:extLst>
  </p:cSld>
  <p:clrMapOvr>
    <a:overrideClrMapping bg1="lt1" tx1="dk1" bg2="lt2" tx2="dk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Contents-10 numbering-white background">
    <p:bg>
      <p:bgRef idx="1001">
        <a:schemeClr val="bg1"/>
      </p:bgRef>
    </p:bg>
    <p:spTree>
      <p:nvGrpSpPr>
        <p:cNvPr id="1" name=""/>
        <p:cNvGrpSpPr/>
        <p:nvPr/>
      </p:nvGrpSpPr>
      <p:grpSpPr>
        <a:xfrm>
          <a:off x="0" y="0"/>
          <a:ext cx="0" cy="0"/>
          <a:chOff x="0" y="0"/>
          <a:chExt cx="0" cy="0"/>
        </a:xfrm>
      </p:grpSpPr>
      <p:pic>
        <p:nvPicPr>
          <p:cNvPr id="19" name="Imagen 18">
            <a:extLst>
              <a:ext uri="{FF2B5EF4-FFF2-40B4-BE49-F238E27FC236}">
                <a16:creationId xmlns:a16="http://schemas.microsoft.com/office/drawing/2014/main" id="{CDE873E3-468F-41C9-A3D5-AE1CFF571F4A}"/>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206379" y="10190981"/>
            <a:ext cx="1167349" cy="583716"/>
          </a:xfrm>
          <a:prstGeom prst="rect">
            <a:avLst/>
          </a:prstGeom>
        </p:spPr>
      </p:pic>
      <p:sp>
        <p:nvSpPr>
          <p:cNvPr id="14" name="Marcador de texto 19">
            <a:extLst>
              <a:ext uri="{FF2B5EF4-FFF2-40B4-BE49-F238E27FC236}">
                <a16:creationId xmlns:a16="http://schemas.microsoft.com/office/drawing/2014/main" id="{F0A5F956-78D9-483E-8513-18F922BFD069}"/>
              </a:ext>
            </a:extLst>
          </p:cNvPr>
          <p:cNvSpPr>
            <a:spLocks noGrp="1"/>
          </p:cNvSpPr>
          <p:nvPr>
            <p:ph type="body" sz="quarter" idx="10" hasCustomPrompt="1"/>
          </p:nvPr>
        </p:nvSpPr>
        <p:spPr>
          <a:xfrm>
            <a:off x="17185412" y="389504"/>
            <a:ext cx="2985439" cy="250572"/>
          </a:xfrm>
          <a:noFill/>
        </p:spPr>
        <p:txBody>
          <a:bodyPr wrap="square" lIns="0" tIns="0" rIns="0" bIns="0" rtlCol="0" anchor="ctr">
            <a:noAutofit/>
          </a:bodyPr>
          <a:lstStyle>
            <a:lvl1pPr marL="0" indent="0">
              <a:buNone/>
              <a:defRPr lang="es-ES" sz="1319" b="0" smtClean="0">
                <a:solidFill>
                  <a:schemeClr val="tx2"/>
                </a:solidFill>
              </a:defRPr>
            </a:lvl1pPr>
            <a:lvl2pPr marL="376961" indent="0">
              <a:buNone/>
              <a:defRPr lang="es-ES" sz="2968" smtClean="0"/>
            </a:lvl2pPr>
            <a:lvl3pPr marL="1130884" indent="0">
              <a:buNone/>
              <a:defRPr lang="es-ES" sz="2968" smtClean="0"/>
            </a:lvl3pPr>
            <a:lvl4pPr marL="1790567" indent="0">
              <a:buFont typeface="Arial" panose="020B0604020202020204" pitchFamily="34" charset="0"/>
              <a:buNone/>
              <a:defRPr lang="es-ES" smtClean="0"/>
            </a:lvl4pPr>
            <a:lvl5pPr marL="2638730" indent="0">
              <a:buNone/>
              <a:defRPr lang="es-ES"/>
            </a:lvl5pPr>
          </a:lstStyle>
          <a:p>
            <a:pPr marL="0" lvl="0"/>
            <a:r>
              <a:rPr lang="es-ES" noProof="0" dirty="0"/>
              <a:t>D</a:t>
            </a:r>
            <a:r>
              <a:rPr lang="en-GB" noProof="0" dirty="0" err="1"/>
              <a:t>ocument</a:t>
            </a:r>
            <a:r>
              <a:rPr lang="en-GB" noProof="0" dirty="0"/>
              <a:t> Title</a:t>
            </a:r>
          </a:p>
        </p:txBody>
      </p:sp>
      <p:pic>
        <p:nvPicPr>
          <p:cNvPr id="8" name="Imagen 15">
            <a:extLst>
              <a:ext uri="{FF2B5EF4-FFF2-40B4-BE49-F238E27FC236}">
                <a16:creationId xmlns:a16="http://schemas.microsoft.com/office/drawing/2014/main" id="{B065F7FD-B3E1-43A0-BA90-5D534CBEF16D}"/>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8206627" y="10175274"/>
            <a:ext cx="1170610" cy="607079"/>
          </a:xfrm>
          <a:prstGeom prst="rect">
            <a:avLst/>
          </a:prstGeom>
        </p:spPr>
      </p:pic>
      <p:sp>
        <p:nvSpPr>
          <p:cNvPr id="6" name="Text Placeholder 5">
            <a:extLst>
              <a:ext uri="{FF2B5EF4-FFF2-40B4-BE49-F238E27FC236}">
                <a16:creationId xmlns:a16="http://schemas.microsoft.com/office/drawing/2014/main" id="{96451491-55DA-494C-AE67-A7AA6F9EE7DA}"/>
              </a:ext>
            </a:extLst>
          </p:cNvPr>
          <p:cNvSpPr>
            <a:spLocks noGrp="1"/>
          </p:cNvSpPr>
          <p:nvPr>
            <p:ph type="body" sz="quarter" idx="11" hasCustomPrompt="1"/>
          </p:nvPr>
        </p:nvSpPr>
        <p:spPr>
          <a:xfrm>
            <a:off x="615165" y="3036771"/>
            <a:ext cx="1591576" cy="1055017"/>
          </a:xfrm>
        </p:spPr>
        <p:txBody>
          <a:bodyPr>
            <a:noAutofit/>
          </a:bodyPr>
          <a:lstStyle>
            <a:lvl1pPr marL="0" indent="0">
              <a:buNone/>
              <a:defRPr sz="7915">
                <a:solidFill>
                  <a:schemeClr val="tx2"/>
                </a:solidFill>
              </a:defRPr>
            </a:lvl1pPr>
            <a:lvl2pPr marL="753923" indent="0">
              <a:buNone/>
              <a:defRPr/>
            </a:lvl2pPr>
            <a:lvl3pPr marL="1507846" indent="0">
              <a:buNone/>
              <a:defRPr/>
            </a:lvl3pPr>
            <a:lvl4pPr marL="2261768" indent="0">
              <a:buNone/>
              <a:defRPr/>
            </a:lvl4pPr>
            <a:lvl5pPr marL="3015691" indent="0">
              <a:buNone/>
              <a:defRPr/>
            </a:lvl5pPr>
          </a:lstStyle>
          <a:p>
            <a:pPr lvl="0"/>
            <a:r>
              <a:rPr lang="en-GB" noProof="0"/>
              <a:t>Nº</a:t>
            </a:r>
          </a:p>
        </p:txBody>
      </p:sp>
      <p:sp>
        <p:nvSpPr>
          <p:cNvPr id="10" name="Text Placeholder 9">
            <a:extLst>
              <a:ext uri="{FF2B5EF4-FFF2-40B4-BE49-F238E27FC236}">
                <a16:creationId xmlns:a16="http://schemas.microsoft.com/office/drawing/2014/main" id="{ECD08C52-C62A-483D-AEB9-8ECE7A332507}"/>
              </a:ext>
            </a:extLst>
          </p:cNvPr>
          <p:cNvSpPr>
            <a:spLocks noGrp="1"/>
          </p:cNvSpPr>
          <p:nvPr>
            <p:ph type="body" sz="quarter" idx="12" hasCustomPrompt="1"/>
          </p:nvPr>
        </p:nvSpPr>
        <p:spPr>
          <a:xfrm>
            <a:off x="615164" y="4186033"/>
            <a:ext cx="3287858" cy="356200"/>
          </a:xfrm>
        </p:spPr>
        <p:txBody>
          <a:bodyPr>
            <a:normAutofit/>
          </a:bodyPr>
          <a:lstStyle>
            <a:lvl1pPr marL="0" indent="0" algn="l">
              <a:buFont typeface="Arial" panose="020B0604020202020204" pitchFamily="34" charset="0"/>
              <a:buNone/>
              <a:defRPr sz="1731" b="1"/>
            </a:lvl1pPr>
          </a:lstStyle>
          <a:p>
            <a:pPr lvl="0"/>
            <a:r>
              <a:rPr lang="en-GB" noProof="0"/>
              <a:t>TITLE</a:t>
            </a:r>
          </a:p>
        </p:txBody>
      </p:sp>
      <p:sp>
        <p:nvSpPr>
          <p:cNvPr id="13" name="Text Placeholder 9">
            <a:extLst>
              <a:ext uri="{FF2B5EF4-FFF2-40B4-BE49-F238E27FC236}">
                <a16:creationId xmlns:a16="http://schemas.microsoft.com/office/drawing/2014/main" id="{75D0857F-ADC8-4CFD-8864-141069A38FC9}"/>
              </a:ext>
            </a:extLst>
          </p:cNvPr>
          <p:cNvSpPr>
            <a:spLocks noGrp="1"/>
          </p:cNvSpPr>
          <p:nvPr>
            <p:ph type="body" sz="quarter" idx="13" hasCustomPrompt="1"/>
          </p:nvPr>
        </p:nvSpPr>
        <p:spPr>
          <a:xfrm>
            <a:off x="615164" y="4610123"/>
            <a:ext cx="3287858" cy="1602900"/>
          </a:xfrm>
        </p:spPr>
        <p:txBody>
          <a:bodyPr>
            <a:normAutofit/>
          </a:bodyPr>
          <a:lstStyle>
            <a:lvl1pPr marL="0" indent="0">
              <a:buNone/>
              <a:defRPr sz="1649" b="0"/>
            </a:lvl1pPr>
          </a:lstStyle>
          <a:p>
            <a:pPr lvl="0"/>
            <a:r>
              <a:rPr lang="en-GB" noProof="0"/>
              <a:t>Lorem</a:t>
            </a:r>
          </a:p>
        </p:txBody>
      </p:sp>
      <p:sp>
        <p:nvSpPr>
          <p:cNvPr id="15" name="Text Placeholder 5">
            <a:extLst>
              <a:ext uri="{FF2B5EF4-FFF2-40B4-BE49-F238E27FC236}">
                <a16:creationId xmlns:a16="http://schemas.microsoft.com/office/drawing/2014/main" id="{EA47D272-5350-465D-812F-44D6935CF029}"/>
              </a:ext>
            </a:extLst>
          </p:cNvPr>
          <p:cNvSpPr>
            <a:spLocks noGrp="1"/>
          </p:cNvSpPr>
          <p:nvPr>
            <p:ph type="body" sz="quarter" idx="14" hasCustomPrompt="1"/>
          </p:nvPr>
        </p:nvSpPr>
        <p:spPr>
          <a:xfrm>
            <a:off x="4409814" y="3036771"/>
            <a:ext cx="1591576" cy="1055017"/>
          </a:xfrm>
        </p:spPr>
        <p:txBody>
          <a:bodyPr>
            <a:noAutofit/>
          </a:bodyPr>
          <a:lstStyle>
            <a:lvl1pPr marL="0" indent="0">
              <a:buNone/>
              <a:defRPr sz="7915">
                <a:solidFill>
                  <a:schemeClr val="tx2"/>
                </a:solidFill>
              </a:defRPr>
            </a:lvl1pPr>
            <a:lvl2pPr marL="753923" indent="0">
              <a:buNone/>
              <a:defRPr/>
            </a:lvl2pPr>
            <a:lvl3pPr marL="1507846" indent="0">
              <a:buNone/>
              <a:defRPr/>
            </a:lvl3pPr>
            <a:lvl4pPr marL="2261768" indent="0">
              <a:buNone/>
              <a:defRPr/>
            </a:lvl4pPr>
            <a:lvl5pPr marL="3015691" indent="0">
              <a:buNone/>
              <a:defRPr/>
            </a:lvl5pPr>
          </a:lstStyle>
          <a:p>
            <a:pPr lvl="0"/>
            <a:r>
              <a:rPr lang="en-GB" noProof="0"/>
              <a:t>Nº</a:t>
            </a:r>
          </a:p>
        </p:txBody>
      </p:sp>
      <p:sp>
        <p:nvSpPr>
          <p:cNvPr id="16" name="Text Placeholder 9">
            <a:extLst>
              <a:ext uri="{FF2B5EF4-FFF2-40B4-BE49-F238E27FC236}">
                <a16:creationId xmlns:a16="http://schemas.microsoft.com/office/drawing/2014/main" id="{A74D1E6A-C29F-40C3-A21F-64983EE009B5}"/>
              </a:ext>
            </a:extLst>
          </p:cNvPr>
          <p:cNvSpPr>
            <a:spLocks noGrp="1"/>
          </p:cNvSpPr>
          <p:nvPr>
            <p:ph type="body" sz="quarter" idx="15" hasCustomPrompt="1"/>
          </p:nvPr>
        </p:nvSpPr>
        <p:spPr>
          <a:xfrm>
            <a:off x="4409813" y="4186033"/>
            <a:ext cx="3287858" cy="356200"/>
          </a:xfrm>
        </p:spPr>
        <p:txBody>
          <a:bodyPr>
            <a:normAutofit/>
          </a:bodyPr>
          <a:lstStyle>
            <a:lvl1pPr marL="0" indent="0" algn="l">
              <a:buNone/>
              <a:defRPr sz="1731" b="1"/>
            </a:lvl1pPr>
          </a:lstStyle>
          <a:p>
            <a:pPr lvl="0"/>
            <a:r>
              <a:rPr lang="en-GB" noProof="0"/>
              <a:t>TITLE</a:t>
            </a:r>
          </a:p>
        </p:txBody>
      </p:sp>
      <p:sp>
        <p:nvSpPr>
          <p:cNvPr id="17" name="Text Placeholder 9">
            <a:extLst>
              <a:ext uri="{FF2B5EF4-FFF2-40B4-BE49-F238E27FC236}">
                <a16:creationId xmlns:a16="http://schemas.microsoft.com/office/drawing/2014/main" id="{CB5F5ED8-32CC-43AE-95F2-320422A4B6F2}"/>
              </a:ext>
            </a:extLst>
          </p:cNvPr>
          <p:cNvSpPr>
            <a:spLocks noGrp="1"/>
          </p:cNvSpPr>
          <p:nvPr>
            <p:ph type="body" sz="quarter" idx="16" hasCustomPrompt="1"/>
          </p:nvPr>
        </p:nvSpPr>
        <p:spPr>
          <a:xfrm>
            <a:off x="4409813" y="4610123"/>
            <a:ext cx="3287858" cy="1602900"/>
          </a:xfrm>
        </p:spPr>
        <p:txBody>
          <a:bodyPr>
            <a:normAutofit/>
          </a:bodyPr>
          <a:lstStyle>
            <a:lvl1pPr marL="0" indent="0">
              <a:buNone/>
              <a:defRPr sz="1649" b="0"/>
            </a:lvl1pPr>
          </a:lstStyle>
          <a:p>
            <a:pPr lvl="0"/>
            <a:r>
              <a:rPr lang="en-GB" noProof="0"/>
              <a:t>Lorem</a:t>
            </a:r>
          </a:p>
        </p:txBody>
      </p:sp>
      <p:sp>
        <p:nvSpPr>
          <p:cNvPr id="18" name="Text Placeholder 5">
            <a:extLst>
              <a:ext uri="{FF2B5EF4-FFF2-40B4-BE49-F238E27FC236}">
                <a16:creationId xmlns:a16="http://schemas.microsoft.com/office/drawing/2014/main" id="{25A3565A-C592-4597-8606-88B88195191D}"/>
              </a:ext>
            </a:extLst>
          </p:cNvPr>
          <p:cNvSpPr>
            <a:spLocks noGrp="1"/>
          </p:cNvSpPr>
          <p:nvPr>
            <p:ph type="body" sz="quarter" idx="17" hasCustomPrompt="1"/>
          </p:nvPr>
        </p:nvSpPr>
        <p:spPr>
          <a:xfrm>
            <a:off x="8166767" y="3036771"/>
            <a:ext cx="1591576" cy="1055017"/>
          </a:xfrm>
        </p:spPr>
        <p:txBody>
          <a:bodyPr>
            <a:noAutofit/>
          </a:bodyPr>
          <a:lstStyle>
            <a:lvl1pPr marL="0" indent="0">
              <a:buNone/>
              <a:defRPr sz="7915">
                <a:solidFill>
                  <a:schemeClr val="tx2"/>
                </a:solidFill>
              </a:defRPr>
            </a:lvl1pPr>
            <a:lvl2pPr marL="753923" indent="0">
              <a:buNone/>
              <a:defRPr/>
            </a:lvl2pPr>
            <a:lvl3pPr marL="1507846" indent="0">
              <a:buNone/>
              <a:defRPr/>
            </a:lvl3pPr>
            <a:lvl4pPr marL="2261768" indent="0">
              <a:buNone/>
              <a:defRPr/>
            </a:lvl4pPr>
            <a:lvl5pPr marL="3015691" indent="0">
              <a:buNone/>
              <a:defRPr/>
            </a:lvl5pPr>
          </a:lstStyle>
          <a:p>
            <a:pPr lvl="0"/>
            <a:r>
              <a:rPr lang="en-GB" noProof="0"/>
              <a:t>Nº</a:t>
            </a:r>
          </a:p>
        </p:txBody>
      </p:sp>
      <p:sp>
        <p:nvSpPr>
          <p:cNvPr id="20" name="Text Placeholder 9">
            <a:extLst>
              <a:ext uri="{FF2B5EF4-FFF2-40B4-BE49-F238E27FC236}">
                <a16:creationId xmlns:a16="http://schemas.microsoft.com/office/drawing/2014/main" id="{E8ABFFFD-3581-4836-8C68-837FF6D9DD00}"/>
              </a:ext>
            </a:extLst>
          </p:cNvPr>
          <p:cNvSpPr>
            <a:spLocks noGrp="1"/>
          </p:cNvSpPr>
          <p:nvPr>
            <p:ph type="body" sz="quarter" idx="18" hasCustomPrompt="1"/>
          </p:nvPr>
        </p:nvSpPr>
        <p:spPr>
          <a:xfrm>
            <a:off x="8166766" y="4186033"/>
            <a:ext cx="3287858" cy="356200"/>
          </a:xfrm>
        </p:spPr>
        <p:txBody>
          <a:bodyPr>
            <a:normAutofit/>
          </a:bodyPr>
          <a:lstStyle>
            <a:lvl1pPr marL="0" indent="0" algn="l">
              <a:buNone/>
              <a:defRPr sz="1731" b="1"/>
            </a:lvl1pPr>
          </a:lstStyle>
          <a:p>
            <a:pPr lvl="0"/>
            <a:r>
              <a:rPr lang="en-GB" noProof="0"/>
              <a:t>TITLE</a:t>
            </a:r>
          </a:p>
        </p:txBody>
      </p:sp>
      <p:sp>
        <p:nvSpPr>
          <p:cNvPr id="21" name="Text Placeholder 9">
            <a:extLst>
              <a:ext uri="{FF2B5EF4-FFF2-40B4-BE49-F238E27FC236}">
                <a16:creationId xmlns:a16="http://schemas.microsoft.com/office/drawing/2014/main" id="{F1ECF6A5-EB6E-4BB8-871F-744ED5F47273}"/>
              </a:ext>
            </a:extLst>
          </p:cNvPr>
          <p:cNvSpPr>
            <a:spLocks noGrp="1"/>
          </p:cNvSpPr>
          <p:nvPr>
            <p:ph type="body" sz="quarter" idx="19" hasCustomPrompt="1"/>
          </p:nvPr>
        </p:nvSpPr>
        <p:spPr>
          <a:xfrm>
            <a:off x="8166766" y="4610123"/>
            <a:ext cx="3287858" cy="1602900"/>
          </a:xfrm>
        </p:spPr>
        <p:txBody>
          <a:bodyPr>
            <a:normAutofit/>
          </a:bodyPr>
          <a:lstStyle>
            <a:lvl1pPr marL="0" indent="0">
              <a:buNone/>
              <a:defRPr sz="1649" b="0"/>
            </a:lvl1pPr>
          </a:lstStyle>
          <a:p>
            <a:pPr lvl="0"/>
            <a:r>
              <a:rPr lang="en-GB" noProof="0"/>
              <a:t>Lorem</a:t>
            </a:r>
          </a:p>
        </p:txBody>
      </p:sp>
      <p:sp>
        <p:nvSpPr>
          <p:cNvPr id="22" name="Text Placeholder 5">
            <a:extLst>
              <a:ext uri="{FF2B5EF4-FFF2-40B4-BE49-F238E27FC236}">
                <a16:creationId xmlns:a16="http://schemas.microsoft.com/office/drawing/2014/main" id="{D14F4ACA-C450-4930-99A8-2FB7AB8A3E87}"/>
              </a:ext>
            </a:extLst>
          </p:cNvPr>
          <p:cNvSpPr>
            <a:spLocks noGrp="1"/>
          </p:cNvSpPr>
          <p:nvPr>
            <p:ph type="body" sz="quarter" idx="20" hasCustomPrompt="1"/>
          </p:nvPr>
        </p:nvSpPr>
        <p:spPr>
          <a:xfrm>
            <a:off x="11961416" y="3036771"/>
            <a:ext cx="1591576" cy="1055017"/>
          </a:xfrm>
        </p:spPr>
        <p:txBody>
          <a:bodyPr>
            <a:noAutofit/>
          </a:bodyPr>
          <a:lstStyle>
            <a:lvl1pPr marL="0" indent="0">
              <a:buNone/>
              <a:defRPr sz="7915">
                <a:solidFill>
                  <a:schemeClr val="tx2"/>
                </a:solidFill>
              </a:defRPr>
            </a:lvl1pPr>
            <a:lvl2pPr marL="753923" indent="0">
              <a:buNone/>
              <a:defRPr/>
            </a:lvl2pPr>
            <a:lvl3pPr marL="1507846" indent="0">
              <a:buNone/>
              <a:defRPr/>
            </a:lvl3pPr>
            <a:lvl4pPr marL="2261768" indent="0">
              <a:buNone/>
              <a:defRPr/>
            </a:lvl4pPr>
            <a:lvl5pPr marL="3015691" indent="0">
              <a:buNone/>
              <a:defRPr/>
            </a:lvl5pPr>
          </a:lstStyle>
          <a:p>
            <a:pPr lvl="0"/>
            <a:r>
              <a:rPr lang="en-GB" noProof="0"/>
              <a:t>Nº</a:t>
            </a:r>
          </a:p>
        </p:txBody>
      </p:sp>
      <p:sp>
        <p:nvSpPr>
          <p:cNvPr id="23" name="Text Placeholder 9">
            <a:extLst>
              <a:ext uri="{FF2B5EF4-FFF2-40B4-BE49-F238E27FC236}">
                <a16:creationId xmlns:a16="http://schemas.microsoft.com/office/drawing/2014/main" id="{452EFDD8-F731-4DE7-9CB9-F51D16D142E9}"/>
              </a:ext>
            </a:extLst>
          </p:cNvPr>
          <p:cNvSpPr>
            <a:spLocks noGrp="1"/>
          </p:cNvSpPr>
          <p:nvPr>
            <p:ph type="body" sz="quarter" idx="21" hasCustomPrompt="1"/>
          </p:nvPr>
        </p:nvSpPr>
        <p:spPr>
          <a:xfrm>
            <a:off x="11961415" y="4186033"/>
            <a:ext cx="3287858" cy="356200"/>
          </a:xfrm>
        </p:spPr>
        <p:txBody>
          <a:bodyPr>
            <a:normAutofit/>
          </a:bodyPr>
          <a:lstStyle>
            <a:lvl1pPr marL="0" indent="0" algn="l">
              <a:buNone/>
              <a:defRPr sz="1731" b="1"/>
            </a:lvl1pPr>
          </a:lstStyle>
          <a:p>
            <a:pPr lvl="0"/>
            <a:r>
              <a:rPr lang="en-GB" noProof="0"/>
              <a:t>TITLE</a:t>
            </a:r>
          </a:p>
        </p:txBody>
      </p:sp>
      <p:sp>
        <p:nvSpPr>
          <p:cNvPr id="24" name="Text Placeholder 9">
            <a:extLst>
              <a:ext uri="{FF2B5EF4-FFF2-40B4-BE49-F238E27FC236}">
                <a16:creationId xmlns:a16="http://schemas.microsoft.com/office/drawing/2014/main" id="{DC8EA6EF-76A1-4606-8285-B29DC6370529}"/>
              </a:ext>
            </a:extLst>
          </p:cNvPr>
          <p:cNvSpPr>
            <a:spLocks noGrp="1"/>
          </p:cNvSpPr>
          <p:nvPr>
            <p:ph type="body" sz="quarter" idx="22" hasCustomPrompt="1"/>
          </p:nvPr>
        </p:nvSpPr>
        <p:spPr>
          <a:xfrm>
            <a:off x="11961415" y="4610123"/>
            <a:ext cx="3287858" cy="1602900"/>
          </a:xfrm>
        </p:spPr>
        <p:txBody>
          <a:bodyPr>
            <a:normAutofit/>
          </a:bodyPr>
          <a:lstStyle>
            <a:lvl1pPr marL="0" indent="0">
              <a:buNone/>
              <a:defRPr sz="1649" b="0"/>
            </a:lvl1pPr>
          </a:lstStyle>
          <a:p>
            <a:pPr lvl="0"/>
            <a:r>
              <a:rPr lang="en-GB" noProof="0"/>
              <a:t>Lorem</a:t>
            </a:r>
          </a:p>
        </p:txBody>
      </p:sp>
      <p:sp>
        <p:nvSpPr>
          <p:cNvPr id="26" name="Text Placeholder 5">
            <a:extLst>
              <a:ext uri="{FF2B5EF4-FFF2-40B4-BE49-F238E27FC236}">
                <a16:creationId xmlns:a16="http://schemas.microsoft.com/office/drawing/2014/main" id="{4029AB7C-C9FD-4FF0-8840-1E9FEB163290}"/>
              </a:ext>
            </a:extLst>
          </p:cNvPr>
          <p:cNvSpPr>
            <a:spLocks noGrp="1"/>
          </p:cNvSpPr>
          <p:nvPr>
            <p:ph type="body" sz="quarter" idx="23" hasCustomPrompt="1"/>
          </p:nvPr>
        </p:nvSpPr>
        <p:spPr>
          <a:xfrm>
            <a:off x="15864438" y="3036771"/>
            <a:ext cx="1591576" cy="1055017"/>
          </a:xfrm>
        </p:spPr>
        <p:txBody>
          <a:bodyPr>
            <a:noAutofit/>
          </a:bodyPr>
          <a:lstStyle>
            <a:lvl1pPr marL="0" indent="0">
              <a:buNone/>
              <a:defRPr sz="7915">
                <a:solidFill>
                  <a:schemeClr val="tx2"/>
                </a:solidFill>
              </a:defRPr>
            </a:lvl1pPr>
            <a:lvl2pPr marL="753923" indent="0">
              <a:buNone/>
              <a:defRPr/>
            </a:lvl2pPr>
            <a:lvl3pPr marL="1507846" indent="0">
              <a:buNone/>
              <a:defRPr/>
            </a:lvl3pPr>
            <a:lvl4pPr marL="2261768" indent="0">
              <a:buNone/>
              <a:defRPr/>
            </a:lvl4pPr>
            <a:lvl5pPr marL="3015691" indent="0">
              <a:buNone/>
              <a:defRPr/>
            </a:lvl5pPr>
          </a:lstStyle>
          <a:p>
            <a:pPr lvl="0"/>
            <a:r>
              <a:rPr lang="en-GB" noProof="0"/>
              <a:t>Nº</a:t>
            </a:r>
          </a:p>
        </p:txBody>
      </p:sp>
      <p:sp>
        <p:nvSpPr>
          <p:cNvPr id="27" name="Text Placeholder 9">
            <a:extLst>
              <a:ext uri="{FF2B5EF4-FFF2-40B4-BE49-F238E27FC236}">
                <a16:creationId xmlns:a16="http://schemas.microsoft.com/office/drawing/2014/main" id="{2B7D9975-B0DF-400E-9270-5AE6A16D39B9}"/>
              </a:ext>
            </a:extLst>
          </p:cNvPr>
          <p:cNvSpPr>
            <a:spLocks noGrp="1"/>
          </p:cNvSpPr>
          <p:nvPr>
            <p:ph type="body" sz="quarter" idx="24" hasCustomPrompt="1"/>
          </p:nvPr>
        </p:nvSpPr>
        <p:spPr>
          <a:xfrm>
            <a:off x="15864437" y="4186033"/>
            <a:ext cx="3287858" cy="356200"/>
          </a:xfrm>
        </p:spPr>
        <p:txBody>
          <a:bodyPr>
            <a:normAutofit/>
          </a:bodyPr>
          <a:lstStyle>
            <a:lvl1pPr marL="0" indent="0" algn="l">
              <a:buNone/>
              <a:defRPr sz="1731" b="1"/>
            </a:lvl1pPr>
          </a:lstStyle>
          <a:p>
            <a:pPr lvl="0"/>
            <a:r>
              <a:rPr lang="en-GB" noProof="0"/>
              <a:t>TITLE</a:t>
            </a:r>
          </a:p>
        </p:txBody>
      </p:sp>
      <p:sp>
        <p:nvSpPr>
          <p:cNvPr id="28" name="Text Placeholder 9">
            <a:extLst>
              <a:ext uri="{FF2B5EF4-FFF2-40B4-BE49-F238E27FC236}">
                <a16:creationId xmlns:a16="http://schemas.microsoft.com/office/drawing/2014/main" id="{6044989C-0A51-44C3-8048-FBC92AD92945}"/>
              </a:ext>
            </a:extLst>
          </p:cNvPr>
          <p:cNvSpPr>
            <a:spLocks noGrp="1"/>
          </p:cNvSpPr>
          <p:nvPr>
            <p:ph type="body" sz="quarter" idx="25" hasCustomPrompt="1"/>
          </p:nvPr>
        </p:nvSpPr>
        <p:spPr>
          <a:xfrm>
            <a:off x="15864437" y="4610123"/>
            <a:ext cx="3287858" cy="1602900"/>
          </a:xfrm>
        </p:spPr>
        <p:txBody>
          <a:bodyPr>
            <a:normAutofit/>
          </a:bodyPr>
          <a:lstStyle>
            <a:lvl1pPr marL="0" indent="0">
              <a:buNone/>
              <a:defRPr sz="1649" b="0"/>
            </a:lvl1pPr>
          </a:lstStyle>
          <a:p>
            <a:pPr lvl="0"/>
            <a:r>
              <a:rPr lang="en-GB" noProof="0"/>
              <a:t>Lorem</a:t>
            </a:r>
          </a:p>
        </p:txBody>
      </p:sp>
      <p:sp>
        <p:nvSpPr>
          <p:cNvPr id="29" name="Text Placeholder 5">
            <a:extLst>
              <a:ext uri="{FF2B5EF4-FFF2-40B4-BE49-F238E27FC236}">
                <a16:creationId xmlns:a16="http://schemas.microsoft.com/office/drawing/2014/main" id="{EBEE3F2E-37F1-4BCA-9F54-FFD13786F096}"/>
              </a:ext>
            </a:extLst>
          </p:cNvPr>
          <p:cNvSpPr>
            <a:spLocks noGrp="1"/>
          </p:cNvSpPr>
          <p:nvPr>
            <p:ph type="body" sz="quarter" idx="26" hasCustomPrompt="1"/>
          </p:nvPr>
        </p:nvSpPr>
        <p:spPr>
          <a:xfrm>
            <a:off x="615165" y="6640560"/>
            <a:ext cx="1591576" cy="1055017"/>
          </a:xfrm>
        </p:spPr>
        <p:txBody>
          <a:bodyPr>
            <a:noAutofit/>
          </a:bodyPr>
          <a:lstStyle>
            <a:lvl1pPr marL="0" indent="0">
              <a:buNone/>
              <a:defRPr sz="7915">
                <a:solidFill>
                  <a:schemeClr val="tx2"/>
                </a:solidFill>
              </a:defRPr>
            </a:lvl1pPr>
            <a:lvl2pPr marL="753923" indent="0">
              <a:buNone/>
              <a:defRPr/>
            </a:lvl2pPr>
            <a:lvl3pPr marL="1507846" indent="0">
              <a:buNone/>
              <a:defRPr/>
            </a:lvl3pPr>
            <a:lvl4pPr marL="2261768" indent="0">
              <a:buNone/>
              <a:defRPr/>
            </a:lvl4pPr>
            <a:lvl5pPr marL="3015691" indent="0">
              <a:buNone/>
              <a:defRPr/>
            </a:lvl5pPr>
          </a:lstStyle>
          <a:p>
            <a:pPr lvl="0"/>
            <a:r>
              <a:rPr lang="en-GB" noProof="0"/>
              <a:t>Nº</a:t>
            </a:r>
          </a:p>
        </p:txBody>
      </p:sp>
      <p:sp>
        <p:nvSpPr>
          <p:cNvPr id="30" name="Text Placeholder 9">
            <a:extLst>
              <a:ext uri="{FF2B5EF4-FFF2-40B4-BE49-F238E27FC236}">
                <a16:creationId xmlns:a16="http://schemas.microsoft.com/office/drawing/2014/main" id="{81DEBFA4-5978-4578-8F0C-7C39ED73E2A1}"/>
              </a:ext>
            </a:extLst>
          </p:cNvPr>
          <p:cNvSpPr>
            <a:spLocks noGrp="1"/>
          </p:cNvSpPr>
          <p:nvPr>
            <p:ph type="body" sz="quarter" idx="27" hasCustomPrompt="1"/>
          </p:nvPr>
        </p:nvSpPr>
        <p:spPr>
          <a:xfrm>
            <a:off x="615164" y="7789822"/>
            <a:ext cx="3287858" cy="356200"/>
          </a:xfrm>
        </p:spPr>
        <p:txBody>
          <a:bodyPr>
            <a:normAutofit/>
          </a:bodyPr>
          <a:lstStyle>
            <a:lvl1pPr marL="0" indent="0" algn="l">
              <a:buNone/>
              <a:defRPr sz="1731" b="1"/>
            </a:lvl1pPr>
          </a:lstStyle>
          <a:p>
            <a:pPr lvl="0"/>
            <a:r>
              <a:rPr lang="en-GB" noProof="0"/>
              <a:t>TITLE</a:t>
            </a:r>
          </a:p>
        </p:txBody>
      </p:sp>
      <p:sp>
        <p:nvSpPr>
          <p:cNvPr id="31" name="Text Placeholder 9">
            <a:extLst>
              <a:ext uri="{FF2B5EF4-FFF2-40B4-BE49-F238E27FC236}">
                <a16:creationId xmlns:a16="http://schemas.microsoft.com/office/drawing/2014/main" id="{3281B3E2-E048-4F9F-96F2-EB4AC60190AA}"/>
              </a:ext>
            </a:extLst>
          </p:cNvPr>
          <p:cNvSpPr>
            <a:spLocks noGrp="1"/>
          </p:cNvSpPr>
          <p:nvPr>
            <p:ph type="body" sz="quarter" idx="28" hasCustomPrompt="1"/>
          </p:nvPr>
        </p:nvSpPr>
        <p:spPr>
          <a:xfrm>
            <a:off x="615164" y="8213913"/>
            <a:ext cx="3287858" cy="1602900"/>
          </a:xfrm>
        </p:spPr>
        <p:txBody>
          <a:bodyPr>
            <a:normAutofit/>
          </a:bodyPr>
          <a:lstStyle>
            <a:lvl1pPr marL="0" indent="0">
              <a:buNone/>
              <a:defRPr sz="1649" b="0"/>
            </a:lvl1pPr>
          </a:lstStyle>
          <a:p>
            <a:pPr lvl="0"/>
            <a:r>
              <a:rPr lang="en-GB" noProof="0"/>
              <a:t>Lorem</a:t>
            </a:r>
          </a:p>
        </p:txBody>
      </p:sp>
      <p:sp>
        <p:nvSpPr>
          <p:cNvPr id="32" name="Text Placeholder 5">
            <a:extLst>
              <a:ext uri="{FF2B5EF4-FFF2-40B4-BE49-F238E27FC236}">
                <a16:creationId xmlns:a16="http://schemas.microsoft.com/office/drawing/2014/main" id="{E89F656C-88AB-46B0-92BA-1E0F98BA0B30}"/>
              </a:ext>
            </a:extLst>
          </p:cNvPr>
          <p:cNvSpPr>
            <a:spLocks noGrp="1"/>
          </p:cNvSpPr>
          <p:nvPr>
            <p:ph type="body" sz="quarter" idx="29" hasCustomPrompt="1"/>
          </p:nvPr>
        </p:nvSpPr>
        <p:spPr>
          <a:xfrm>
            <a:off x="4409814" y="6640560"/>
            <a:ext cx="1591576" cy="1055017"/>
          </a:xfrm>
        </p:spPr>
        <p:txBody>
          <a:bodyPr>
            <a:noAutofit/>
          </a:bodyPr>
          <a:lstStyle>
            <a:lvl1pPr marL="0" indent="0">
              <a:buNone/>
              <a:defRPr sz="7915">
                <a:solidFill>
                  <a:schemeClr val="tx2"/>
                </a:solidFill>
              </a:defRPr>
            </a:lvl1pPr>
            <a:lvl2pPr marL="753923" indent="0">
              <a:buNone/>
              <a:defRPr/>
            </a:lvl2pPr>
            <a:lvl3pPr marL="1507846" indent="0">
              <a:buNone/>
              <a:defRPr/>
            </a:lvl3pPr>
            <a:lvl4pPr marL="2261768" indent="0">
              <a:buNone/>
              <a:defRPr/>
            </a:lvl4pPr>
            <a:lvl5pPr marL="3015691" indent="0">
              <a:buNone/>
              <a:defRPr/>
            </a:lvl5pPr>
          </a:lstStyle>
          <a:p>
            <a:pPr lvl="0"/>
            <a:r>
              <a:rPr lang="en-GB" noProof="0"/>
              <a:t>Nº</a:t>
            </a:r>
          </a:p>
        </p:txBody>
      </p:sp>
      <p:sp>
        <p:nvSpPr>
          <p:cNvPr id="33" name="Text Placeholder 9">
            <a:extLst>
              <a:ext uri="{FF2B5EF4-FFF2-40B4-BE49-F238E27FC236}">
                <a16:creationId xmlns:a16="http://schemas.microsoft.com/office/drawing/2014/main" id="{BEC4AD53-A8EE-4A8B-A8A9-AF7C00B8DF7C}"/>
              </a:ext>
            </a:extLst>
          </p:cNvPr>
          <p:cNvSpPr>
            <a:spLocks noGrp="1"/>
          </p:cNvSpPr>
          <p:nvPr>
            <p:ph type="body" sz="quarter" idx="30" hasCustomPrompt="1"/>
          </p:nvPr>
        </p:nvSpPr>
        <p:spPr>
          <a:xfrm>
            <a:off x="4409813" y="7789822"/>
            <a:ext cx="3287858" cy="356200"/>
          </a:xfrm>
        </p:spPr>
        <p:txBody>
          <a:bodyPr>
            <a:normAutofit/>
          </a:bodyPr>
          <a:lstStyle>
            <a:lvl1pPr marL="0" indent="0" algn="l">
              <a:buNone/>
              <a:defRPr sz="1731" b="1"/>
            </a:lvl1pPr>
          </a:lstStyle>
          <a:p>
            <a:pPr lvl="0"/>
            <a:r>
              <a:rPr lang="en-GB" noProof="0"/>
              <a:t>TITLE</a:t>
            </a:r>
          </a:p>
        </p:txBody>
      </p:sp>
      <p:sp>
        <p:nvSpPr>
          <p:cNvPr id="34" name="Text Placeholder 9">
            <a:extLst>
              <a:ext uri="{FF2B5EF4-FFF2-40B4-BE49-F238E27FC236}">
                <a16:creationId xmlns:a16="http://schemas.microsoft.com/office/drawing/2014/main" id="{5A282DFE-7C74-46C9-8D2C-83D7184D6220}"/>
              </a:ext>
            </a:extLst>
          </p:cNvPr>
          <p:cNvSpPr>
            <a:spLocks noGrp="1"/>
          </p:cNvSpPr>
          <p:nvPr>
            <p:ph type="body" sz="quarter" idx="31" hasCustomPrompt="1"/>
          </p:nvPr>
        </p:nvSpPr>
        <p:spPr>
          <a:xfrm>
            <a:off x="4409813" y="8213913"/>
            <a:ext cx="3287858" cy="1602900"/>
          </a:xfrm>
        </p:spPr>
        <p:txBody>
          <a:bodyPr>
            <a:normAutofit/>
          </a:bodyPr>
          <a:lstStyle>
            <a:lvl1pPr marL="0" indent="0">
              <a:buNone/>
              <a:defRPr sz="1649" b="0"/>
            </a:lvl1pPr>
          </a:lstStyle>
          <a:p>
            <a:pPr lvl="0"/>
            <a:r>
              <a:rPr lang="en-GB" noProof="0"/>
              <a:t>Lorem</a:t>
            </a:r>
          </a:p>
        </p:txBody>
      </p:sp>
      <p:sp>
        <p:nvSpPr>
          <p:cNvPr id="35" name="Text Placeholder 5">
            <a:extLst>
              <a:ext uri="{FF2B5EF4-FFF2-40B4-BE49-F238E27FC236}">
                <a16:creationId xmlns:a16="http://schemas.microsoft.com/office/drawing/2014/main" id="{E02076EF-85B9-4278-AB82-23384D605D48}"/>
              </a:ext>
            </a:extLst>
          </p:cNvPr>
          <p:cNvSpPr>
            <a:spLocks noGrp="1"/>
          </p:cNvSpPr>
          <p:nvPr>
            <p:ph type="body" sz="quarter" idx="32" hasCustomPrompt="1"/>
          </p:nvPr>
        </p:nvSpPr>
        <p:spPr>
          <a:xfrm>
            <a:off x="8166767" y="6640560"/>
            <a:ext cx="1591576" cy="1055017"/>
          </a:xfrm>
        </p:spPr>
        <p:txBody>
          <a:bodyPr>
            <a:noAutofit/>
          </a:bodyPr>
          <a:lstStyle>
            <a:lvl1pPr marL="0" indent="0">
              <a:buNone/>
              <a:defRPr sz="7915">
                <a:solidFill>
                  <a:schemeClr val="tx2"/>
                </a:solidFill>
              </a:defRPr>
            </a:lvl1pPr>
            <a:lvl2pPr marL="753923" indent="0">
              <a:buNone/>
              <a:defRPr/>
            </a:lvl2pPr>
            <a:lvl3pPr marL="1507846" indent="0">
              <a:buNone/>
              <a:defRPr/>
            </a:lvl3pPr>
            <a:lvl4pPr marL="2261768" indent="0">
              <a:buNone/>
              <a:defRPr/>
            </a:lvl4pPr>
            <a:lvl5pPr marL="3015691" indent="0">
              <a:buNone/>
              <a:defRPr/>
            </a:lvl5pPr>
          </a:lstStyle>
          <a:p>
            <a:pPr lvl="0"/>
            <a:r>
              <a:rPr lang="en-GB" noProof="0"/>
              <a:t>Nº</a:t>
            </a:r>
          </a:p>
        </p:txBody>
      </p:sp>
      <p:sp>
        <p:nvSpPr>
          <p:cNvPr id="36" name="Text Placeholder 9">
            <a:extLst>
              <a:ext uri="{FF2B5EF4-FFF2-40B4-BE49-F238E27FC236}">
                <a16:creationId xmlns:a16="http://schemas.microsoft.com/office/drawing/2014/main" id="{E4437FC0-3723-4401-BC4E-7D0A28F732AF}"/>
              </a:ext>
            </a:extLst>
          </p:cNvPr>
          <p:cNvSpPr>
            <a:spLocks noGrp="1"/>
          </p:cNvSpPr>
          <p:nvPr>
            <p:ph type="body" sz="quarter" idx="33" hasCustomPrompt="1"/>
          </p:nvPr>
        </p:nvSpPr>
        <p:spPr>
          <a:xfrm>
            <a:off x="8166766" y="7789822"/>
            <a:ext cx="3287858" cy="356200"/>
          </a:xfrm>
        </p:spPr>
        <p:txBody>
          <a:bodyPr>
            <a:normAutofit/>
          </a:bodyPr>
          <a:lstStyle>
            <a:lvl1pPr marL="0" indent="0" algn="l">
              <a:buNone/>
              <a:defRPr sz="1731" b="1"/>
            </a:lvl1pPr>
          </a:lstStyle>
          <a:p>
            <a:pPr lvl="0"/>
            <a:r>
              <a:rPr lang="en-GB" noProof="0"/>
              <a:t>TITLE</a:t>
            </a:r>
          </a:p>
        </p:txBody>
      </p:sp>
      <p:sp>
        <p:nvSpPr>
          <p:cNvPr id="37" name="Text Placeholder 9">
            <a:extLst>
              <a:ext uri="{FF2B5EF4-FFF2-40B4-BE49-F238E27FC236}">
                <a16:creationId xmlns:a16="http://schemas.microsoft.com/office/drawing/2014/main" id="{8883DC26-E441-464E-B954-44D6FF0981BA}"/>
              </a:ext>
            </a:extLst>
          </p:cNvPr>
          <p:cNvSpPr>
            <a:spLocks noGrp="1"/>
          </p:cNvSpPr>
          <p:nvPr>
            <p:ph type="body" sz="quarter" idx="34" hasCustomPrompt="1"/>
          </p:nvPr>
        </p:nvSpPr>
        <p:spPr>
          <a:xfrm>
            <a:off x="8166766" y="8213913"/>
            <a:ext cx="3287858" cy="1602900"/>
          </a:xfrm>
        </p:spPr>
        <p:txBody>
          <a:bodyPr>
            <a:normAutofit/>
          </a:bodyPr>
          <a:lstStyle>
            <a:lvl1pPr marL="0" indent="0">
              <a:buNone/>
              <a:defRPr sz="1649" b="0"/>
            </a:lvl1pPr>
          </a:lstStyle>
          <a:p>
            <a:pPr lvl="0"/>
            <a:r>
              <a:rPr lang="en-GB" noProof="0"/>
              <a:t>Lorem</a:t>
            </a:r>
          </a:p>
        </p:txBody>
      </p:sp>
      <p:sp>
        <p:nvSpPr>
          <p:cNvPr id="38" name="Text Placeholder 5">
            <a:extLst>
              <a:ext uri="{FF2B5EF4-FFF2-40B4-BE49-F238E27FC236}">
                <a16:creationId xmlns:a16="http://schemas.microsoft.com/office/drawing/2014/main" id="{968A70C8-EE78-46BE-9F38-09E41463BB9F}"/>
              </a:ext>
            </a:extLst>
          </p:cNvPr>
          <p:cNvSpPr>
            <a:spLocks noGrp="1"/>
          </p:cNvSpPr>
          <p:nvPr>
            <p:ph type="body" sz="quarter" idx="35" hasCustomPrompt="1"/>
          </p:nvPr>
        </p:nvSpPr>
        <p:spPr>
          <a:xfrm>
            <a:off x="11961416" y="6640560"/>
            <a:ext cx="1591576" cy="1055017"/>
          </a:xfrm>
        </p:spPr>
        <p:txBody>
          <a:bodyPr>
            <a:noAutofit/>
          </a:bodyPr>
          <a:lstStyle>
            <a:lvl1pPr marL="0" indent="0">
              <a:buNone/>
              <a:defRPr sz="7915">
                <a:solidFill>
                  <a:schemeClr val="tx2"/>
                </a:solidFill>
              </a:defRPr>
            </a:lvl1pPr>
            <a:lvl2pPr marL="753923" indent="0">
              <a:buNone/>
              <a:defRPr/>
            </a:lvl2pPr>
            <a:lvl3pPr marL="1507846" indent="0">
              <a:buNone/>
              <a:defRPr/>
            </a:lvl3pPr>
            <a:lvl4pPr marL="2261768" indent="0">
              <a:buNone/>
              <a:defRPr/>
            </a:lvl4pPr>
            <a:lvl5pPr marL="3015691" indent="0">
              <a:buNone/>
              <a:defRPr/>
            </a:lvl5pPr>
          </a:lstStyle>
          <a:p>
            <a:pPr lvl="0"/>
            <a:r>
              <a:rPr lang="en-GB" noProof="0"/>
              <a:t>Nº</a:t>
            </a:r>
          </a:p>
        </p:txBody>
      </p:sp>
      <p:sp>
        <p:nvSpPr>
          <p:cNvPr id="39" name="Text Placeholder 9">
            <a:extLst>
              <a:ext uri="{FF2B5EF4-FFF2-40B4-BE49-F238E27FC236}">
                <a16:creationId xmlns:a16="http://schemas.microsoft.com/office/drawing/2014/main" id="{DCFA9B7E-C954-4371-A0B4-6839A16D66D3}"/>
              </a:ext>
            </a:extLst>
          </p:cNvPr>
          <p:cNvSpPr>
            <a:spLocks noGrp="1"/>
          </p:cNvSpPr>
          <p:nvPr>
            <p:ph type="body" sz="quarter" idx="36" hasCustomPrompt="1"/>
          </p:nvPr>
        </p:nvSpPr>
        <p:spPr>
          <a:xfrm>
            <a:off x="11961415" y="7789822"/>
            <a:ext cx="3287858" cy="356200"/>
          </a:xfrm>
        </p:spPr>
        <p:txBody>
          <a:bodyPr>
            <a:normAutofit/>
          </a:bodyPr>
          <a:lstStyle>
            <a:lvl1pPr marL="0" indent="0" algn="l">
              <a:buNone/>
              <a:defRPr sz="1731" b="1"/>
            </a:lvl1pPr>
          </a:lstStyle>
          <a:p>
            <a:pPr lvl="0"/>
            <a:r>
              <a:rPr lang="en-GB" noProof="0"/>
              <a:t>TITLE</a:t>
            </a:r>
          </a:p>
        </p:txBody>
      </p:sp>
      <p:sp>
        <p:nvSpPr>
          <p:cNvPr id="40" name="Text Placeholder 9">
            <a:extLst>
              <a:ext uri="{FF2B5EF4-FFF2-40B4-BE49-F238E27FC236}">
                <a16:creationId xmlns:a16="http://schemas.microsoft.com/office/drawing/2014/main" id="{6D71BA04-AABC-45E5-9656-45E0BB19D42F}"/>
              </a:ext>
            </a:extLst>
          </p:cNvPr>
          <p:cNvSpPr>
            <a:spLocks noGrp="1"/>
          </p:cNvSpPr>
          <p:nvPr>
            <p:ph type="body" sz="quarter" idx="37" hasCustomPrompt="1"/>
          </p:nvPr>
        </p:nvSpPr>
        <p:spPr>
          <a:xfrm>
            <a:off x="11961415" y="8213913"/>
            <a:ext cx="3287858" cy="1602900"/>
          </a:xfrm>
        </p:spPr>
        <p:txBody>
          <a:bodyPr>
            <a:normAutofit/>
          </a:bodyPr>
          <a:lstStyle>
            <a:lvl1pPr marL="0" indent="0">
              <a:buNone/>
              <a:defRPr sz="1649" b="0"/>
            </a:lvl1pPr>
          </a:lstStyle>
          <a:p>
            <a:pPr lvl="0"/>
            <a:r>
              <a:rPr lang="en-GB" noProof="0"/>
              <a:t>Lorem</a:t>
            </a:r>
          </a:p>
        </p:txBody>
      </p:sp>
      <p:sp>
        <p:nvSpPr>
          <p:cNvPr id="41" name="Text Placeholder 5">
            <a:extLst>
              <a:ext uri="{FF2B5EF4-FFF2-40B4-BE49-F238E27FC236}">
                <a16:creationId xmlns:a16="http://schemas.microsoft.com/office/drawing/2014/main" id="{2A0135A2-338E-4337-8F7D-C89BCB301081}"/>
              </a:ext>
            </a:extLst>
          </p:cNvPr>
          <p:cNvSpPr>
            <a:spLocks noGrp="1"/>
          </p:cNvSpPr>
          <p:nvPr>
            <p:ph type="body" sz="quarter" idx="38" hasCustomPrompt="1"/>
          </p:nvPr>
        </p:nvSpPr>
        <p:spPr>
          <a:xfrm>
            <a:off x="15864438" y="6640560"/>
            <a:ext cx="1591576" cy="1055017"/>
          </a:xfrm>
        </p:spPr>
        <p:txBody>
          <a:bodyPr>
            <a:noAutofit/>
          </a:bodyPr>
          <a:lstStyle>
            <a:lvl1pPr marL="0" indent="0">
              <a:buNone/>
              <a:defRPr sz="7915">
                <a:solidFill>
                  <a:schemeClr val="tx2"/>
                </a:solidFill>
              </a:defRPr>
            </a:lvl1pPr>
            <a:lvl2pPr marL="753923" indent="0">
              <a:buNone/>
              <a:defRPr/>
            </a:lvl2pPr>
            <a:lvl3pPr marL="1507846" indent="0">
              <a:buNone/>
              <a:defRPr/>
            </a:lvl3pPr>
            <a:lvl4pPr marL="2261768" indent="0">
              <a:buNone/>
              <a:defRPr/>
            </a:lvl4pPr>
            <a:lvl5pPr marL="3015691" indent="0">
              <a:buNone/>
              <a:defRPr/>
            </a:lvl5pPr>
          </a:lstStyle>
          <a:p>
            <a:pPr lvl="0"/>
            <a:r>
              <a:rPr lang="en-GB" noProof="0"/>
              <a:t>Nº</a:t>
            </a:r>
          </a:p>
        </p:txBody>
      </p:sp>
      <p:sp>
        <p:nvSpPr>
          <p:cNvPr id="42" name="Text Placeholder 9">
            <a:extLst>
              <a:ext uri="{FF2B5EF4-FFF2-40B4-BE49-F238E27FC236}">
                <a16:creationId xmlns:a16="http://schemas.microsoft.com/office/drawing/2014/main" id="{B47283B0-869D-4FF5-8A79-618919C330BE}"/>
              </a:ext>
            </a:extLst>
          </p:cNvPr>
          <p:cNvSpPr>
            <a:spLocks noGrp="1"/>
          </p:cNvSpPr>
          <p:nvPr>
            <p:ph type="body" sz="quarter" idx="39" hasCustomPrompt="1"/>
          </p:nvPr>
        </p:nvSpPr>
        <p:spPr>
          <a:xfrm>
            <a:off x="15864437" y="7789822"/>
            <a:ext cx="3287858" cy="356200"/>
          </a:xfrm>
        </p:spPr>
        <p:txBody>
          <a:bodyPr>
            <a:normAutofit/>
          </a:bodyPr>
          <a:lstStyle>
            <a:lvl1pPr marL="0" indent="0" algn="l">
              <a:buNone/>
              <a:defRPr sz="1731" b="1"/>
            </a:lvl1pPr>
          </a:lstStyle>
          <a:p>
            <a:pPr lvl="0"/>
            <a:r>
              <a:rPr lang="en-GB" noProof="0"/>
              <a:t>TITLE</a:t>
            </a:r>
          </a:p>
        </p:txBody>
      </p:sp>
      <p:sp>
        <p:nvSpPr>
          <p:cNvPr id="43" name="Text Placeholder 9">
            <a:extLst>
              <a:ext uri="{FF2B5EF4-FFF2-40B4-BE49-F238E27FC236}">
                <a16:creationId xmlns:a16="http://schemas.microsoft.com/office/drawing/2014/main" id="{E7254A4F-5904-4BFE-B81D-AE8C682CE01E}"/>
              </a:ext>
            </a:extLst>
          </p:cNvPr>
          <p:cNvSpPr>
            <a:spLocks noGrp="1"/>
          </p:cNvSpPr>
          <p:nvPr>
            <p:ph type="body" sz="quarter" idx="40" hasCustomPrompt="1"/>
          </p:nvPr>
        </p:nvSpPr>
        <p:spPr>
          <a:xfrm>
            <a:off x="15864437" y="8213913"/>
            <a:ext cx="3287858" cy="1602900"/>
          </a:xfrm>
        </p:spPr>
        <p:txBody>
          <a:bodyPr>
            <a:normAutofit/>
          </a:bodyPr>
          <a:lstStyle>
            <a:lvl1pPr marL="0" indent="0">
              <a:buNone/>
              <a:defRPr sz="1649" b="0"/>
            </a:lvl1pPr>
          </a:lstStyle>
          <a:p>
            <a:pPr lvl="0"/>
            <a:r>
              <a:rPr lang="en-GB" noProof="0"/>
              <a:t>Lorem</a:t>
            </a:r>
          </a:p>
        </p:txBody>
      </p:sp>
      <p:sp>
        <p:nvSpPr>
          <p:cNvPr id="11" name="Title 10">
            <a:extLst>
              <a:ext uri="{FF2B5EF4-FFF2-40B4-BE49-F238E27FC236}">
                <a16:creationId xmlns:a16="http://schemas.microsoft.com/office/drawing/2014/main" id="{B384F1BB-96E7-4D3C-AEA6-2038C6C940A2}"/>
              </a:ext>
            </a:extLst>
          </p:cNvPr>
          <p:cNvSpPr>
            <a:spLocks noGrp="1"/>
          </p:cNvSpPr>
          <p:nvPr>
            <p:ph type="title" hasCustomPrompt="1"/>
          </p:nvPr>
        </p:nvSpPr>
        <p:spPr>
          <a:xfrm>
            <a:off x="615163" y="396486"/>
            <a:ext cx="8682983" cy="2546037"/>
          </a:xfrm>
        </p:spPr>
        <p:txBody>
          <a:bodyPr anchor="t">
            <a:normAutofit/>
          </a:bodyPr>
          <a:lstStyle>
            <a:lvl1pPr>
              <a:lnSpc>
                <a:spcPts val="9234"/>
              </a:lnSpc>
              <a:defRPr sz="9564">
                <a:solidFill>
                  <a:schemeClr val="tx2"/>
                </a:solidFill>
              </a:defRPr>
            </a:lvl1pPr>
          </a:lstStyle>
          <a:p>
            <a:r>
              <a:rPr lang="en-GB" noProof="0"/>
              <a:t>Title</a:t>
            </a:r>
          </a:p>
        </p:txBody>
      </p:sp>
    </p:spTree>
    <p:extLst>
      <p:ext uri="{BB962C8B-B14F-4D97-AF65-F5344CB8AC3E}">
        <p14:creationId xmlns:p14="http://schemas.microsoft.com/office/powerpoint/2010/main" val="2722479542"/>
      </p:ext>
    </p:extLst>
  </p:cSld>
  <p:clrMapOvr>
    <a:overrideClrMapping bg1="lt1" tx1="dk1" bg2="lt2" tx2="dk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Contents-tilte white - 58px">
    <p:bg>
      <p:bgRef idx="1001">
        <a:schemeClr val="bg1"/>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C677C15-D783-4350-B9E7-52E834A09207}"/>
              </a:ext>
            </a:extLst>
          </p:cNvPr>
          <p:cNvSpPr>
            <a:spLocks noGrp="1"/>
          </p:cNvSpPr>
          <p:nvPr>
            <p:ph type="pic" sz="quarter" idx="11"/>
          </p:nvPr>
        </p:nvSpPr>
        <p:spPr>
          <a:xfrm>
            <a:off x="0" y="0"/>
            <a:ext cx="20104100" cy="11309350"/>
          </a:xfrm>
        </p:spPr>
        <p:txBody>
          <a:bodyPr/>
          <a:lstStyle/>
          <a:p>
            <a:endParaRPr lang="en-GB"/>
          </a:p>
        </p:txBody>
      </p:sp>
      <p:sp>
        <p:nvSpPr>
          <p:cNvPr id="14" name="Marcador de texto 19">
            <a:extLst>
              <a:ext uri="{FF2B5EF4-FFF2-40B4-BE49-F238E27FC236}">
                <a16:creationId xmlns:a16="http://schemas.microsoft.com/office/drawing/2014/main" id="{F0A5F956-78D9-483E-8513-18F922BFD069}"/>
              </a:ext>
            </a:extLst>
          </p:cNvPr>
          <p:cNvSpPr>
            <a:spLocks noGrp="1"/>
          </p:cNvSpPr>
          <p:nvPr>
            <p:ph type="body" sz="quarter" idx="10" hasCustomPrompt="1"/>
          </p:nvPr>
        </p:nvSpPr>
        <p:spPr>
          <a:xfrm>
            <a:off x="17185412" y="389504"/>
            <a:ext cx="2985439" cy="250572"/>
          </a:xfrm>
          <a:noFill/>
        </p:spPr>
        <p:txBody>
          <a:bodyPr wrap="square" lIns="0" tIns="0" rIns="0" bIns="0" rtlCol="0" anchor="ctr">
            <a:noAutofit/>
          </a:bodyPr>
          <a:lstStyle>
            <a:lvl1pPr marL="0" indent="0">
              <a:buNone/>
              <a:defRPr lang="es-ES" sz="1319" b="0" smtClean="0">
                <a:solidFill>
                  <a:schemeClr val="bg1"/>
                </a:solidFill>
              </a:defRPr>
            </a:lvl1pPr>
            <a:lvl2pPr marL="376961" indent="0">
              <a:buNone/>
              <a:defRPr lang="es-ES" sz="2968" smtClean="0"/>
            </a:lvl2pPr>
            <a:lvl3pPr marL="1130884" indent="0">
              <a:buNone/>
              <a:defRPr lang="es-ES" sz="2968" smtClean="0"/>
            </a:lvl3pPr>
            <a:lvl4pPr marL="1790567" indent="0">
              <a:buFont typeface="Arial" panose="020B0604020202020204" pitchFamily="34" charset="0"/>
              <a:buNone/>
              <a:defRPr lang="es-ES" smtClean="0"/>
            </a:lvl4pPr>
            <a:lvl5pPr marL="2638730" indent="0">
              <a:buNone/>
              <a:defRPr lang="es-ES"/>
            </a:lvl5pPr>
          </a:lstStyle>
          <a:p>
            <a:pPr marL="0" lvl="0"/>
            <a:r>
              <a:rPr lang="es-ES" noProof="0" dirty="0"/>
              <a:t>D</a:t>
            </a:r>
            <a:r>
              <a:rPr lang="en-GB" noProof="0" dirty="0" err="1"/>
              <a:t>ocument</a:t>
            </a:r>
            <a:r>
              <a:rPr lang="en-GB" noProof="0" dirty="0"/>
              <a:t> Title</a:t>
            </a:r>
          </a:p>
        </p:txBody>
      </p:sp>
      <p:sp>
        <p:nvSpPr>
          <p:cNvPr id="11" name="Title 10">
            <a:extLst>
              <a:ext uri="{FF2B5EF4-FFF2-40B4-BE49-F238E27FC236}">
                <a16:creationId xmlns:a16="http://schemas.microsoft.com/office/drawing/2014/main" id="{B384F1BB-96E7-4D3C-AEA6-2038C6C940A2}"/>
              </a:ext>
            </a:extLst>
          </p:cNvPr>
          <p:cNvSpPr>
            <a:spLocks noGrp="1"/>
          </p:cNvSpPr>
          <p:nvPr>
            <p:ph type="title" hasCustomPrompt="1"/>
          </p:nvPr>
        </p:nvSpPr>
        <p:spPr>
          <a:xfrm>
            <a:off x="615163" y="396486"/>
            <a:ext cx="8682983" cy="2546037"/>
          </a:xfrm>
        </p:spPr>
        <p:txBody>
          <a:bodyPr anchor="t">
            <a:normAutofit/>
          </a:bodyPr>
          <a:lstStyle>
            <a:lvl1pPr>
              <a:lnSpc>
                <a:spcPts val="9234"/>
              </a:lnSpc>
              <a:defRPr sz="9564">
                <a:solidFill>
                  <a:schemeClr val="bg1"/>
                </a:solidFill>
              </a:defRPr>
            </a:lvl1pPr>
          </a:lstStyle>
          <a:p>
            <a:r>
              <a:rPr lang="en-GB" noProof="0"/>
              <a:t>Title</a:t>
            </a:r>
          </a:p>
        </p:txBody>
      </p:sp>
    </p:spTree>
    <p:extLst>
      <p:ext uri="{BB962C8B-B14F-4D97-AF65-F5344CB8AC3E}">
        <p14:creationId xmlns:p14="http://schemas.microsoft.com/office/powerpoint/2010/main" val="3255041609"/>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Picture bottom">
    <p:bg>
      <p:bgRef idx="1001">
        <a:schemeClr val="bg1"/>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C677C15-D783-4350-B9E7-52E834A09207}"/>
              </a:ext>
            </a:extLst>
          </p:cNvPr>
          <p:cNvSpPr>
            <a:spLocks noGrp="1"/>
          </p:cNvSpPr>
          <p:nvPr>
            <p:ph type="pic" sz="quarter" idx="11"/>
          </p:nvPr>
        </p:nvSpPr>
        <p:spPr>
          <a:xfrm>
            <a:off x="0" y="5089207"/>
            <a:ext cx="20104100" cy="6220143"/>
          </a:xfrm>
        </p:spPr>
        <p:txBody>
          <a:bodyPr/>
          <a:lstStyle/>
          <a:p>
            <a:endParaRPr lang="en-GB"/>
          </a:p>
        </p:txBody>
      </p:sp>
      <p:sp>
        <p:nvSpPr>
          <p:cNvPr id="11" name="Title 10">
            <a:extLst>
              <a:ext uri="{FF2B5EF4-FFF2-40B4-BE49-F238E27FC236}">
                <a16:creationId xmlns:a16="http://schemas.microsoft.com/office/drawing/2014/main" id="{B384F1BB-96E7-4D3C-AEA6-2038C6C940A2}"/>
              </a:ext>
            </a:extLst>
          </p:cNvPr>
          <p:cNvSpPr>
            <a:spLocks noGrp="1"/>
          </p:cNvSpPr>
          <p:nvPr>
            <p:ph type="title" hasCustomPrompt="1"/>
          </p:nvPr>
        </p:nvSpPr>
        <p:spPr>
          <a:xfrm>
            <a:off x="615163" y="396486"/>
            <a:ext cx="8682983" cy="2546037"/>
          </a:xfrm>
        </p:spPr>
        <p:txBody>
          <a:bodyPr anchor="t">
            <a:normAutofit/>
          </a:bodyPr>
          <a:lstStyle>
            <a:lvl1pPr>
              <a:lnSpc>
                <a:spcPts val="8905"/>
              </a:lnSpc>
              <a:defRPr sz="9564">
                <a:solidFill>
                  <a:schemeClr val="tx2"/>
                </a:solidFill>
              </a:defRPr>
            </a:lvl1pPr>
          </a:lstStyle>
          <a:p>
            <a:r>
              <a:rPr lang="en-GB" noProof="0"/>
              <a:t>Title</a:t>
            </a:r>
          </a:p>
        </p:txBody>
      </p:sp>
    </p:spTree>
    <p:extLst>
      <p:ext uri="{BB962C8B-B14F-4D97-AF65-F5344CB8AC3E}">
        <p14:creationId xmlns:p14="http://schemas.microsoft.com/office/powerpoint/2010/main" val="1675340980"/>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Picture bottom-purple background">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C677C15-D783-4350-B9E7-52E834A09207}"/>
              </a:ext>
            </a:extLst>
          </p:cNvPr>
          <p:cNvSpPr>
            <a:spLocks noGrp="1"/>
          </p:cNvSpPr>
          <p:nvPr>
            <p:ph type="pic" sz="quarter" idx="11"/>
          </p:nvPr>
        </p:nvSpPr>
        <p:spPr>
          <a:xfrm>
            <a:off x="0" y="5654675"/>
            <a:ext cx="20104100" cy="5654675"/>
          </a:xfrm>
        </p:spPr>
        <p:txBody>
          <a:bodyPr/>
          <a:lstStyle/>
          <a:p>
            <a:endParaRPr lang="en-GB"/>
          </a:p>
        </p:txBody>
      </p:sp>
      <p:grpSp>
        <p:nvGrpSpPr>
          <p:cNvPr id="4" name="Group 3">
            <a:extLst>
              <a:ext uri="{FF2B5EF4-FFF2-40B4-BE49-F238E27FC236}">
                <a16:creationId xmlns:a16="http://schemas.microsoft.com/office/drawing/2014/main" id="{D1988B3F-0739-4242-BE75-F4A848D4034D}"/>
              </a:ext>
            </a:extLst>
          </p:cNvPr>
          <p:cNvGrpSpPr/>
          <p:nvPr userDrawn="1"/>
        </p:nvGrpSpPr>
        <p:grpSpPr>
          <a:xfrm>
            <a:off x="1" y="3670479"/>
            <a:ext cx="20013106" cy="7168675"/>
            <a:chOff x="0" y="2225781"/>
            <a:chExt cx="13680558" cy="4900019"/>
          </a:xfrm>
        </p:grpSpPr>
        <p:sp>
          <p:nvSpPr>
            <p:cNvPr id="5" name="object 4">
              <a:extLst>
                <a:ext uri="{FF2B5EF4-FFF2-40B4-BE49-F238E27FC236}">
                  <a16:creationId xmlns:a16="http://schemas.microsoft.com/office/drawing/2014/main" id="{590506FE-57E0-584D-BC47-90F09DBCD688}"/>
                </a:ext>
              </a:extLst>
            </p:cNvPr>
            <p:cNvSpPr/>
            <p:nvPr/>
          </p:nvSpPr>
          <p:spPr>
            <a:xfrm>
              <a:off x="0" y="4614067"/>
              <a:ext cx="776605" cy="279400"/>
            </a:xfrm>
            <a:custGeom>
              <a:avLst/>
              <a:gdLst/>
              <a:ahLst/>
              <a:cxnLst/>
              <a:rect l="l" t="t" r="r" b="b"/>
              <a:pathLst>
                <a:path w="776605" h="279400">
                  <a:moveTo>
                    <a:pt x="97656" y="230555"/>
                  </a:moveTo>
                  <a:lnTo>
                    <a:pt x="0" y="263971"/>
                  </a:lnTo>
                  <a:lnTo>
                    <a:pt x="0" y="279205"/>
                  </a:lnTo>
                  <a:lnTo>
                    <a:pt x="106152" y="242887"/>
                  </a:lnTo>
                  <a:lnTo>
                    <a:pt x="97656" y="230555"/>
                  </a:lnTo>
                  <a:close/>
                </a:path>
                <a:path w="776605" h="279400">
                  <a:moveTo>
                    <a:pt x="119754" y="222999"/>
                  </a:moveTo>
                  <a:lnTo>
                    <a:pt x="110788" y="226072"/>
                  </a:lnTo>
                  <a:lnTo>
                    <a:pt x="119284" y="238404"/>
                  </a:lnTo>
                  <a:lnTo>
                    <a:pt x="140620" y="231089"/>
                  </a:lnTo>
                  <a:lnTo>
                    <a:pt x="119754" y="222999"/>
                  </a:lnTo>
                  <a:close/>
                </a:path>
                <a:path w="776605" h="279400">
                  <a:moveTo>
                    <a:pt x="771620" y="0"/>
                  </a:moveTo>
                  <a:lnTo>
                    <a:pt x="144964" y="214376"/>
                  </a:lnTo>
                  <a:lnTo>
                    <a:pt x="165830" y="222465"/>
                  </a:lnTo>
                  <a:lnTo>
                    <a:pt x="776281" y="13639"/>
                  </a:lnTo>
                  <a:lnTo>
                    <a:pt x="774007" y="9461"/>
                  </a:lnTo>
                  <a:lnTo>
                    <a:pt x="772407" y="4864"/>
                  </a:lnTo>
                  <a:lnTo>
                    <a:pt x="771620" y="0"/>
                  </a:lnTo>
                  <a:close/>
                </a:path>
              </a:pathLst>
            </a:custGeom>
            <a:solidFill>
              <a:srgbClr val="EF3D60">
                <a:alpha val="50999"/>
              </a:srgbClr>
            </a:solidFill>
          </p:spPr>
          <p:txBody>
            <a:bodyPr wrap="square" lIns="0" tIns="0" rIns="0" bIns="0" rtlCol="0"/>
            <a:lstStyle/>
            <a:p>
              <a:endParaRPr sz="2968"/>
            </a:p>
          </p:txBody>
        </p:sp>
        <p:sp>
          <p:nvSpPr>
            <p:cNvPr id="6" name="object 5">
              <a:extLst>
                <a:ext uri="{FF2B5EF4-FFF2-40B4-BE49-F238E27FC236}">
                  <a16:creationId xmlns:a16="http://schemas.microsoft.com/office/drawing/2014/main" id="{6B293071-EE5C-014D-B178-3FE80D9A250C}"/>
                </a:ext>
              </a:extLst>
            </p:cNvPr>
            <p:cNvSpPr/>
            <p:nvPr/>
          </p:nvSpPr>
          <p:spPr>
            <a:xfrm>
              <a:off x="0" y="5289523"/>
              <a:ext cx="405130" cy="53340"/>
            </a:xfrm>
            <a:custGeom>
              <a:avLst/>
              <a:gdLst/>
              <a:ahLst/>
              <a:cxnLst/>
              <a:rect l="l" t="t" r="r" b="b"/>
              <a:pathLst>
                <a:path w="405130" h="53339">
                  <a:moveTo>
                    <a:pt x="0" y="0"/>
                  </a:moveTo>
                  <a:lnTo>
                    <a:pt x="0" y="12304"/>
                  </a:lnTo>
                  <a:lnTo>
                    <a:pt x="404296" y="52734"/>
                  </a:lnTo>
                  <a:lnTo>
                    <a:pt x="404258" y="48504"/>
                  </a:lnTo>
                  <a:lnTo>
                    <a:pt x="404461" y="46142"/>
                  </a:lnTo>
                  <a:lnTo>
                    <a:pt x="404842" y="43818"/>
                  </a:lnTo>
                  <a:lnTo>
                    <a:pt x="391469" y="39145"/>
                  </a:lnTo>
                  <a:lnTo>
                    <a:pt x="0" y="0"/>
                  </a:lnTo>
                  <a:close/>
                </a:path>
              </a:pathLst>
            </a:custGeom>
            <a:solidFill>
              <a:srgbClr val="EF3D60">
                <a:alpha val="50999"/>
              </a:srgbClr>
            </a:solidFill>
          </p:spPr>
          <p:txBody>
            <a:bodyPr wrap="square" lIns="0" tIns="0" rIns="0" bIns="0" rtlCol="0"/>
            <a:lstStyle/>
            <a:p>
              <a:endParaRPr sz="2968"/>
            </a:p>
          </p:txBody>
        </p:sp>
        <p:sp>
          <p:nvSpPr>
            <p:cNvPr id="7" name="object 6">
              <a:extLst>
                <a:ext uri="{FF2B5EF4-FFF2-40B4-BE49-F238E27FC236}">
                  <a16:creationId xmlns:a16="http://schemas.microsoft.com/office/drawing/2014/main" id="{4B413223-4C29-E342-9B1B-474E847B9194}"/>
                </a:ext>
              </a:extLst>
            </p:cNvPr>
            <p:cNvSpPr/>
            <p:nvPr/>
          </p:nvSpPr>
          <p:spPr>
            <a:xfrm>
              <a:off x="482813" y="4481402"/>
              <a:ext cx="1717675" cy="847725"/>
            </a:xfrm>
            <a:custGeom>
              <a:avLst/>
              <a:gdLst/>
              <a:ahLst/>
              <a:cxnLst/>
              <a:rect l="l" t="t" r="r" b="b"/>
              <a:pathLst>
                <a:path w="1717675" h="847725">
                  <a:moveTo>
                    <a:pt x="385241" y="645833"/>
                  </a:moveTo>
                  <a:lnTo>
                    <a:pt x="0" y="833513"/>
                  </a:lnTo>
                  <a:lnTo>
                    <a:pt x="2959" y="837577"/>
                  </a:lnTo>
                  <a:lnTo>
                    <a:pt x="5232" y="842162"/>
                  </a:lnTo>
                  <a:lnTo>
                    <a:pt x="6642" y="847115"/>
                  </a:lnTo>
                  <a:lnTo>
                    <a:pt x="404507" y="653300"/>
                  </a:lnTo>
                  <a:lnTo>
                    <a:pt x="385241" y="645833"/>
                  </a:lnTo>
                  <a:close/>
                </a:path>
                <a:path w="1717675" h="847725">
                  <a:moveTo>
                    <a:pt x="739203" y="473392"/>
                  </a:moveTo>
                  <a:lnTo>
                    <a:pt x="406273" y="635584"/>
                  </a:lnTo>
                  <a:lnTo>
                    <a:pt x="425538" y="643051"/>
                  </a:lnTo>
                  <a:lnTo>
                    <a:pt x="751954" y="484035"/>
                  </a:lnTo>
                  <a:lnTo>
                    <a:pt x="739203" y="473392"/>
                  </a:lnTo>
                  <a:close/>
                </a:path>
                <a:path w="1717675" h="847725">
                  <a:moveTo>
                    <a:pt x="936155" y="377444"/>
                  </a:moveTo>
                  <a:lnTo>
                    <a:pt x="751497" y="467398"/>
                  </a:lnTo>
                  <a:lnTo>
                    <a:pt x="764260" y="478040"/>
                  </a:lnTo>
                  <a:lnTo>
                    <a:pt x="955154" y="385038"/>
                  </a:lnTo>
                  <a:lnTo>
                    <a:pt x="936155" y="377444"/>
                  </a:lnTo>
                  <a:close/>
                </a:path>
                <a:path w="1717675" h="847725">
                  <a:moveTo>
                    <a:pt x="1710931" y="0"/>
                  </a:moveTo>
                  <a:lnTo>
                    <a:pt x="958735" y="366445"/>
                  </a:lnTo>
                  <a:lnTo>
                    <a:pt x="977734" y="374040"/>
                  </a:lnTo>
                  <a:lnTo>
                    <a:pt x="1717560" y="13614"/>
                  </a:lnTo>
                  <a:lnTo>
                    <a:pt x="1714601" y="9563"/>
                  </a:lnTo>
                  <a:lnTo>
                    <a:pt x="1712340" y="4953"/>
                  </a:lnTo>
                  <a:lnTo>
                    <a:pt x="1710931" y="0"/>
                  </a:lnTo>
                  <a:close/>
                </a:path>
              </a:pathLst>
            </a:custGeom>
            <a:solidFill>
              <a:srgbClr val="EF3D60">
                <a:alpha val="50999"/>
              </a:srgbClr>
            </a:solidFill>
          </p:spPr>
          <p:txBody>
            <a:bodyPr wrap="square" lIns="0" tIns="0" rIns="0" bIns="0" rtlCol="0"/>
            <a:lstStyle/>
            <a:p>
              <a:endParaRPr sz="2968"/>
            </a:p>
          </p:txBody>
        </p:sp>
        <p:sp>
          <p:nvSpPr>
            <p:cNvPr id="8" name="object 7">
              <a:extLst>
                <a:ext uri="{FF2B5EF4-FFF2-40B4-BE49-F238E27FC236}">
                  <a16:creationId xmlns:a16="http://schemas.microsoft.com/office/drawing/2014/main" id="{67A59557-6DAD-D443-A2E2-669C5D4B0EE9}"/>
                </a:ext>
              </a:extLst>
            </p:cNvPr>
            <p:cNvSpPr/>
            <p:nvPr/>
          </p:nvSpPr>
          <p:spPr>
            <a:xfrm>
              <a:off x="462728" y="4643509"/>
              <a:ext cx="337185" cy="661035"/>
            </a:xfrm>
            <a:custGeom>
              <a:avLst/>
              <a:gdLst/>
              <a:ahLst/>
              <a:cxnLst/>
              <a:rect l="l" t="t" r="r" b="b"/>
              <a:pathLst>
                <a:path w="337184" h="661035">
                  <a:moveTo>
                    <a:pt x="138087" y="380098"/>
                  </a:moveTo>
                  <a:lnTo>
                    <a:pt x="0" y="656196"/>
                  </a:lnTo>
                  <a:lnTo>
                    <a:pt x="3035" y="657313"/>
                  </a:lnTo>
                  <a:lnTo>
                    <a:pt x="5905" y="658761"/>
                  </a:lnTo>
                  <a:lnTo>
                    <a:pt x="8572" y="660501"/>
                  </a:lnTo>
                  <a:lnTo>
                    <a:pt x="147027" y="383565"/>
                  </a:lnTo>
                  <a:lnTo>
                    <a:pt x="138087" y="380098"/>
                  </a:lnTo>
                  <a:close/>
                </a:path>
                <a:path w="337184" h="661035">
                  <a:moveTo>
                    <a:pt x="328180" y="0"/>
                  </a:moveTo>
                  <a:lnTo>
                    <a:pt x="145795" y="364680"/>
                  </a:lnTo>
                  <a:lnTo>
                    <a:pt x="154749" y="368160"/>
                  </a:lnTo>
                  <a:lnTo>
                    <a:pt x="336677" y="4267"/>
                  </a:lnTo>
                  <a:lnTo>
                    <a:pt x="333679" y="3149"/>
                  </a:lnTo>
                  <a:lnTo>
                    <a:pt x="330834" y="1714"/>
                  </a:lnTo>
                  <a:lnTo>
                    <a:pt x="328180" y="0"/>
                  </a:lnTo>
                  <a:close/>
                </a:path>
              </a:pathLst>
            </a:custGeom>
            <a:solidFill>
              <a:srgbClr val="EF3D60">
                <a:alpha val="50999"/>
              </a:srgbClr>
            </a:solidFill>
          </p:spPr>
          <p:txBody>
            <a:bodyPr wrap="square" lIns="0" tIns="0" rIns="0" bIns="0" rtlCol="0"/>
            <a:lstStyle/>
            <a:p>
              <a:endParaRPr sz="2968"/>
            </a:p>
          </p:txBody>
        </p:sp>
        <p:sp>
          <p:nvSpPr>
            <p:cNvPr id="9" name="object 8">
              <a:extLst>
                <a:ext uri="{FF2B5EF4-FFF2-40B4-BE49-F238E27FC236}">
                  <a16:creationId xmlns:a16="http://schemas.microsoft.com/office/drawing/2014/main" id="{873E29A1-A1BE-1941-8F9F-051BCA58323C}"/>
                </a:ext>
              </a:extLst>
            </p:cNvPr>
            <p:cNvSpPr/>
            <p:nvPr/>
          </p:nvSpPr>
          <p:spPr>
            <a:xfrm>
              <a:off x="0" y="4938382"/>
              <a:ext cx="418465" cy="377825"/>
            </a:xfrm>
            <a:custGeom>
              <a:avLst/>
              <a:gdLst/>
              <a:ahLst/>
              <a:cxnLst/>
              <a:rect l="l" t="t" r="r" b="b"/>
              <a:pathLst>
                <a:path w="418465" h="377825">
                  <a:moveTo>
                    <a:pt x="0" y="0"/>
                  </a:moveTo>
                  <a:lnTo>
                    <a:pt x="0" y="14079"/>
                  </a:lnTo>
                  <a:lnTo>
                    <a:pt x="411894" y="377485"/>
                  </a:lnTo>
                  <a:lnTo>
                    <a:pt x="413633" y="374958"/>
                  </a:lnTo>
                  <a:lnTo>
                    <a:pt x="415615" y="372634"/>
                  </a:lnTo>
                  <a:lnTo>
                    <a:pt x="417837" y="370538"/>
                  </a:lnTo>
                  <a:lnTo>
                    <a:pt x="414484" y="365674"/>
                  </a:lnTo>
                  <a:lnTo>
                    <a:pt x="0" y="0"/>
                  </a:lnTo>
                  <a:close/>
                </a:path>
              </a:pathLst>
            </a:custGeom>
            <a:solidFill>
              <a:srgbClr val="EF3D60">
                <a:alpha val="50999"/>
              </a:srgbClr>
            </a:solidFill>
          </p:spPr>
          <p:txBody>
            <a:bodyPr wrap="square" lIns="0" tIns="0" rIns="0" bIns="0" rtlCol="0"/>
            <a:lstStyle/>
            <a:p>
              <a:endParaRPr sz="2968"/>
            </a:p>
          </p:txBody>
        </p:sp>
        <p:sp>
          <p:nvSpPr>
            <p:cNvPr id="10" name="object 9">
              <a:extLst>
                <a:ext uri="{FF2B5EF4-FFF2-40B4-BE49-F238E27FC236}">
                  <a16:creationId xmlns:a16="http://schemas.microsoft.com/office/drawing/2014/main" id="{983AE195-938F-2846-A5CA-80C9622E0996}"/>
                </a:ext>
              </a:extLst>
            </p:cNvPr>
            <p:cNvSpPr/>
            <p:nvPr/>
          </p:nvSpPr>
          <p:spPr>
            <a:xfrm>
              <a:off x="0" y="5175830"/>
              <a:ext cx="410209" cy="158115"/>
            </a:xfrm>
            <a:custGeom>
              <a:avLst/>
              <a:gdLst/>
              <a:ahLst/>
              <a:cxnLst/>
              <a:rect l="l" t="t" r="r" b="b"/>
              <a:pathLst>
                <a:path w="410209" h="158114">
                  <a:moveTo>
                    <a:pt x="0" y="0"/>
                  </a:moveTo>
                  <a:lnTo>
                    <a:pt x="0" y="15808"/>
                  </a:lnTo>
                  <a:lnTo>
                    <a:pt x="404836" y="157517"/>
                  </a:lnTo>
                  <a:lnTo>
                    <a:pt x="405662" y="152475"/>
                  </a:lnTo>
                  <a:lnTo>
                    <a:pt x="407376" y="147725"/>
                  </a:lnTo>
                  <a:lnTo>
                    <a:pt x="409776" y="143433"/>
                  </a:lnTo>
                  <a:lnTo>
                    <a:pt x="0" y="0"/>
                  </a:lnTo>
                  <a:close/>
                </a:path>
              </a:pathLst>
            </a:custGeom>
            <a:solidFill>
              <a:srgbClr val="EF3D60">
                <a:alpha val="50999"/>
              </a:srgbClr>
            </a:solidFill>
          </p:spPr>
          <p:txBody>
            <a:bodyPr wrap="square" lIns="0" tIns="0" rIns="0" bIns="0" rtlCol="0"/>
            <a:lstStyle/>
            <a:p>
              <a:endParaRPr sz="2968"/>
            </a:p>
          </p:txBody>
        </p:sp>
        <p:sp>
          <p:nvSpPr>
            <p:cNvPr id="12" name="object 10">
              <a:extLst>
                <a:ext uri="{FF2B5EF4-FFF2-40B4-BE49-F238E27FC236}">
                  <a16:creationId xmlns:a16="http://schemas.microsoft.com/office/drawing/2014/main" id="{BCC55A90-BED9-4149-865E-B6A416CA572A}"/>
                </a:ext>
              </a:extLst>
            </p:cNvPr>
            <p:cNvSpPr/>
            <p:nvPr/>
          </p:nvSpPr>
          <p:spPr>
            <a:xfrm>
              <a:off x="0" y="4679487"/>
              <a:ext cx="429259" cy="629920"/>
            </a:xfrm>
            <a:custGeom>
              <a:avLst/>
              <a:gdLst/>
              <a:ahLst/>
              <a:cxnLst/>
              <a:rect l="l" t="t" r="r" b="b"/>
              <a:pathLst>
                <a:path w="429259" h="629920">
                  <a:moveTo>
                    <a:pt x="82475" y="143126"/>
                  </a:moveTo>
                  <a:lnTo>
                    <a:pt x="417843" y="629435"/>
                  </a:lnTo>
                  <a:lnTo>
                    <a:pt x="421069" y="626374"/>
                  </a:lnTo>
                  <a:lnTo>
                    <a:pt x="424778" y="623809"/>
                  </a:lnTo>
                  <a:lnTo>
                    <a:pt x="428829" y="621853"/>
                  </a:lnTo>
                  <a:lnTo>
                    <a:pt x="104611" y="151712"/>
                  </a:lnTo>
                  <a:lnTo>
                    <a:pt x="82475" y="143126"/>
                  </a:lnTo>
                  <a:close/>
                </a:path>
                <a:path w="429259" h="629920">
                  <a:moveTo>
                    <a:pt x="0" y="0"/>
                  </a:moveTo>
                  <a:lnTo>
                    <a:pt x="0" y="23533"/>
                  </a:lnTo>
                  <a:lnTo>
                    <a:pt x="65152" y="118006"/>
                  </a:lnTo>
                  <a:lnTo>
                    <a:pt x="87301" y="126591"/>
                  </a:lnTo>
                  <a:lnTo>
                    <a:pt x="0" y="0"/>
                  </a:lnTo>
                  <a:close/>
                </a:path>
              </a:pathLst>
            </a:custGeom>
            <a:solidFill>
              <a:srgbClr val="EF3D60">
                <a:alpha val="50999"/>
              </a:srgbClr>
            </a:solidFill>
          </p:spPr>
          <p:txBody>
            <a:bodyPr wrap="square" lIns="0" tIns="0" rIns="0" bIns="0" rtlCol="0"/>
            <a:lstStyle/>
            <a:p>
              <a:endParaRPr sz="2968"/>
            </a:p>
          </p:txBody>
        </p:sp>
        <p:sp>
          <p:nvSpPr>
            <p:cNvPr id="13" name="object 11">
              <a:extLst>
                <a:ext uri="{FF2B5EF4-FFF2-40B4-BE49-F238E27FC236}">
                  <a16:creationId xmlns:a16="http://schemas.microsoft.com/office/drawing/2014/main" id="{16600449-6259-D84C-A2DE-8D11C0896EFF}"/>
                </a:ext>
              </a:extLst>
            </p:cNvPr>
            <p:cNvSpPr/>
            <p:nvPr/>
          </p:nvSpPr>
          <p:spPr>
            <a:xfrm>
              <a:off x="489545" y="5339463"/>
              <a:ext cx="1382395" cy="185420"/>
            </a:xfrm>
            <a:custGeom>
              <a:avLst/>
              <a:gdLst/>
              <a:ahLst/>
              <a:cxnLst/>
              <a:rect l="l" t="t" r="r" b="b"/>
              <a:pathLst>
                <a:path w="1382395" h="185420">
                  <a:moveTo>
                    <a:pt x="1562" y="0"/>
                  </a:moveTo>
                  <a:lnTo>
                    <a:pt x="1574" y="5016"/>
                  </a:lnTo>
                  <a:lnTo>
                    <a:pt x="1016" y="8915"/>
                  </a:lnTo>
                  <a:lnTo>
                    <a:pt x="0" y="12611"/>
                  </a:lnTo>
                  <a:lnTo>
                    <a:pt x="1381683" y="185369"/>
                  </a:lnTo>
                  <a:lnTo>
                    <a:pt x="1381658" y="181864"/>
                  </a:lnTo>
                  <a:lnTo>
                    <a:pt x="1381887" y="179400"/>
                  </a:lnTo>
                  <a:lnTo>
                    <a:pt x="1382293" y="176999"/>
                  </a:lnTo>
                  <a:lnTo>
                    <a:pt x="1365618" y="170535"/>
                  </a:lnTo>
                  <a:lnTo>
                    <a:pt x="1562" y="0"/>
                  </a:lnTo>
                  <a:close/>
                </a:path>
              </a:pathLst>
            </a:custGeom>
            <a:solidFill>
              <a:srgbClr val="EF3D60">
                <a:alpha val="50999"/>
              </a:srgbClr>
            </a:solidFill>
          </p:spPr>
          <p:txBody>
            <a:bodyPr wrap="square" lIns="0" tIns="0" rIns="0" bIns="0" rtlCol="0"/>
            <a:lstStyle/>
            <a:p>
              <a:endParaRPr sz="2968"/>
            </a:p>
          </p:txBody>
        </p:sp>
        <p:sp>
          <p:nvSpPr>
            <p:cNvPr id="14" name="object 12">
              <a:extLst>
                <a:ext uri="{FF2B5EF4-FFF2-40B4-BE49-F238E27FC236}">
                  <a16:creationId xmlns:a16="http://schemas.microsoft.com/office/drawing/2014/main" id="{8B2A0FA8-6B7A-FB4F-9B00-46D4358A8C2A}"/>
                </a:ext>
              </a:extLst>
            </p:cNvPr>
            <p:cNvSpPr/>
            <p:nvPr/>
          </p:nvSpPr>
          <p:spPr>
            <a:xfrm>
              <a:off x="1945593" y="4488069"/>
              <a:ext cx="1450975" cy="1017269"/>
            </a:xfrm>
            <a:custGeom>
              <a:avLst/>
              <a:gdLst/>
              <a:ahLst/>
              <a:cxnLst/>
              <a:rect l="l" t="t" r="r" b="b"/>
              <a:pathLst>
                <a:path w="1450975" h="1017270">
                  <a:moveTo>
                    <a:pt x="386422" y="736003"/>
                  </a:moveTo>
                  <a:lnTo>
                    <a:pt x="0" y="1005332"/>
                  </a:lnTo>
                  <a:lnTo>
                    <a:pt x="3378" y="1008773"/>
                  </a:lnTo>
                  <a:lnTo>
                    <a:pt x="6197" y="1012774"/>
                  </a:lnTo>
                  <a:lnTo>
                    <a:pt x="8280" y="1017181"/>
                  </a:lnTo>
                  <a:lnTo>
                    <a:pt x="402488" y="742429"/>
                  </a:lnTo>
                  <a:lnTo>
                    <a:pt x="386422" y="736003"/>
                  </a:lnTo>
                  <a:close/>
                </a:path>
                <a:path w="1450975" h="1017270">
                  <a:moveTo>
                    <a:pt x="757097" y="477647"/>
                  </a:moveTo>
                  <a:lnTo>
                    <a:pt x="404685" y="723277"/>
                  </a:lnTo>
                  <a:lnTo>
                    <a:pt x="420750" y="729703"/>
                  </a:lnTo>
                  <a:lnTo>
                    <a:pt x="767245" y="488213"/>
                  </a:lnTo>
                  <a:lnTo>
                    <a:pt x="757097" y="477647"/>
                  </a:lnTo>
                  <a:close/>
                </a:path>
                <a:path w="1450975" h="1017270">
                  <a:moveTo>
                    <a:pt x="984389" y="319239"/>
                  </a:moveTo>
                  <a:lnTo>
                    <a:pt x="768083" y="470001"/>
                  </a:lnTo>
                  <a:lnTo>
                    <a:pt x="778217" y="480555"/>
                  </a:lnTo>
                  <a:lnTo>
                    <a:pt x="999464" y="326351"/>
                  </a:lnTo>
                  <a:lnTo>
                    <a:pt x="984389" y="319239"/>
                  </a:lnTo>
                  <a:close/>
                </a:path>
                <a:path w="1450975" h="1017270">
                  <a:moveTo>
                    <a:pt x="1442440" y="0"/>
                  </a:moveTo>
                  <a:lnTo>
                    <a:pt x="1001864" y="307060"/>
                  </a:lnTo>
                  <a:lnTo>
                    <a:pt x="1016952" y="314172"/>
                  </a:lnTo>
                  <a:lnTo>
                    <a:pt x="1450708" y="11861"/>
                  </a:lnTo>
                  <a:lnTo>
                    <a:pt x="1447330" y="8420"/>
                  </a:lnTo>
                  <a:lnTo>
                    <a:pt x="1444523" y="4419"/>
                  </a:lnTo>
                  <a:lnTo>
                    <a:pt x="1442440" y="0"/>
                  </a:lnTo>
                  <a:close/>
                </a:path>
              </a:pathLst>
            </a:custGeom>
            <a:solidFill>
              <a:srgbClr val="EF3D60">
                <a:alpha val="50999"/>
              </a:srgbClr>
            </a:solidFill>
          </p:spPr>
          <p:txBody>
            <a:bodyPr wrap="square" lIns="0" tIns="0" rIns="0" bIns="0" rtlCol="0"/>
            <a:lstStyle/>
            <a:p>
              <a:endParaRPr sz="2968"/>
            </a:p>
          </p:txBody>
        </p:sp>
        <p:sp>
          <p:nvSpPr>
            <p:cNvPr id="15" name="object 13">
              <a:extLst>
                <a:ext uri="{FF2B5EF4-FFF2-40B4-BE49-F238E27FC236}">
                  <a16:creationId xmlns:a16="http://schemas.microsoft.com/office/drawing/2014/main" id="{4E8E8B57-F9BB-E346-BC49-49DF70415DF6}"/>
                </a:ext>
              </a:extLst>
            </p:cNvPr>
            <p:cNvSpPr/>
            <p:nvPr/>
          </p:nvSpPr>
          <p:spPr>
            <a:xfrm>
              <a:off x="1921968" y="4509129"/>
              <a:ext cx="306705" cy="975360"/>
            </a:xfrm>
            <a:custGeom>
              <a:avLst/>
              <a:gdLst/>
              <a:ahLst/>
              <a:cxnLst/>
              <a:rect l="l" t="t" r="r" b="b"/>
              <a:pathLst>
                <a:path w="306705" h="975360">
                  <a:moveTo>
                    <a:pt x="114211" y="596607"/>
                  </a:moveTo>
                  <a:lnTo>
                    <a:pt x="0" y="971918"/>
                  </a:lnTo>
                  <a:lnTo>
                    <a:pt x="3644" y="972527"/>
                  </a:lnTo>
                  <a:lnTo>
                    <a:pt x="7150" y="973607"/>
                  </a:lnTo>
                  <a:lnTo>
                    <a:pt x="10426" y="975080"/>
                  </a:lnTo>
                  <a:lnTo>
                    <a:pt x="124371" y="600671"/>
                  </a:lnTo>
                  <a:lnTo>
                    <a:pt x="114211" y="596607"/>
                  </a:lnTo>
                  <a:close/>
                </a:path>
                <a:path w="306705" h="975360">
                  <a:moveTo>
                    <a:pt x="295770" y="0"/>
                  </a:moveTo>
                  <a:lnTo>
                    <a:pt x="119646" y="578751"/>
                  </a:lnTo>
                  <a:lnTo>
                    <a:pt x="129806" y="582803"/>
                  </a:lnTo>
                  <a:lnTo>
                    <a:pt x="306196" y="3175"/>
                  </a:lnTo>
                  <a:lnTo>
                    <a:pt x="302552" y="2552"/>
                  </a:lnTo>
                  <a:lnTo>
                    <a:pt x="299046" y="1473"/>
                  </a:lnTo>
                  <a:lnTo>
                    <a:pt x="295770" y="0"/>
                  </a:lnTo>
                  <a:close/>
                </a:path>
              </a:pathLst>
            </a:custGeom>
            <a:solidFill>
              <a:srgbClr val="EF3D60">
                <a:alpha val="50999"/>
              </a:srgbClr>
            </a:solidFill>
          </p:spPr>
          <p:txBody>
            <a:bodyPr wrap="square" lIns="0" tIns="0" rIns="0" bIns="0" rtlCol="0"/>
            <a:lstStyle/>
            <a:p>
              <a:endParaRPr sz="2968"/>
            </a:p>
          </p:txBody>
        </p:sp>
        <p:sp>
          <p:nvSpPr>
            <p:cNvPr id="16" name="object 14">
              <a:extLst>
                <a:ext uri="{FF2B5EF4-FFF2-40B4-BE49-F238E27FC236}">
                  <a16:creationId xmlns:a16="http://schemas.microsoft.com/office/drawing/2014/main" id="{3FFA5BAA-E692-8141-98AB-AFA98F584F1F}"/>
                </a:ext>
              </a:extLst>
            </p:cNvPr>
            <p:cNvSpPr/>
            <p:nvPr/>
          </p:nvSpPr>
          <p:spPr>
            <a:xfrm>
              <a:off x="843466" y="4631415"/>
              <a:ext cx="1042669" cy="869315"/>
            </a:xfrm>
            <a:custGeom>
              <a:avLst/>
              <a:gdLst/>
              <a:ahLst/>
              <a:cxnLst/>
              <a:rect l="l" t="t" r="r" b="b"/>
              <a:pathLst>
                <a:path w="1042669" h="869314">
                  <a:moveTo>
                    <a:pt x="6934" y="0"/>
                  </a:moveTo>
                  <a:lnTo>
                    <a:pt x="4953" y="2921"/>
                  </a:lnTo>
                  <a:lnTo>
                    <a:pt x="2628" y="5588"/>
                  </a:lnTo>
                  <a:lnTo>
                    <a:pt x="0" y="7937"/>
                  </a:lnTo>
                  <a:lnTo>
                    <a:pt x="1032306" y="868172"/>
                  </a:lnTo>
                  <a:lnTo>
                    <a:pt x="1034580" y="869048"/>
                  </a:lnTo>
                  <a:lnTo>
                    <a:pt x="1036688" y="865746"/>
                  </a:lnTo>
                  <a:lnTo>
                    <a:pt x="1039241" y="862749"/>
                  </a:lnTo>
                  <a:lnTo>
                    <a:pt x="1042149" y="860132"/>
                  </a:lnTo>
                  <a:lnTo>
                    <a:pt x="12750" y="2324"/>
                  </a:lnTo>
                  <a:lnTo>
                    <a:pt x="6934" y="0"/>
                  </a:lnTo>
                  <a:close/>
                </a:path>
              </a:pathLst>
            </a:custGeom>
            <a:solidFill>
              <a:srgbClr val="EF3D60">
                <a:alpha val="50999"/>
              </a:srgbClr>
            </a:solidFill>
          </p:spPr>
          <p:txBody>
            <a:bodyPr wrap="square" lIns="0" tIns="0" rIns="0" bIns="0" rtlCol="0"/>
            <a:lstStyle/>
            <a:p>
              <a:endParaRPr sz="2968"/>
            </a:p>
          </p:txBody>
        </p:sp>
        <p:sp>
          <p:nvSpPr>
            <p:cNvPr id="17" name="object 15">
              <a:extLst>
                <a:ext uri="{FF2B5EF4-FFF2-40B4-BE49-F238E27FC236}">
                  <a16:creationId xmlns:a16="http://schemas.microsoft.com/office/drawing/2014/main" id="{14A38A62-9B93-DD46-9A9E-1FD70BB1CE6C}"/>
                </a:ext>
              </a:extLst>
            </p:cNvPr>
            <p:cNvSpPr/>
            <p:nvPr/>
          </p:nvSpPr>
          <p:spPr>
            <a:xfrm>
              <a:off x="0" y="4772239"/>
              <a:ext cx="1878330" cy="744220"/>
            </a:xfrm>
            <a:custGeom>
              <a:avLst/>
              <a:gdLst/>
              <a:ahLst/>
              <a:cxnLst/>
              <a:rect l="l" t="t" r="r" b="b"/>
              <a:pathLst>
                <a:path w="1878329" h="744220">
                  <a:moveTo>
                    <a:pt x="0" y="0"/>
                  </a:moveTo>
                  <a:lnTo>
                    <a:pt x="0" y="18391"/>
                  </a:lnTo>
                  <a:lnTo>
                    <a:pt x="1871842" y="744225"/>
                  </a:lnTo>
                  <a:lnTo>
                    <a:pt x="1872833" y="738421"/>
                  </a:lnTo>
                  <a:lnTo>
                    <a:pt x="1874979" y="732998"/>
                  </a:lnTo>
                  <a:lnTo>
                    <a:pt x="1878040" y="728223"/>
                  </a:lnTo>
                  <a:lnTo>
                    <a:pt x="0" y="0"/>
                  </a:lnTo>
                  <a:close/>
                </a:path>
              </a:pathLst>
            </a:custGeom>
            <a:solidFill>
              <a:srgbClr val="EF3D60">
                <a:alpha val="50999"/>
              </a:srgbClr>
            </a:solidFill>
          </p:spPr>
          <p:txBody>
            <a:bodyPr wrap="square" lIns="0" tIns="0" rIns="0" bIns="0" rtlCol="0"/>
            <a:lstStyle/>
            <a:p>
              <a:endParaRPr sz="2968"/>
            </a:p>
          </p:txBody>
        </p:sp>
        <p:sp>
          <p:nvSpPr>
            <p:cNvPr id="18" name="object 16">
              <a:extLst>
                <a:ext uri="{FF2B5EF4-FFF2-40B4-BE49-F238E27FC236}">
                  <a16:creationId xmlns:a16="http://schemas.microsoft.com/office/drawing/2014/main" id="{0B16AAFC-0975-0147-8735-E649C574FBC2}"/>
                </a:ext>
              </a:extLst>
            </p:cNvPr>
            <p:cNvSpPr/>
            <p:nvPr/>
          </p:nvSpPr>
          <p:spPr>
            <a:xfrm>
              <a:off x="1957116" y="5520410"/>
              <a:ext cx="1336040" cy="99060"/>
            </a:xfrm>
            <a:custGeom>
              <a:avLst/>
              <a:gdLst/>
              <a:ahLst/>
              <a:cxnLst/>
              <a:rect l="l" t="t" r="r" b="b"/>
              <a:pathLst>
                <a:path w="1336039" h="99060">
                  <a:moveTo>
                    <a:pt x="800" y="0"/>
                  </a:moveTo>
                  <a:lnTo>
                    <a:pt x="876" y="1130"/>
                  </a:lnTo>
                  <a:lnTo>
                    <a:pt x="927" y="6502"/>
                  </a:lnTo>
                  <a:lnTo>
                    <a:pt x="609" y="9499"/>
                  </a:lnTo>
                  <a:lnTo>
                    <a:pt x="0" y="12395"/>
                  </a:lnTo>
                  <a:lnTo>
                    <a:pt x="1335189" y="98501"/>
                  </a:lnTo>
                  <a:lnTo>
                    <a:pt x="1335062" y="92646"/>
                  </a:lnTo>
                  <a:lnTo>
                    <a:pt x="1335252" y="90284"/>
                  </a:lnTo>
                  <a:lnTo>
                    <a:pt x="1335633" y="87960"/>
                  </a:lnTo>
                  <a:lnTo>
                    <a:pt x="1330032" y="85725"/>
                  </a:lnTo>
                  <a:lnTo>
                    <a:pt x="800" y="0"/>
                  </a:lnTo>
                  <a:close/>
                </a:path>
              </a:pathLst>
            </a:custGeom>
            <a:solidFill>
              <a:srgbClr val="EF3D60">
                <a:alpha val="50999"/>
              </a:srgbClr>
            </a:solidFill>
          </p:spPr>
          <p:txBody>
            <a:bodyPr wrap="square" lIns="0" tIns="0" rIns="0" bIns="0" rtlCol="0"/>
            <a:lstStyle/>
            <a:p>
              <a:endParaRPr sz="2968"/>
            </a:p>
          </p:txBody>
        </p:sp>
        <p:sp>
          <p:nvSpPr>
            <p:cNvPr id="19" name="object 17">
              <a:extLst>
                <a:ext uri="{FF2B5EF4-FFF2-40B4-BE49-F238E27FC236}">
                  <a16:creationId xmlns:a16="http://schemas.microsoft.com/office/drawing/2014/main" id="{48E35781-6FEA-9B4F-90B4-97B572D54FF5}"/>
                </a:ext>
              </a:extLst>
            </p:cNvPr>
            <p:cNvSpPr/>
            <p:nvPr/>
          </p:nvSpPr>
          <p:spPr>
            <a:xfrm>
              <a:off x="3369335" y="4210323"/>
              <a:ext cx="2090420" cy="1389380"/>
            </a:xfrm>
            <a:custGeom>
              <a:avLst/>
              <a:gdLst/>
              <a:ahLst/>
              <a:cxnLst/>
              <a:rect l="l" t="t" r="r" b="b"/>
              <a:pathLst>
                <a:path w="2090420" h="1389379">
                  <a:moveTo>
                    <a:pt x="502030" y="1041044"/>
                  </a:moveTo>
                  <a:lnTo>
                    <a:pt x="12268" y="1364081"/>
                  </a:lnTo>
                  <a:lnTo>
                    <a:pt x="0" y="1377835"/>
                  </a:lnTo>
                  <a:lnTo>
                    <a:pt x="2781" y="1381264"/>
                  </a:lnTo>
                  <a:lnTo>
                    <a:pt x="5041" y="1385125"/>
                  </a:lnTo>
                  <a:lnTo>
                    <a:pt x="6680" y="1389303"/>
                  </a:lnTo>
                  <a:lnTo>
                    <a:pt x="521068" y="1050023"/>
                  </a:lnTo>
                  <a:lnTo>
                    <a:pt x="502030" y="1041044"/>
                  </a:lnTo>
                  <a:close/>
                </a:path>
                <a:path w="2090420" h="1389379">
                  <a:moveTo>
                    <a:pt x="729957" y="890714"/>
                  </a:moveTo>
                  <a:lnTo>
                    <a:pt x="520103" y="1029131"/>
                  </a:lnTo>
                  <a:lnTo>
                    <a:pt x="539127" y="1038110"/>
                  </a:lnTo>
                  <a:lnTo>
                    <a:pt x="743534" y="903287"/>
                  </a:lnTo>
                  <a:lnTo>
                    <a:pt x="729957" y="890714"/>
                  </a:lnTo>
                  <a:close/>
                </a:path>
                <a:path w="2090420" h="1389379">
                  <a:moveTo>
                    <a:pt x="1132751" y="625043"/>
                  </a:moveTo>
                  <a:lnTo>
                    <a:pt x="741730" y="882942"/>
                  </a:lnTo>
                  <a:lnTo>
                    <a:pt x="755307" y="895515"/>
                  </a:lnTo>
                  <a:lnTo>
                    <a:pt x="1136548" y="644055"/>
                  </a:lnTo>
                  <a:lnTo>
                    <a:pt x="1132751" y="625043"/>
                  </a:lnTo>
                  <a:close/>
                </a:path>
                <a:path w="2090420" h="1389379">
                  <a:moveTo>
                    <a:pt x="1174280" y="597636"/>
                  </a:moveTo>
                  <a:lnTo>
                    <a:pt x="1144879" y="617029"/>
                  </a:lnTo>
                  <a:lnTo>
                    <a:pt x="1148676" y="636054"/>
                  </a:lnTo>
                  <a:lnTo>
                    <a:pt x="1177099" y="617308"/>
                  </a:lnTo>
                  <a:lnTo>
                    <a:pt x="1174280" y="597636"/>
                  </a:lnTo>
                  <a:close/>
                </a:path>
                <a:path w="2090420" h="1389379">
                  <a:moveTo>
                    <a:pt x="1287564" y="522922"/>
                  </a:moveTo>
                  <a:lnTo>
                    <a:pt x="1185189" y="590448"/>
                  </a:lnTo>
                  <a:lnTo>
                    <a:pt x="1187996" y="610120"/>
                  </a:lnTo>
                  <a:lnTo>
                    <a:pt x="1287564" y="544449"/>
                  </a:lnTo>
                  <a:lnTo>
                    <a:pt x="1287564" y="522922"/>
                  </a:lnTo>
                  <a:close/>
                </a:path>
                <a:path w="2090420" h="1389379">
                  <a:moveTo>
                    <a:pt x="1503298" y="380619"/>
                  </a:moveTo>
                  <a:lnTo>
                    <a:pt x="1303693" y="512279"/>
                  </a:lnTo>
                  <a:lnTo>
                    <a:pt x="1303693" y="533806"/>
                  </a:lnTo>
                  <a:lnTo>
                    <a:pt x="1519910" y="391198"/>
                  </a:lnTo>
                  <a:lnTo>
                    <a:pt x="1503298" y="380619"/>
                  </a:lnTo>
                  <a:close/>
                </a:path>
                <a:path w="2090420" h="1389379">
                  <a:moveTo>
                    <a:pt x="1627720" y="298564"/>
                  </a:moveTo>
                  <a:lnTo>
                    <a:pt x="1518907" y="370332"/>
                  </a:lnTo>
                  <a:lnTo>
                    <a:pt x="1535518" y="380898"/>
                  </a:lnTo>
                  <a:lnTo>
                    <a:pt x="1643049" y="309968"/>
                  </a:lnTo>
                  <a:lnTo>
                    <a:pt x="1627720" y="298564"/>
                  </a:lnTo>
                  <a:close/>
                </a:path>
                <a:path w="2090420" h="1389379">
                  <a:moveTo>
                    <a:pt x="2080361" y="0"/>
                  </a:moveTo>
                  <a:lnTo>
                    <a:pt x="1644129" y="287731"/>
                  </a:lnTo>
                  <a:lnTo>
                    <a:pt x="1659470" y="299148"/>
                  </a:lnTo>
                  <a:lnTo>
                    <a:pt x="2090254" y="14998"/>
                  </a:lnTo>
                  <a:lnTo>
                    <a:pt x="2085987" y="10782"/>
                  </a:lnTo>
                  <a:lnTo>
                    <a:pt x="2082596" y="5689"/>
                  </a:lnTo>
                  <a:lnTo>
                    <a:pt x="2080361" y="0"/>
                  </a:lnTo>
                  <a:close/>
                </a:path>
              </a:pathLst>
            </a:custGeom>
            <a:solidFill>
              <a:srgbClr val="EF3D60">
                <a:alpha val="50999"/>
              </a:srgbClr>
            </a:solidFill>
          </p:spPr>
          <p:txBody>
            <a:bodyPr wrap="square" lIns="0" tIns="0" rIns="0" bIns="0" rtlCol="0"/>
            <a:lstStyle/>
            <a:p>
              <a:endParaRPr sz="2968"/>
            </a:p>
          </p:txBody>
        </p:sp>
        <p:sp>
          <p:nvSpPr>
            <p:cNvPr id="20" name="object 18">
              <a:extLst>
                <a:ext uri="{FF2B5EF4-FFF2-40B4-BE49-F238E27FC236}">
                  <a16:creationId xmlns:a16="http://schemas.microsoft.com/office/drawing/2014/main" id="{598D2049-8EE0-C54E-AFD8-AFFD9F910255}"/>
                </a:ext>
              </a:extLst>
            </p:cNvPr>
            <p:cNvSpPr/>
            <p:nvPr/>
          </p:nvSpPr>
          <p:spPr>
            <a:xfrm>
              <a:off x="3349943" y="3446970"/>
              <a:ext cx="1301115" cy="2128520"/>
            </a:xfrm>
            <a:custGeom>
              <a:avLst/>
              <a:gdLst/>
              <a:ahLst/>
              <a:cxnLst/>
              <a:rect l="l" t="t" r="r" b="b"/>
              <a:pathLst>
                <a:path w="1301114" h="2128520">
                  <a:moveTo>
                    <a:pt x="267563" y="1684654"/>
                  </a:moveTo>
                  <a:lnTo>
                    <a:pt x="0" y="2127529"/>
                  </a:lnTo>
                  <a:lnTo>
                    <a:pt x="749" y="2127783"/>
                  </a:lnTo>
                  <a:lnTo>
                    <a:pt x="2222" y="2128367"/>
                  </a:lnTo>
                  <a:lnTo>
                    <a:pt x="278028" y="1689582"/>
                  </a:lnTo>
                  <a:lnTo>
                    <a:pt x="267563" y="1684654"/>
                  </a:lnTo>
                  <a:close/>
                </a:path>
                <a:path w="1301114" h="2128520">
                  <a:moveTo>
                    <a:pt x="40881" y="2094483"/>
                  </a:moveTo>
                  <a:lnTo>
                    <a:pt x="37045" y="2100592"/>
                  </a:lnTo>
                  <a:lnTo>
                    <a:pt x="37503" y="2100072"/>
                  </a:lnTo>
                  <a:lnTo>
                    <a:pt x="40881" y="2094483"/>
                  </a:lnTo>
                  <a:close/>
                </a:path>
                <a:path w="1301114" h="2128520">
                  <a:moveTo>
                    <a:pt x="452259" y="1378978"/>
                  </a:moveTo>
                  <a:lnTo>
                    <a:pt x="277177" y="1668754"/>
                  </a:lnTo>
                  <a:lnTo>
                    <a:pt x="287934" y="1673821"/>
                  </a:lnTo>
                  <a:lnTo>
                    <a:pt x="465531" y="1391284"/>
                  </a:lnTo>
                  <a:lnTo>
                    <a:pt x="452259" y="1378978"/>
                  </a:lnTo>
                  <a:close/>
                </a:path>
                <a:path w="1301114" h="2128520">
                  <a:moveTo>
                    <a:pt x="953071" y="550049"/>
                  </a:moveTo>
                  <a:lnTo>
                    <a:pt x="459485" y="1367002"/>
                  </a:lnTo>
                  <a:lnTo>
                    <a:pt x="472909" y="1379423"/>
                  </a:lnTo>
                  <a:lnTo>
                    <a:pt x="954633" y="582104"/>
                  </a:lnTo>
                  <a:lnTo>
                    <a:pt x="952144" y="576618"/>
                  </a:lnTo>
                  <a:lnTo>
                    <a:pt x="950747" y="570534"/>
                  </a:lnTo>
                  <a:lnTo>
                    <a:pt x="950747" y="559193"/>
                  </a:lnTo>
                  <a:lnTo>
                    <a:pt x="951572" y="554469"/>
                  </a:lnTo>
                  <a:lnTo>
                    <a:pt x="953071" y="550049"/>
                  </a:lnTo>
                  <a:close/>
                </a:path>
                <a:path w="1301114" h="2128520">
                  <a:moveTo>
                    <a:pt x="1285405" y="0"/>
                  </a:moveTo>
                  <a:lnTo>
                    <a:pt x="962583" y="534314"/>
                  </a:lnTo>
                  <a:lnTo>
                    <a:pt x="968637" y="528987"/>
                  </a:lnTo>
                  <a:lnTo>
                    <a:pt x="975609" y="524849"/>
                  </a:lnTo>
                  <a:lnTo>
                    <a:pt x="983345" y="522059"/>
                  </a:lnTo>
                  <a:lnTo>
                    <a:pt x="991692" y="520776"/>
                  </a:lnTo>
                  <a:lnTo>
                    <a:pt x="1300746" y="9258"/>
                  </a:lnTo>
                  <a:lnTo>
                    <a:pt x="1294980" y="7251"/>
                  </a:lnTo>
                  <a:lnTo>
                    <a:pt x="1289773" y="4076"/>
                  </a:lnTo>
                  <a:lnTo>
                    <a:pt x="1285405" y="0"/>
                  </a:lnTo>
                  <a:close/>
                </a:path>
              </a:pathLst>
            </a:custGeom>
            <a:solidFill>
              <a:srgbClr val="EF3D60">
                <a:alpha val="50999"/>
              </a:srgbClr>
            </a:solidFill>
          </p:spPr>
          <p:txBody>
            <a:bodyPr wrap="square" lIns="0" tIns="0" rIns="0" bIns="0" rtlCol="0"/>
            <a:lstStyle/>
            <a:p>
              <a:endParaRPr sz="2968"/>
            </a:p>
          </p:txBody>
        </p:sp>
        <p:sp>
          <p:nvSpPr>
            <p:cNvPr id="21" name="object 19">
              <a:extLst>
                <a:ext uri="{FF2B5EF4-FFF2-40B4-BE49-F238E27FC236}">
                  <a16:creationId xmlns:a16="http://schemas.microsoft.com/office/drawing/2014/main" id="{9E0E4177-217B-5F4C-BB6A-235CB94506B7}"/>
                </a:ext>
              </a:extLst>
            </p:cNvPr>
            <p:cNvSpPr/>
            <p:nvPr/>
          </p:nvSpPr>
          <p:spPr>
            <a:xfrm>
              <a:off x="3364591" y="4359318"/>
              <a:ext cx="1094105" cy="1229360"/>
            </a:xfrm>
            <a:custGeom>
              <a:avLst/>
              <a:gdLst/>
              <a:ahLst/>
              <a:cxnLst/>
              <a:rect l="l" t="t" r="r" b="b"/>
              <a:pathLst>
                <a:path w="1094104" h="1229360">
                  <a:moveTo>
                    <a:pt x="352018" y="819048"/>
                  </a:moveTo>
                  <a:lnTo>
                    <a:pt x="22390" y="1188250"/>
                  </a:lnTo>
                  <a:lnTo>
                    <a:pt x="0" y="1223860"/>
                  </a:lnTo>
                  <a:lnTo>
                    <a:pt x="1714" y="1225397"/>
                  </a:lnTo>
                  <a:lnTo>
                    <a:pt x="3302" y="1227061"/>
                  </a:lnTo>
                  <a:lnTo>
                    <a:pt x="4749" y="1228839"/>
                  </a:lnTo>
                  <a:lnTo>
                    <a:pt x="365099" y="825220"/>
                  </a:lnTo>
                  <a:lnTo>
                    <a:pt x="352018" y="819048"/>
                  </a:lnTo>
                  <a:close/>
                </a:path>
                <a:path w="1094104" h="1229360">
                  <a:moveTo>
                    <a:pt x="563003" y="582739"/>
                  </a:moveTo>
                  <a:lnTo>
                    <a:pt x="364858" y="804672"/>
                  </a:lnTo>
                  <a:lnTo>
                    <a:pt x="377952" y="810844"/>
                  </a:lnTo>
                  <a:lnTo>
                    <a:pt x="573176" y="592162"/>
                  </a:lnTo>
                  <a:lnTo>
                    <a:pt x="563003" y="582739"/>
                  </a:lnTo>
                  <a:close/>
                </a:path>
                <a:path w="1094104" h="1229360">
                  <a:moveTo>
                    <a:pt x="1049794" y="37515"/>
                  </a:moveTo>
                  <a:lnTo>
                    <a:pt x="572135" y="572516"/>
                  </a:lnTo>
                  <a:lnTo>
                    <a:pt x="582307" y="581939"/>
                  </a:lnTo>
                  <a:lnTo>
                    <a:pt x="1053198" y="54533"/>
                  </a:lnTo>
                  <a:lnTo>
                    <a:pt x="1049794" y="37515"/>
                  </a:lnTo>
                  <a:close/>
                </a:path>
                <a:path w="1094104" h="1229360">
                  <a:moveTo>
                    <a:pt x="1083271" y="0"/>
                  </a:moveTo>
                  <a:lnTo>
                    <a:pt x="1061008" y="24955"/>
                  </a:lnTo>
                  <a:lnTo>
                    <a:pt x="1064412" y="41973"/>
                  </a:lnTo>
                  <a:lnTo>
                    <a:pt x="1093622" y="9245"/>
                  </a:lnTo>
                  <a:lnTo>
                    <a:pt x="1089685" y="6743"/>
                  </a:lnTo>
                  <a:lnTo>
                    <a:pt x="1086205" y="3606"/>
                  </a:lnTo>
                  <a:lnTo>
                    <a:pt x="1083271" y="0"/>
                  </a:lnTo>
                  <a:close/>
                </a:path>
              </a:pathLst>
            </a:custGeom>
            <a:solidFill>
              <a:srgbClr val="EF3D60">
                <a:alpha val="50999"/>
              </a:srgbClr>
            </a:solidFill>
          </p:spPr>
          <p:txBody>
            <a:bodyPr wrap="square" lIns="0" tIns="0" rIns="0" bIns="0" rtlCol="0"/>
            <a:lstStyle/>
            <a:p>
              <a:endParaRPr sz="2968"/>
            </a:p>
          </p:txBody>
        </p:sp>
        <p:sp>
          <p:nvSpPr>
            <p:cNvPr id="22" name="object 20">
              <a:extLst>
                <a:ext uri="{FF2B5EF4-FFF2-40B4-BE49-F238E27FC236}">
                  <a16:creationId xmlns:a16="http://schemas.microsoft.com/office/drawing/2014/main" id="{44DAF7A3-E342-024D-A57E-79885248A44D}"/>
                </a:ext>
              </a:extLst>
            </p:cNvPr>
            <p:cNvSpPr/>
            <p:nvPr/>
          </p:nvSpPr>
          <p:spPr>
            <a:xfrm>
              <a:off x="3333543" y="4511992"/>
              <a:ext cx="95885" cy="1061085"/>
            </a:xfrm>
            <a:custGeom>
              <a:avLst/>
              <a:gdLst/>
              <a:ahLst/>
              <a:cxnLst/>
              <a:rect l="l" t="t" r="r" b="b"/>
              <a:pathLst>
                <a:path w="95885" h="1061085">
                  <a:moveTo>
                    <a:pt x="11136" y="1060068"/>
                  </a:moveTo>
                  <a:lnTo>
                    <a:pt x="5143" y="1060068"/>
                  </a:lnTo>
                  <a:lnTo>
                    <a:pt x="8166" y="1060399"/>
                  </a:lnTo>
                  <a:lnTo>
                    <a:pt x="11061" y="1061008"/>
                  </a:lnTo>
                  <a:lnTo>
                    <a:pt x="11136" y="1060068"/>
                  </a:lnTo>
                  <a:close/>
                </a:path>
                <a:path w="95885" h="1061085">
                  <a:moveTo>
                    <a:pt x="44272" y="506564"/>
                  </a:moveTo>
                  <a:lnTo>
                    <a:pt x="0" y="1060119"/>
                  </a:lnTo>
                  <a:lnTo>
                    <a:pt x="1358" y="1060068"/>
                  </a:lnTo>
                  <a:lnTo>
                    <a:pt x="11136" y="1060068"/>
                  </a:lnTo>
                  <a:lnTo>
                    <a:pt x="55016" y="511632"/>
                  </a:lnTo>
                  <a:lnTo>
                    <a:pt x="44272" y="506564"/>
                  </a:lnTo>
                  <a:close/>
                </a:path>
                <a:path w="95885" h="1061085">
                  <a:moveTo>
                    <a:pt x="84797" y="0"/>
                  </a:moveTo>
                  <a:lnTo>
                    <a:pt x="45846" y="486879"/>
                  </a:lnTo>
                  <a:lnTo>
                    <a:pt x="56591" y="491947"/>
                  </a:lnTo>
                  <a:lnTo>
                    <a:pt x="95868" y="927"/>
                  </a:lnTo>
                  <a:lnTo>
                    <a:pt x="90665" y="927"/>
                  </a:lnTo>
                  <a:lnTo>
                    <a:pt x="87680" y="609"/>
                  </a:lnTo>
                  <a:lnTo>
                    <a:pt x="84797" y="0"/>
                  </a:lnTo>
                  <a:close/>
                </a:path>
                <a:path w="95885" h="1061085">
                  <a:moveTo>
                    <a:pt x="95872" y="876"/>
                  </a:moveTo>
                  <a:lnTo>
                    <a:pt x="94449" y="927"/>
                  </a:lnTo>
                  <a:lnTo>
                    <a:pt x="95868" y="927"/>
                  </a:lnTo>
                  <a:close/>
                </a:path>
              </a:pathLst>
            </a:custGeom>
            <a:solidFill>
              <a:srgbClr val="EF3D60">
                <a:alpha val="50999"/>
              </a:srgbClr>
            </a:solidFill>
          </p:spPr>
          <p:txBody>
            <a:bodyPr wrap="square" lIns="0" tIns="0" rIns="0" bIns="0" rtlCol="0"/>
            <a:lstStyle/>
            <a:p>
              <a:endParaRPr sz="2968"/>
            </a:p>
          </p:txBody>
        </p:sp>
        <p:sp>
          <p:nvSpPr>
            <p:cNvPr id="23" name="object 21">
              <a:extLst>
                <a:ext uri="{FF2B5EF4-FFF2-40B4-BE49-F238E27FC236}">
                  <a16:creationId xmlns:a16="http://schemas.microsoft.com/office/drawing/2014/main" id="{B983349E-928F-0F4F-9343-DF714075B715}"/>
                </a:ext>
              </a:extLst>
            </p:cNvPr>
            <p:cNvSpPr/>
            <p:nvPr/>
          </p:nvSpPr>
          <p:spPr>
            <a:xfrm>
              <a:off x="2260459" y="4495961"/>
              <a:ext cx="1050290" cy="1093470"/>
            </a:xfrm>
            <a:custGeom>
              <a:avLst/>
              <a:gdLst/>
              <a:ahLst/>
              <a:cxnLst/>
              <a:rect l="l" t="t" r="r" b="b"/>
              <a:pathLst>
                <a:path w="1050289" h="1093470">
                  <a:moveTo>
                    <a:pt x="9474" y="0"/>
                  </a:moveTo>
                  <a:lnTo>
                    <a:pt x="6794" y="3479"/>
                  </a:lnTo>
                  <a:lnTo>
                    <a:pt x="3594" y="6540"/>
                  </a:lnTo>
                  <a:lnTo>
                    <a:pt x="0" y="9080"/>
                  </a:lnTo>
                  <a:lnTo>
                    <a:pt x="1040650" y="1093127"/>
                  </a:lnTo>
                  <a:lnTo>
                    <a:pt x="1043343" y="1089621"/>
                  </a:lnTo>
                  <a:lnTo>
                    <a:pt x="1046568" y="1086535"/>
                  </a:lnTo>
                  <a:lnTo>
                    <a:pt x="1050188" y="1083983"/>
                  </a:lnTo>
                  <a:lnTo>
                    <a:pt x="9740" y="126"/>
                  </a:lnTo>
                  <a:lnTo>
                    <a:pt x="9474" y="0"/>
                  </a:lnTo>
                  <a:close/>
                </a:path>
              </a:pathLst>
            </a:custGeom>
            <a:solidFill>
              <a:srgbClr val="EF3D60">
                <a:alpha val="50999"/>
              </a:srgbClr>
            </a:solidFill>
          </p:spPr>
          <p:txBody>
            <a:bodyPr wrap="square" lIns="0" tIns="0" rIns="0" bIns="0" rtlCol="0"/>
            <a:lstStyle/>
            <a:p>
              <a:endParaRPr sz="2968"/>
            </a:p>
          </p:txBody>
        </p:sp>
        <p:sp>
          <p:nvSpPr>
            <p:cNvPr id="24" name="object 22">
              <a:extLst>
                <a:ext uri="{FF2B5EF4-FFF2-40B4-BE49-F238E27FC236}">
                  <a16:creationId xmlns:a16="http://schemas.microsoft.com/office/drawing/2014/main" id="{0CA452B0-255F-C149-99E2-7702590D7910}"/>
                </a:ext>
              </a:extLst>
            </p:cNvPr>
            <p:cNvSpPr/>
            <p:nvPr/>
          </p:nvSpPr>
          <p:spPr>
            <a:xfrm>
              <a:off x="850403" y="4614142"/>
              <a:ext cx="2449830" cy="994410"/>
            </a:xfrm>
            <a:custGeom>
              <a:avLst/>
              <a:gdLst/>
              <a:ahLst/>
              <a:cxnLst/>
              <a:rect l="l" t="t" r="r" b="b"/>
              <a:pathLst>
                <a:path w="2449829" h="994410">
                  <a:moveTo>
                    <a:pt x="6908" y="0"/>
                  </a:moveTo>
                  <a:lnTo>
                    <a:pt x="5867" y="6324"/>
                  </a:lnTo>
                  <a:lnTo>
                    <a:pt x="3467" y="12179"/>
                  </a:lnTo>
                  <a:lnTo>
                    <a:pt x="0" y="17271"/>
                  </a:lnTo>
                  <a:lnTo>
                    <a:pt x="2442349" y="994232"/>
                  </a:lnTo>
                  <a:lnTo>
                    <a:pt x="2443391" y="987907"/>
                  </a:lnTo>
                  <a:lnTo>
                    <a:pt x="2445804" y="982052"/>
                  </a:lnTo>
                  <a:lnTo>
                    <a:pt x="2449258" y="976960"/>
                  </a:lnTo>
                  <a:lnTo>
                    <a:pt x="6908" y="0"/>
                  </a:lnTo>
                  <a:close/>
                </a:path>
              </a:pathLst>
            </a:custGeom>
            <a:solidFill>
              <a:srgbClr val="EF3D60">
                <a:alpha val="50999"/>
              </a:srgbClr>
            </a:solidFill>
          </p:spPr>
          <p:txBody>
            <a:bodyPr wrap="square" lIns="0" tIns="0" rIns="0" bIns="0" rtlCol="0"/>
            <a:lstStyle/>
            <a:p>
              <a:endParaRPr sz="2968"/>
            </a:p>
          </p:txBody>
        </p:sp>
        <p:sp>
          <p:nvSpPr>
            <p:cNvPr id="25" name="object 23">
              <a:extLst>
                <a:ext uri="{FF2B5EF4-FFF2-40B4-BE49-F238E27FC236}">
                  <a16:creationId xmlns:a16="http://schemas.microsoft.com/office/drawing/2014/main" id="{F5603647-A314-E04C-AAB0-ADDF1FA1C2CF}"/>
                </a:ext>
              </a:extLst>
            </p:cNvPr>
            <p:cNvSpPr/>
            <p:nvPr/>
          </p:nvSpPr>
          <p:spPr>
            <a:xfrm>
              <a:off x="3352165" y="4043403"/>
              <a:ext cx="975360" cy="1539875"/>
            </a:xfrm>
            <a:custGeom>
              <a:avLst/>
              <a:gdLst/>
              <a:ahLst/>
              <a:cxnLst/>
              <a:rect l="l" t="t" r="r" b="b"/>
              <a:pathLst>
                <a:path w="975360" h="1539875">
                  <a:moveTo>
                    <a:pt x="275805" y="1093152"/>
                  </a:moveTo>
                  <a:lnTo>
                    <a:pt x="0" y="1531937"/>
                  </a:lnTo>
                  <a:lnTo>
                    <a:pt x="4597" y="1533842"/>
                  </a:lnTo>
                  <a:lnTo>
                    <a:pt x="8788" y="1536496"/>
                  </a:lnTo>
                  <a:lnTo>
                    <a:pt x="12433" y="1539773"/>
                  </a:lnTo>
                  <a:lnTo>
                    <a:pt x="289191" y="1099464"/>
                  </a:lnTo>
                  <a:lnTo>
                    <a:pt x="275805" y="1093152"/>
                  </a:lnTo>
                  <a:close/>
                </a:path>
                <a:path w="975360" h="1539875">
                  <a:moveTo>
                    <a:pt x="463308" y="794842"/>
                  </a:moveTo>
                  <a:lnTo>
                    <a:pt x="285711" y="1077391"/>
                  </a:lnTo>
                  <a:lnTo>
                    <a:pt x="299084" y="1083703"/>
                  </a:lnTo>
                  <a:lnTo>
                    <a:pt x="474268" y="805002"/>
                  </a:lnTo>
                  <a:lnTo>
                    <a:pt x="463308" y="794842"/>
                  </a:lnTo>
                  <a:close/>
                </a:path>
                <a:path w="975360" h="1539875">
                  <a:moveTo>
                    <a:pt x="962939" y="0"/>
                  </a:moveTo>
                  <a:lnTo>
                    <a:pt x="470738" y="783043"/>
                  </a:lnTo>
                  <a:lnTo>
                    <a:pt x="481685" y="793191"/>
                  </a:lnTo>
                  <a:lnTo>
                    <a:pt x="975334" y="7810"/>
                  </a:lnTo>
                  <a:lnTo>
                    <a:pt x="970749" y="5918"/>
                  </a:lnTo>
                  <a:lnTo>
                    <a:pt x="966571" y="3251"/>
                  </a:lnTo>
                  <a:lnTo>
                    <a:pt x="962939" y="0"/>
                  </a:lnTo>
                  <a:close/>
                </a:path>
              </a:pathLst>
            </a:custGeom>
            <a:solidFill>
              <a:srgbClr val="EF3D60">
                <a:alpha val="50999"/>
              </a:srgbClr>
            </a:solidFill>
          </p:spPr>
          <p:txBody>
            <a:bodyPr wrap="square" lIns="0" tIns="0" rIns="0" bIns="0" rtlCol="0"/>
            <a:lstStyle/>
            <a:p>
              <a:endParaRPr sz="2968"/>
            </a:p>
          </p:txBody>
        </p:sp>
        <p:sp>
          <p:nvSpPr>
            <p:cNvPr id="26" name="object 24">
              <a:extLst>
                <a:ext uri="{FF2B5EF4-FFF2-40B4-BE49-F238E27FC236}">
                  <a16:creationId xmlns:a16="http://schemas.microsoft.com/office/drawing/2014/main" id="{787CE57B-0BD3-8547-9A4E-554F9E788CBE}"/>
                </a:ext>
              </a:extLst>
            </p:cNvPr>
            <p:cNvSpPr/>
            <p:nvPr/>
          </p:nvSpPr>
          <p:spPr>
            <a:xfrm>
              <a:off x="3378762" y="5620301"/>
              <a:ext cx="1243330" cy="0"/>
            </a:xfrm>
            <a:custGeom>
              <a:avLst/>
              <a:gdLst/>
              <a:ahLst/>
              <a:cxnLst/>
              <a:rect l="l" t="t" r="r" b="b"/>
              <a:pathLst>
                <a:path w="1243329">
                  <a:moveTo>
                    <a:pt x="0" y="0"/>
                  </a:moveTo>
                  <a:lnTo>
                    <a:pt x="1243030" y="0"/>
                  </a:lnTo>
                </a:path>
              </a:pathLst>
            </a:custGeom>
            <a:ln w="3175">
              <a:solidFill>
                <a:srgbClr val="EF3D60"/>
              </a:solidFill>
            </a:ln>
          </p:spPr>
          <p:txBody>
            <a:bodyPr wrap="square" lIns="0" tIns="0" rIns="0" bIns="0" rtlCol="0"/>
            <a:lstStyle/>
            <a:p>
              <a:endParaRPr sz="2968"/>
            </a:p>
          </p:txBody>
        </p:sp>
        <p:sp>
          <p:nvSpPr>
            <p:cNvPr id="27" name="object 25">
              <a:extLst>
                <a:ext uri="{FF2B5EF4-FFF2-40B4-BE49-F238E27FC236}">
                  <a16:creationId xmlns:a16="http://schemas.microsoft.com/office/drawing/2014/main" id="{3A442346-9B87-584F-A3BE-45057A453C00}"/>
                </a:ext>
              </a:extLst>
            </p:cNvPr>
            <p:cNvSpPr/>
            <p:nvPr/>
          </p:nvSpPr>
          <p:spPr>
            <a:xfrm>
              <a:off x="3378951" y="5618396"/>
              <a:ext cx="1242695" cy="0"/>
            </a:xfrm>
            <a:custGeom>
              <a:avLst/>
              <a:gdLst/>
              <a:ahLst/>
              <a:cxnLst/>
              <a:rect l="l" t="t" r="r" b="b"/>
              <a:pathLst>
                <a:path w="1242695">
                  <a:moveTo>
                    <a:pt x="0" y="0"/>
                  </a:moveTo>
                  <a:lnTo>
                    <a:pt x="1242651" y="0"/>
                  </a:lnTo>
                </a:path>
              </a:pathLst>
            </a:custGeom>
            <a:ln w="3175">
              <a:solidFill>
                <a:srgbClr val="EF3D60"/>
              </a:solidFill>
            </a:ln>
          </p:spPr>
          <p:txBody>
            <a:bodyPr wrap="square" lIns="0" tIns="0" rIns="0" bIns="0" rtlCol="0"/>
            <a:lstStyle/>
            <a:p>
              <a:endParaRPr sz="2968"/>
            </a:p>
          </p:txBody>
        </p:sp>
        <p:sp>
          <p:nvSpPr>
            <p:cNvPr id="28" name="object 26">
              <a:extLst>
                <a:ext uri="{FF2B5EF4-FFF2-40B4-BE49-F238E27FC236}">
                  <a16:creationId xmlns:a16="http://schemas.microsoft.com/office/drawing/2014/main" id="{E1FD870E-2F9D-9F4A-9764-EB89EA587018}"/>
                </a:ext>
              </a:extLst>
            </p:cNvPr>
            <p:cNvSpPr/>
            <p:nvPr/>
          </p:nvSpPr>
          <p:spPr>
            <a:xfrm>
              <a:off x="3379012" y="5615221"/>
              <a:ext cx="1242695" cy="0"/>
            </a:xfrm>
            <a:custGeom>
              <a:avLst/>
              <a:gdLst/>
              <a:ahLst/>
              <a:cxnLst/>
              <a:rect l="l" t="t" r="r" b="b"/>
              <a:pathLst>
                <a:path w="1242695">
                  <a:moveTo>
                    <a:pt x="0" y="0"/>
                  </a:moveTo>
                  <a:lnTo>
                    <a:pt x="1242529" y="0"/>
                  </a:lnTo>
                </a:path>
              </a:pathLst>
            </a:custGeom>
            <a:ln w="3809">
              <a:solidFill>
                <a:srgbClr val="EF3D60"/>
              </a:solidFill>
            </a:ln>
          </p:spPr>
          <p:txBody>
            <a:bodyPr wrap="square" lIns="0" tIns="0" rIns="0" bIns="0" rtlCol="0"/>
            <a:lstStyle/>
            <a:p>
              <a:endParaRPr sz="2968"/>
            </a:p>
          </p:txBody>
        </p:sp>
        <p:sp>
          <p:nvSpPr>
            <p:cNvPr id="29" name="object 27">
              <a:extLst>
                <a:ext uri="{FF2B5EF4-FFF2-40B4-BE49-F238E27FC236}">
                  <a16:creationId xmlns:a16="http://schemas.microsoft.com/office/drawing/2014/main" id="{2A7277FE-F592-654E-939D-852597E7DDFC}"/>
                </a:ext>
              </a:extLst>
            </p:cNvPr>
            <p:cNvSpPr/>
            <p:nvPr/>
          </p:nvSpPr>
          <p:spPr>
            <a:xfrm>
              <a:off x="3378958" y="5612681"/>
              <a:ext cx="1242695" cy="0"/>
            </a:xfrm>
            <a:custGeom>
              <a:avLst/>
              <a:gdLst/>
              <a:ahLst/>
              <a:cxnLst/>
              <a:rect l="l" t="t" r="r" b="b"/>
              <a:pathLst>
                <a:path w="1242695">
                  <a:moveTo>
                    <a:pt x="0" y="0"/>
                  </a:moveTo>
                  <a:lnTo>
                    <a:pt x="1242638" y="0"/>
                  </a:lnTo>
                </a:path>
              </a:pathLst>
            </a:custGeom>
            <a:ln w="3175">
              <a:solidFill>
                <a:srgbClr val="EF3D60"/>
              </a:solidFill>
            </a:ln>
          </p:spPr>
          <p:txBody>
            <a:bodyPr wrap="square" lIns="0" tIns="0" rIns="0" bIns="0" rtlCol="0"/>
            <a:lstStyle/>
            <a:p>
              <a:endParaRPr sz="2968"/>
            </a:p>
          </p:txBody>
        </p:sp>
        <p:sp>
          <p:nvSpPr>
            <p:cNvPr id="30" name="object 28">
              <a:extLst>
                <a:ext uri="{FF2B5EF4-FFF2-40B4-BE49-F238E27FC236}">
                  <a16:creationId xmlns:a16="http://schemas.microsoft.com/office/drawing/2014/main" id="{B64CE7CF-D16E-094F-ADBD-209E3DF619EB}"/>
                </a:ext>
              </a:extLst>
            </p:cNvPr>
            <p:cNvSpPr/>
            <p:nvPr/>
          </p:nvSpPr>
          <p:spPr>
            <a:xfrm>
              <a:off x="3378779" y="5610776"/>
              <a:ext cx="1243330" cy="0"/>
            </a:xfrm>
            <a:custGeom>
              <a:avLst/>
              <a:gdLst/>
              <a:ahLst/>
              <a:cxnLst/>
              <a:rect l="l" t="t" r="r" b="b"/>
              <a:pathLst>
                <a:path w="1243329">
                  <a:moveTo>
                    <a:pt x="0" y="0"/>
                  </a:moveTo>
                  <a:lnTo>
                    <a:pt x="1242996" y="0"/>
                  </a:lnTo>
                </a:path>
              </a:pathLst>
            </a:custGeom>
            <a:ln w="3175">
              <a:solidFill>
                <a:srgbClr val="EF3D60"/>
              </a:solidFill>
            </a:ln>
          </p:spPr>
          <p:txBody>
            <a:bodyPr wrap="square" lIns="0" tIns="0" rIns="0" bIns="0" rtlCol="0"/>
            <a:lstStyle/>
            <a:p>
              <a:endParaRPr sz="2968"/>
            </a:p>
          </p:txBody>
        </p:sp>
        <p:sp>
          <p:nvSpPr>
            <p:cNvPr id="31" name="object 29">
              <a:extLst>
                <a:ext uri="{FF2B5EF4-FFF2-40B4-BE49-F238E27FC236}">
                  <a16:creationId xmlns:a16="http://schemas.microsoft.com/office/drawing/2014/main" id="{838D775B-8DF3-8B43-A672-D01AD30B1AC3}"/>
                </a:ext>
              </a:extLst>
            </p:cNvPr>
            <p:cNvSpPr/>
            <p:nvPr/>
          </p:nvSpPr>
          <p:spPr>
            <a:xfrm>
              <a:off x="4705336" y="5158054"/>
              <a:ext cx="2074545" cy="450850"/>
            </a:xfrm>
            <a:custGeom>
              <a:avLst/>
              <a:gdLst/>
              <a:ahLst/>
              <a:cxnLst/>
              <a:rect l="l" t="t" r="r" b="b"/>
              <a:pathLst>
                <a:path w="2074545" h="450850">
                  <a:moveTo>
                    <a:pt x="1312125" y="161404"/>
                  </a:moveTo>
                  <a:lnTo>
                    <a:pt x="1854" y="440194"/>
                  </a:lnTo>
                  <a:lnTo>
                    <a:pt x="0" y="441439"/>
                  </a:lnTo>
                  <a:lnTo>
                    <a:pt x="1104" y="444233"/>
                  </a:lnTo>
                  <a:lnTo>
                    <a:pt x="1943" y="447192"/>
                  </a:lnTo>
                  <a:lnTo>
                    <a:pt x="2451" y="450240"/>
                  </a:lnTo>
                  <a:lnTo>
                    <a:pt x="32321" y="450240"/>
                  </a:lnTo>
                  <a:lnTo>
                    <a:pt x="1331595" y="173799"/>
                  </a:lnTo>
                  <a:lnTo>
                    <a:pt x="1312125" y="161404"/>
                  </a:lnTo>
                  <a:close/>
                </a:path>
                <a:path w="2074545" h="450850">
                  <a:moveTo>
                    <a:pt x="1365097" y="150139"/>
                  </a:moveTo>
                  <a:lnTo>
                    <a:pt x="1335951" y="156337"/>
                  </a:lnTo>
                  <a:lnTo>
                    <a:pt x="1355420" y="168732"/>
                  </a:lnTo>
                  <a:lnTo>
                    <a:pt x="1382369" y="162991"/>
                  </a:lnTo>
                  <a:lnTo>
                    <a:pt x="1365097" y="150139"/>
                  </a:lnTo>
                  <a:close/>
                </a:path>
                <a:path w="2074545" h="450850">
                  <a:moveTo>
                    <a:pt x="1540179" y="112877"/>
                  </a:moveTo>
                  <a:lnTo>
                    <a:pt x="1389138" y="145021"/>
                  </a:lnTo>
                  <a:lnTo>
                    <a:pt x="1406398" y="157873"/>
                  </a:lnTo>
                  <a:lnTo>
                    <a:pt x="1550377" y="127254"/>
                  </a:lnTo>
                  <a:lnTo>
                    <a:pt x="1540179" y="112877"/>
                  </a:lnTo>
                  <a:close/>
                </a:path>
                <a:path w="2074545" h="450850">
                  <a:moveTo>
                    <a:pt x="1584972" y="103352"/>
                  </a:moveTo>
                  <a:lnTo>
                    <a:pt x="1555013" y="109728"/>
                  </a:lnTo>
                  <a:lnTo>
                    <a:pt x="1565198" y="124091"/>
                  </a:lnTo>
                  <a:lnTo>
                    <a:pt x="1593329" y="118110"/>
                  </a:lnTo>
                  <a:lnTo>
                    <a:pt x="1584972" y="103352"/>
                  </a:lnTo>
                  <a:close/>
                </a:path>
                <a:path w="2074545" h="450850">
                  <a:moveTo>
                    <a:pt x="1901342" y="36042"/>
                  </a:moveTo>
                  <a:lnTo>
                    <a:pt x="1598485" y="100469"/>
                  </a:lnTo>
                  <a:lnTo>
                    <a:pt x="1606842" y="115227"/>
                  </a:lnTo>
                  <a:lnTo>
                    <a:pt x="1896554" y="53594"/>
                  </a:lnTo>
                  <a:lnTo>
                    <a:pt x="1901342" y="36042"/>
                  </a:lnTo>
                  <a:close/>
                </a:path>
                <a:path w="2074545" h="450850">
                  <a:moveTo>
                    <a:pt x="2070722" y="0"/>
                  </a:moveTo>
                  <a:lnTo>
                    <a:pt x="1915756" y="32969"/>
                  </a:lnTo>
                  <a:lnTo>
                    <a:pt x="1910969" y="50520"/>
                  </a:lnTo>
                  <a:lnTo>
                    <a:pt x="2074062" y="15824"/>
                  </a:lnTo>
                  <a:lnTo>
                    <a:pt x="2072017" y="10934"/>
                  </a:lnTo>
                  <a:lnTo>
                    <a:pt x="2070836" y="5600"/>
                  </a:lnTo>
                  <a:lnTo>
                    <a:pt x="2070722" y="0"/>
                  </a:lnTo>
                  <a:close/>
                </a:path>
              </a:pathLst>
            </a:custGeom>
            <a:solidFill>
              <a:srgbClr val="EF3D60">
                <a:alpha val="50999"/>
              </a:srgbClr>
            </a:solidFill>
          </p:spPr>
          <p:txBody>
            <a:bodyPr wrap="square" lIns="0" tIns="0" rIns="0" bIns="0" rtlCol="0"/>
            <a:lstStyle/>
            <a:p>
              <a:endParaRPr sz="2968"/>
            </a:p>
          </p:txBody>
        </p:sp>
        <p:sp>
          <p:nvSpPr>
            <p:cNvPr id="32" name="object 30">
              <a:extLst>
                <a:ext uri="{FF2B5EF4-FFF2-40B4-BE49-F238E27FC236}">
                  <a16:creationId xmlns:a16="http://schemas.microsoft.com/office/drawing/2014/main" id="{270BB310-9FEF-274C-BA5D-9B50E578B419}"/>
                </a:ext>
              </a:extLst>
            </p:cNvPr>
            <p:cNvSpPr/>
            <p:nvPr/>
          </p:nvSpPr>
          <p:spPr>
            <a:xfrm>
              <a:off x="4680717" y="4228129"/>
              <a:ext cx="793750" cy="1349375"/>
            </a:xfrm>
            <a:custGeom>
              <a:avLst/>
              <a:gdLst/>
              <a:ahLst/>
              <a:cxnLst/>
              <a:rect l="l" t="t" r="r" b="b"/>
              <a:pathLst>
                <a:path w="793750" h="1349375">
                  <a:moveTo>
                    <a:pt x="468985" y="539127"/>
                  </a:moveTo>
                  <a:lnTo>
                    <a:pt x="0" y="1346885"/>
                  </a:lnTo>
                  <a:lnTo>
                    <a:pt x="1663" y="1347533"/>
                  </a:lnTo>
                  <a:lnTo>
                    <a:pt x="3263" y="1348270"/>
                  </a:lnTo>
                  <a:lnTo>
                    <a:pt x="4825" y="1349108"/>
                  </a:lnTo>
                  <a:lnTo>
                    <a:pt x="43865" y="1298194"/>
                  </a:lnTo>
                  <a:lnTo>
                    <a:pt x="480377" y="546379"/>
                  </a:lnTo>
                  <a:lnTo>
                    <a:pt x="468985" y="539127"/>
                  </a:lnTo>
                  <a:close/>
                </a:path>
                <a:path w="793750" h="1349375">
                  <a:moveTo>
                    <a:pt x="527634" y="438099"/>
                  </a:moveTo>
                  <a:lnTo>
                    <a:pt x="477558" y="524357"/>
                  </a:lnTo>
                  <a:lnTo>
                    <a:pt x="488950" y="531609"/>
                  </a:lnTo>
                  <a:lnTo>
                    <a:pt x="538530" y="446214"/>
                  </a:lnTo>
                  <a:lnTo>
                    <a:pt x="527634" y="438099"/>
                  </a:lnTo>
                  <a:close/>
                </a:path>
                <a:path w="793750" h="1349375">
                  <a:moveTo>
                    <a:pt x="782002" y="0"/>
                  </a:moveTo>
                  <a:lnTo>
                    <a:pt x="536981" y="422020"/>
                  </a:lnTo>
                  <a:lnTo>
                    <a:pt x="547878" y="430123"/>
                  </a:lnTo>
                  <a:lnTo>
                    <a:pt x="793648" y="6794"/>
                  </a:lnTo>
                  <a:lnTo>
                    <a:pt x="789406" y="5143"/>
                  </a:lnTo>
                  <a:lnTo>
                    <a:pt x="785482" y="2832"/>
                  </a:lnTo>
                  <a:lnTo>
                    <a:pt x="782002" y="0"/>
                  </a:lnTo>
                  <a:close/>
                </a:path>
              </a:pathLst>
            </a:custGeom>
            <a:solidFill>
              <a:srgbClr val="EF3D60">
                <a:alpha val="50999"/>
              </a:srgbClr>
            </a:solidFill>
          </p:spPr>
          <p:txBody>
            <a:bodyPr wrap="square" lIns="0" tIns="0" rIns="0" bIns="0" rtlCol="0"/>
            <a:lstStyle/>
            <a:p>
              <a:endParaRPr sz="2968"/>
            </a:p>
          </p:txBody>
        </p:sp>
        <p:sp>
          <p:nvSpPr>
            <p:cNvPr id="33" name="object 31">
              <a:extLst>
                <a:ext uri="{FF2B5EF4-FFF2-40B4-BE49-F238E27FC236}">
                  <a16:creationId xmlns:a16="http://schemas.microsoft.com/office/drawing/2014/main" id="{E9149877-0396-294D-8C7E-062C09DEC4A9}"/>
                </a:ext>
              </a:extLst>
            </p:cNvPr>
            <p:cNvSpPr/>
            <p:nvPr/>
          </p:nvSpPr>
          <p:spPr>
            <a:xfrm>
              <a:off x="4656894" y="3457871"/>
              <a:ext cx="16510" cy="2115185"/>
            </a:xfrm>
            <a:custGeom>
              <a:avLst/>
              <a:gdLst/>
              <a:ahLst/>
              <a:cxnLst/>
              <a:rect l="l" t="t" r="r" b="b"/>
              <a:pathLst>
                <a:path w="16510" h="2115185">
                  <a:moveTo>
                    <a:pt x="0" y="995794"/>
                  </a:moveTo>
                  <a:lnTo>
                    <a:pt x="0" y="2059177"/>
                  </a:lnTo>
                  <a:lnTo>
                    <a:pt x="7861" y="2114194"/>
                  </a:lnTo>
                  <a:lnTo>
                    <a:pt x="10820" y="2114194"/>
                  </a:lnTo>
                  <a:lnTo>
                    <a:pt x="13525" y="2114448"/>
                  </a:lnTo>
                  <a:lnTo>
                    <a:pt x="16141" y="2114943"/>
                  </a:lnTo>
                  <a:lnTo>
                    <a:pt x="16141" y="1006055"/>
                  </a:lnTo>
                  <a:lnTo>
                    <a:pt x="0" y="995794"/>
                  </a:lnTo>
                  <a:close/>
                </a:path>
                <a:path w="16510" h="2115185">
                  <a:moveTo>
                    <a:pt x="0" y="797699"/>
                  </a:moveTo>
                  <a:lnTo>
                    <a:pt x="0" y="975563"/>
                  </a:lnTo>
                  <a:lnTo>
                    <a:pt x="16141" y="985824"/>
                  </a:lnTo>
                  <a:lnTo>
                    <a:pt x="16141" y="809713"/>
                  </a:lnTo>
                  <a:lnTo>
                    <a:pt x="0" y="797699"/>
                  </a:lnTo>
                  <a:close/>
                </a:path>
                <a:path w="16510" h="2115185">
                  <a:moveTo>
                    <a:pt x="0" y="0"/>
                  </a:moveTo>
                  <a:lnTo>
                    <a:pt x="0" y="774649"/>
                  </a:lnTo>
                  <a:lnTo>
                    <a:pt x="16141" y="786663"/>
                  </a:lnTo>
                  <a:lnTo>
                    <a:pt x="16141" y="749"/>
                  </a:lnTo>
                  <a:lnTo>
                    <a:pt x="5308" y="749"/>
                  </a:lnTo>
                  <a:lnTo>
                    <a:pt x="2616" y="495"/>
                  </a:lnTo>
                  <a:lnTo>
                    <a:pt x="0" y="0"/>
                  </a:lnTo>
                  <a:close/>
                </a:path>
                <a:path w="16510" h="2115185">
                  <a:moveTo>
                    <a:pt x="16141" y="0"/>
                  </a:moveTo>
                  <a:lnTo>
                    <a:pt x="13525" y="495"/>
                  </a:lnTo>
                  <a:lnTo>
                    <a:pt x="10820" y="749"/>
                  </a:lnTo>
                  <a:lnTo>
                    <a:pt x="16141" y="749"/>
                  </a:lnTo>
                  <a:lnTo>
                    <a:pt x="16141" y="0"/>
                  </a:lnTo>
                  <a:close/>
                </a:path>
              </a:pathLst>
            </a:custGeom>
            <a:solidFill>
              <a:srgbClr val="EF3D60">
                <a:alpha val="50999"/>
              </a:srgbClr>
            </a:solidFill>
          </p:spPr>
          <p:txBody>
            <a:bodyPr wrap="square" lIns="0" tIns="0" rIns="0" bIns="0" rtlCol="0"/>
            <a:lstStyle/>
            <a:p>
              <a:endParaRPr sz="2968"/>
            </a:p>
          </p:txBody>
        </p:sp>
        <p:sp>
          <p:nvSpPr>
            <p:cNvPr id="34" name="object 32">
              <a:extLst>
                <a:ext uri="{FF2B5EF4-FFF2-40B4-BE49-F238E27FC236}">
                  <a16:creationId xmlns:a16="http://schemas.microsoft.com/office/drawing/2014/main" id="{B6ED3130-5078-5849-B5CB-6E37ACFC5F3A}"/>
                </a:ext>
              </a:extLst>
            </p:cNvPr>
            <p:cNvSpPr/>
            <p:nvPr/>
          </p:nvSpPr>
          <p:spPr>
            <a:xfrm>
              <a:off x="4696546" y="4118774"/>
              <a:ext cx="2185035" cy="1480820"/>
            </a:xfrm>
            <a:custGeom>
              <a:avLst/>
              <a:gdLst/>
              <a:ahLst/>
              <a:cxnLst/>
              <a:rect l="l" t="t" r="r" b="b"/>
              <a:pathLst>
                <a:path w="2185034" h="1480820">
                  <a:moveTo>
                    <a:pt x="842949" y="896531"/>
                  </a:moveTo>
                  <a:lnTo>
                    <a:pt x="4267" y="1461363"/>
                  </a:lnTo>
                  <a:lnTo>
                    <a:pt x="0" y="1466926"/>
                  </a:lnTo>
                  <a:lnTo>
                    <a:pt x="3746" y="1470888"/>
                  </a:lnTo>
                  <a:lnTo>
                    <a:pt x="6743" y="1475562"/>
                  </a:lnTo>
                  <a:lnTo>
                    <a:pt x="8788" y="1480718"/>
                  </a:lnTo>
                  <a:lnTo>
                    <a:pt x="860044" y="907415"/>
                  </a:lnTo>
                  <a:lnTo>
                    <a:pt x="842949" y="896531"/>
                  </a:lnTo>
                  <a:close/>
                </a:path>
                <a:path w="2185034" h="1480820">
                  <a:moveTo>
                    <a:pt x="915212" y="847864"/>
                  </a:moveTo>
                  <a:lnTo>
                    <a:pt x="858393" y="886129"/>
                  </a:lnTo>
                  <a:lnTo>
                    <a:pt x="875499" y="897013"/>
                  </a:lnTo>
                  <a:lnTo>
                    <a:pt x="931011" y="859624"/>
                  </a:lnTo>
                  <a:lnTo>
                    <a:pt x="915212" y="847864"/>
                  </a:lnTo>
                  <a:close/>
                </a:path>
                <a:path w="2185034" h="1480820">
                  <a:moveTo>
                    <a:pt x="1197889" y="657491"/>
                  </a:moveTo>
                  <a:lnTo>
                    <a:pt x="931456" y="836930"/>
                  </a:lnTo>
                  <a:lnTo>
                    <a:pt x="947254" y="848677"/>
                  </a:lnTo>
                  <a:lnTo>
                    <a:pt x="1208646" y="672630"/>
                  </a:lnTo>
                  <a:lnTo>
                    <a:pt x="1197889" y="657491"/>
                  </a:lnTo>
                  <a:close/>
                </a:path>
                <a:path w="2185034" h="1480820">
                  <a:moveTo>
                    <a:pt x="1285430" y="598538"/>
                  </a:moveTo>
                  <a:lnTo>
                    <a:pt x="1209446" y="649706"/>
                  </a:lnTo>
                  <a:lnTo>
                    <a:pt x="1220203" y="664845"/>
                  </a:lnTo>
                  <a:lnTo>
                    <a:pt x="1294612" y="614730"/>
                  </a:lnTo>
                  <a:lnTo>
                    <a:pt x="1285430" y="598538"/>
                  </a:lnTo>
                  <a:close/>
                </a:path>
                <a:path w="2185034" h="1480820">
                  <a:moveTo>
                    <a:pt x="1483626" y="465048"/>
                  </a:moveTo>
                  <a:lnTo>
                    <a:pt x="1296416" y="591134"/>
                  </a:lnTo>
                  <a:lnTo>
                    <a:pt x="1305585" y="607339"/>
                  </a:lnTo>
                  <a:lnTo>
                    <a:pt x="1501952" y="475107"/>
                  </a:lnTo>
                  <a:lnTo>
                    <a:pt x="1483626" y="465048"/>
                  </a:lnTo>
                  <a:close/>
                </a:path>
                <a:path w="2185034" h="1480820">
                  <a:moveTo>
                    <a:pt x="1533601" y="431393"/>
                  </a:moveTo>
                  <a:lnTo>
                    <a:pt x="1500784" y="453504"/>
                  </a:lnTo>
                  <a:lnTo>
                    <a:pt x="1519085" y="463550"/>
                  </a:lnTo>
                  <a:lnTo>
                    <a:pt x="1551355" y="441820"/>
                  </a:lnTo>
                  <a:lnTo>
                    <a:pt x="1533601" y="431393"/>
                  </a:lnTo>
                  <a:close/>
                </a:path>
                <a:path w="2185034" h="1480820">
                  <a:moveTo>
                    <a:pt x="2174163" y="0"/>
                  </a:moveTo>
                  <a:lnTo>
                    <a:pt x="1549514" y="420687"/>
                  </a:lnTo>
                  <a:lnTo>
                    <a:pt x="1567268" y="431101"/>
                  </a:lnTo>
                  <a:lnTo>
                    <a:pt x="2184552" y="15379"/>
                  </a:lnTo>
                  <a:lnTo>
                    <a:pt x="2180069" y="11099"/>
                  </a:lnTo>
                  <a:lnTo>
                    <a:pt x="2176487" y="5854"/>
                  </a:lnTo>
                  <a:lnTo>
                    <a:pt x="2174163" y="0"/>
                  </a:lnTo>
                  <a:close/>
                </a:path>
              </a:pathLst>
            </a:custGeom>
            <a:solidFill>
              <a:srgbClr val="EF3D60">
                <a:alpha val="50999"/>
              </a:srgbClr>
            </a:solidFill>
          </p:spPr>
          <p:txBody>
            <a:bodyPr wrap="square" lIns="0" tIns="0" rIns="0" bIns="0" rtlCol="0"/>
            <a:lstStyle/>
            <a:p>
              <a:endParaRPr sz="2968"/>
            </a:p>
          </p:txBody>
        </p:sp>
        <p:sp>
          <p:nvSpPr>
            <p:cNvPr id="35" name="object 33">
              <a:extLst>
                <a:ext uri="{FF2B5EF4-FFF2-40B4-BE49-F238E27FC236}">
                  <a16:creationId xmlns:a16="http://schemas.microsoft.com/office/drawing/2014/main" id="{AF59DD0E-0568-0443-BFE5-48CAAB4841A9}"/>
                </a:ext>
              </a:extLst>
            </p:cNvPr>
            <p:cNvSpPr/>
            <p:nvPr/>
          </p:nvSpPr>
          <p:spPr>
            <a:xfrm>
              <a:off x="4685539" y="4270073"/>
              <a:ext cx="1013460" cy="1315720"/>
            </a:xfrm>
            <a:custGeom>
              <a:avLst/>
              <a:gdLst/>
              <a:ahLst/>
              <a:cxnLst/>
              <a:rect l="l" t="t" r="r" b="b"/>
              <a:pathLst>
                <a:path w="1013460" h="1315720">
                  <a:moveTo>
                    <a:pt x="569544" y="564248"/>
                  </a:moveTo>
                  <a:lnTo>
                    <a:pt x="0" y="1307172"/>
                  </a:lnTo>
                  <a:lnTo>
                    <a:pt x="4114" y="1309382"/>
                  </a:lnTo>
                  <a:lnTo>
                    <a:pt x="7835" y="1312252"/>
                  </a:lnTo>
                  <a:lnTo>
                    <a:pt x="11010" y="1315618"/>
                  </a:lnTo>
                  <a:lnTo>
                    <a:pt x="581329" y="571741"/>
                  </a:lnTo>
                  <a:lnTo>
                    <a:pt x="569544" y="564248"/>
                  </a:lnTo>
                  <a:close/>
                </a:path>
                <a:path w="1013460" h="1315720">
                  <a:moveTo>
                    <a:pt x="634593" y="479386"/>
                  </a:moveTo>
                  <a:lnTo>
                    <a:pt x="579970" y="550646"/>
                  </a:lnTo>
                  <a:lnTo>
                    <a:pt x="591743" y="558139"/>
                  </a:lnTo>
                  <a:lnTo>
                    <a:pt x="645756" y="487705"/>
                  </a:lnTo>
                  <a:lnTo>
                    <a:pt x="634593" y="479386"/>
                  </a:lnTo>
                  <a:close/>
                </a:path>
                <a:path w="1013460" h="1315720">
                  <a:moveTo>
                    <a:pt x="922947" y="103263"/>
                  </a:moveTo>
                  <a:lnTo>
                    <a:pt x="645833" y="464731"/>
                  </a:lnTo>
                  <a:lnTo>
                    <a:pt x="656996" y="473036"/>
                  </a:lnTo>
                  <a:lnTo>
                    <a:pt x="931379" y="115150"/>
                  </a:lnTo>
                  <a:lnTo>
                    <a:pt x="922947" y="103263"/>
                  </a:lnTo>
                  <a:close/>
                </a:path>
                <a:path w="1013460" h="1315720">
                  <a:moveTo>
                    <a:pt x="978725" y="30505"/>
                  </a:moveTo>
                  <a:lnTo>
                    <a:pt x="931811" y="91681"/>
                  </a:lnTo>
                  <a:lnTo>
                    <a:pt x="940244" y="103568"/>
                  </a:lnTo>
                  <a:lnTo>
                    <a:pt x="991069" y="37287"/>
                  </a:lnTo>
                  <a:lnTo>
                    <a:pt x="978725" y="30505"/>
                  </a:lnTo>
                  <a:close/>
                </a:path>
                <a:path w="1013460" h="1315720">
                  <a:moveTo>
                    <a:pt x="1002118" y="0"/>
                  </a:moveTo>
                  <a:lnTo>
                    <a:pt x="990041" y="15748"/>
                  </a:lnTo>
                  <a:lnTo>
                    <a:pt x="1002385" y="22517"/>
                  </a:lnTo>
                  <a:lnTo>
                    <a:pt x="1013167" y="8470"/>
                  </a:lnTo>
                  <a:lnTo>
                    <a:pt x="1009027" y="6248"/>
                  </a:lnTo>
                  <a:lnTo>
                    <a:pt x="1005306" y="3378"/>
                  </a:lnTo>
                  <a:lnTo>
                    <a:pt x="1002118" y="0"/>
                  </a:lnTo>
                  <a:close/>
                </a:path>
              </a:pathLst>
            </a:custGeom>
            <a:solidFill>
              <a:srgbClr val="EF3D60">
                <a:alpha val="50999"/>
              </a:srgbClr>
            </a:solidFill>
          </p:spPr>
          <p:txBody>
            <a:bodyPr wrap="square" lIns="0" tIns="0" rIns="0" bIns="0" rtlCol="0"/>
            <a:lstStyle/>
            <a:p>
              <a:endParaRPr sz="2968"/>
            </a:p>
          </p:txBody>
        </p:sp>
        <p:sp>
          <p:nvSpPr>
            <p:cNvPr id="36" name="object 34">
              <a:extLst>
                <a:ext uri="{FF2B5EF4-FFF2-40B4-BE49-F238E27FC236}">
                  <a16:creationId xmlns:a16="http://schemas.microsoft.com/office/drawing/2014/main" id="{840821E1-1369-1546-8AB6-AE85216924E2}"/>
                </a:ext>
              </a:extLst>
            </p:cNvPr>
            <p:cNvSpPr/>
            <p:nvPr/>
          </p:nvSpPr>
          <p:spPr>
            <a:xfrm>
              <a:off x="4481818" y="4373754"/>
              <a:ext cx="183515" cy="1198880"/>
            </a:xfrm>
            <a:custGeom>
              <a:avLst/>
              <a:gdLst/>
              <a:ahLst/>
              <a:cxnLst/>
              <a:rect l="l" t="t" r="r" b="b"/>
              <a:pathLst>
                <a:path w="183514" h="1198879">
                  <a:moveTo>
                    <a:pt x="11684" y="0"/>
                  </a:moveTo>
                  <a:lnTo>
                    <a:pt x="7975" y="1054"/>
                  </a:lnTo>
                  <a:lnTo>
                    <a:pt x="4051" y="1625"/>
                  </a:lnTo>
                  <a:lnTo>
                    <a:pt x="0" y="1638"/>
                  </a:lnTo>
                  <a:lnTo>
                    <a:pt x="145046" y="1016850"/>
                  </a:lnTo>
                  <a:lnTo>
                    <a:pt x="181343" y="1198346"/>
                  </a:lnTo>
                  <a:lnTo>
                    <a:pt x="182397" y="1198308"/>
                  </a:lnTo>
                  <a:lnTo>
                    <a:pt x="182943" y="1198308"/>
                  </a:lnTo>
                  <a:lnTo>
                    <a:pt x="175069" y="1143304"/>
                  </a:lnTo>
                  <a:lnTo>
                    <a:pt x="11684" y="0"/>
                  </a:lnTo>
                  <a:close/>
                </a:path>
              </a:pathLst>
            </a:custGeom>
            <a:solidFill>
              <a:srgbClr val="EF3D60">
                <a:alpha val="50999"/>
              </a:srgbClr>
            </a:solidFill>
          </p:spPr>
          <p:txBody>
            <a:bodyPr wrap="square" lIns="0" tIns="0" rIns="0" bIns="0" rtlCol="0"/>
            <a:lstStyle/>
            <a:p>
              <a:endParaRPr sz="2968"/>
            </a:p>
          </p:txBody>
        </p:sp>
        <p:sp>
          <p:nvSpPr>
            <p:cNvPr id="37" name="object 35">
              <a:extLst>
                <a:ext uri="{FF2B5EF4-FFF2-40B4-BE49-F238E27FC236}">
                  <a16:creationId xmlns:a16="http://schemas.microsoft.com/office/drawing/2014/main" id="{66B17ED2-7698-2E40-9A31-18EAE06E8609}"/>
                </a:ext>
              </a:extLst>
            </p:cNvPr>
            <p:cNvSpPr/>
            <p:nvPr/>
          </p:nvSpPr>
          <p:spPr>
            <a:xfrm>
              <a:off x="3454104" y="4493583"/>
              <a:ext cx="1184275" cy="1096010"/>
            </a:xfrm>
            <a:custGeom>
              <a:avLst/>
              <a:gdLst/>
              <a:ahLst/>
              <a:cxnLst/>
              <a:rect l="l" t="t" r="r" b="b"/>
              <a:pathLst>
                <a:path w="1184275" h="1096010">
                  <a:moveTo>
                    <a:pt x="9309" y="0"/>
                  </a:moveTo>
                  <a:lnTo>
                    <a:pt x="6756" y="3835"/>
                  </a:lnTo>
                  <a:lnTo>
                    <a:pt x="3606" y="7226"/>
                  </a:lnTo>
                  <a:lnTo>
                    <a:pt x="0" y="10071"/>
                  </a:lnTo>
                  <a:lnTo>
                    <a:pt x="1167866" y="1091387"/>
                  </a:lnTo>
                  <a:lnTo>
                    <a:pt x="1176439" y="1095438"/>
                  </a:lnTo>
                  <a:lnTo>
                    <a:pt x="1178636" y="1092568"/>
                  </a:lnTo>
                  <a:lnTo>
                    <a:pt x="1181214" y="1089977"/>
                  </a:lnTo>
                  <a:lnTo>
                    <a:pt x="1184059" y="1087742"/>
                  </a:lnTo>
                  <a:lnTo>
                    <a:pt x="9309" y="0"/>
                  </a:lnTo>
                  <a:close/>
                </a:path>
              </a:pathLst>
            </a:custGeom>
            <a:solidFill>
              <a:srgbClr val="EF3D60">
                <a:alpha val="50999"/>
              </a:srgbClr>
            </a:solidFill>
          </p:spPr>
          <p:txBody>
            <a:bodyPr wrap="square" lIns="0" tIns="0" rIns="0" bIns="0" rtlCol="0"/>
            <a:lstStyle/>
            <a:p>
              <a:endParaRPr sz="2968"/>
            </a:p>
          </p:txBody>
        </p:sp>
        <p:sp>
          <p:nvSpPr>
            <p:cNvPr id="38" name="object 36">
              <a:extLst>
                <a:ext uri="{FF2B5EF4-FFF2-40B4-BE49-F238E27FC236}">
                  <a16:creationId xmlns:a16="http://schemas.microsoft.com/office/drawing/2014/main" id="{C719EFF4-B23B-F641-9652-6449659406B8}"/>
                </a:ext>
              </a:extLst>
            </p:cNvPr>
            <p:cNvSpPr/>
            <p:nvPr/>
          </p:nvSpPr>
          <p:spPr>
            <a:xfrm>
              <a:off x="2269930" y="4479267"/>
              <a:ext cx="2360930" cy="1126490"/>
            </a:xfrm>
            <a:custGeom>
              <a:avLst/>
              <a:gdLst/>
              <a:ahLst/>
              <a:cxnLst/>
              <a:rect l="l" t="t" r="r" b="b"/>
              <a:pathLst>
                <a:path w="2360929" h="1126489">
                  <a:moveTo>
                    <a:pt x="7886" y="0"/>
                  </a:moveTo>
                  <a:lnTo>
                    <a:pt x="6464" y="6172"/>
                  </a:lnTo>
                  <a:lnTo>
                    <a:pt x="3733" y="11836"/>
                  </a:lnTo>
                  <a:lnTo>
                    <a:pt x="0" y="16687"/>
                  </a:lnTo>
                  <a:lnTo>
                    <a:pt x="2352713" y="1126477"/>
                  </a:lnTo>
                  <a:lnTo>
                    <a:pt x="2354122" y="1120292"/>
                  </a:lnTo>
                  <a:lnTo>
                    <a:pt x="2356853" y="1114615"/>
                  </a:lnTo>
                  <a:lnTo>
                    <a:pt x="2360612" y="1109751"/>
                  </a:lnTo>
                  <a:lnTo>
                    <a:pt x="7886" y="0"/>
                  </a:lnTo>
                  <a:close/>
                </a:path>
              </a:pathLst>
            </a:custGeom>
            <a:solidFill>
              <a:srgbClr val="EF3D60">
                <a:alpha val="50999"/>
              </a:srgbClr>
            </a:solidFill>
          </p:spPr>
          <p:txBody>
            <a:bodyPr wrap="square" lIns="0" tIns="0" rIns="0" bIns="0" rtlCol="0"/>
            <a:lstStyle/>
            <a:p>
              <a:endParaRPr sz="2968"/>
            </a:p>
          </p:txBody>
        </p:sp>
        <p:sp>
          <p:nvSpPr>
            <p:cNvPr id="39" name="object 37">
              <a:extLst>
                <a:ext uri="{FF2B5EF4-FFF2-40B4-BE49-F238E27FC236}">
                  <a16:creationId xmlns:a16="http://schemas.microsoft.com/office/drawing/2014/main" id="{DD6A556F-3F76-7046-B735-88F100BBF42C}"/>
                </a:ext>
              </a:extLst>
            </p:cNvPr>
            <p:cNvSpPr/>
            <p:nvPr/>
          </p:nvSpPr>
          <p:spPr>
            <a:xfrm>
              <a:off x="4345912" y="4051844"/>
              <a:ext cx="317500" cy="1523365"/>
            </a:xfrm>
            <a:custGeom>
              <a:avLst/>
              <a:gdLst/>
              <a:ahLst/>
              <a:cxnLst/>
              <a:rect l="l" t="t" r="r" b="b"/>
              <a:pathLst>
                <a:path w="317500" h="1523364">
                  <a:moveTo>
                    <a:pt x="13195" y="0"/>
                  </a:moveTo>
                  <a:lnTo>
                    <a:pt x="9055" y="1524"/>
                  </a:lnTo>
                  <a:lnTo>
                    <a:pt x="4622" y="2438"/>
                  </a:lnTo>
                  <a:lnTo>
                    <a:pt x="0" y="2616"/>
                  </a:lnTo>
                  <a:lnTo>
                    <a:pt x="304025" y="1522895"/>
                  </a:lnTo>
                  <a:lnTo>
                    <a:pt x="308178" y="1521358"/>
                  </a:lnTo>
                  <a:lnTo>
                    <a:pt x="312610" y="1520444"/>
                  </a:lnTo>
                  <a:lnTo>
                    <a:pt x="317245" y="1520253"/>
                  </a:lnTo>
                  <a:lnTo>
                    <a:pt x="13195" y="0"/>
                  </a:lnTo>
                  <a:close/>
                </a:path>
              </a:pathLst>
            </a:custGeom>
            <a:solidFill>
              <a:srgbClr val="EF3D60">
                <a:alpha val="50999"/>
              </a:srgbClr>
            </a:solidFill>
          </p:spPr>
          <p:txBody>
            <a:bodyPr wrap="square" lIns="0" tIns="0" rIns="0" bIns="0" rtlCol="0"/>
            <a:lstStyle/>
            <a:p>
              <a:endParaRPr sz="2968"/>
            </a:p>
          </p:txBody>
        </p:sp>
        <p:sp>
          <p:nvSpPr>
            <p:cNvPr id="40" name="object 38">
              <a:extLst>
                <a:ext uri="{FF2B5EF4-FFF2-40B4-BE49-F238E27FC236}">
                  <a16:creationId xmlns:a16="http://schemas.microsoft.com/office/drawing/2014/main" id="{2DC8E1BF-CF23-804B-AF20-C2662B1A9F12}"/>
                </a:ext>
              </a:extLst>
            </p:cNvPr>
            <p:cNvSpPr/>
            <p:nvPr/>
          </p:nvSpPr>
          <p:spPr>
            <a:xfrm>
              <a:off x="4708062" y="5620989"/>
              <a:ext cx="1747520" cy="0"/>
            </a:xfrm>
            <a:custGeom>
              <a:avLst/>
              <a:gdLst/>
              <a:ahLst/>
              <a:cxnLst/>
              <a:rect l="l" t="t" r="r" b="b"/>
              <a:pathLst>
                <a:path w="1747520">
                  <a:moveTo>
                    <a:pt x="0" y="0"/>
                  </a:moveTo>
                  <a:lnTo>
                    <a:pt x="1747371" y="0"/>
                  </a:lnTo>
                </a:path>
              </a:pathLst>
            </a:custGeom>
            <a:ln w="3175">
              <a:solidFill>
                <a:srgbClr val="EF3D60"/>
              </a:solidFill>
            </a:ln>
          </p:spPr>
          <p:txBody>
            <a:bodyPr wrap="square" lIns="0" tIns="0" rIns="0" bIns="0" rtlCol="0"/>
            <a:lstStyle/>
            <a:p>
              <a:endParaRPr sz="2968"/>
            </a:p>
          </p:txBody>
        </p:sp>
        <p:sp>
          <p:nvSpPr>
            <p:cNvPr id="41" name="object 39">
              <a:extLst>
                <a:ext uri="{FF2B5EF4-FFF2-40B4-BE49-F238E27FC236}">
                  <a16:creationId xmlns:a16="http://schemas.microsoft.com/office/drawing/2014/main" id="{128930FB-9FE2-6E4F-B703-D4D82C111D10}"/>
                </a:ext>
              </a:extLst>
            </p:cNvPr>
            <p:cNvSpPr/>
            <p:nvPr/>
          </p:nvSpPr>
          <p:spPr>
            <a:xfrm>
              <a:off x="4708279" y="5619084"/>
              <a:ext cx="1747520" cy="0"/>
            </a:xfrm>
            <a:custGeom>
              <a:avLst/>
              <a:gdLst/>
              <a:ahLst/>
              <a:cxnLst/>
              <a:rect l="l" t="t" r="r" b="b"/>
              <a:pathLst>
                <a:path w="1747520">
                  <a:moveTo>
                    <a:pt x="0" y="0"/>
                  </a:moveTo>
                  <a:lnTo>
                    <a:pt x="1746937" y="0"/>
                  </a:lnTo>
                </a:path>
              </a:pathLst>
            </a:custGeom>
            <a:ln w="3175">
              <a:solidFill>
                <a:srgbClr val="EF3D60"/>
              </a:solidFill>
            </a:ln>
          </p:spPr>
          <p:txBody>
            <a:bodyPr wrap="square" lIns="0" tIns="0" rIns="0" bIns="0" rtlCol="0"/>
            <a:lstStyle/>
            <a:p>
              <a:endParaRPr sz="2968"/>
            </a:p>
          </p:txBody>
        </p:sp>
        <p:sp>
          <p:nvSpPr>
            <p:cNvPr id="42" name="object 40">
              <a:extLst>
                <a:ext uri="{FF2B5EF4-FFF2-40B4-BE49-F238E27FC236}">
                  <a16:creationId xmlns:a16="http://schemas.microsoft.com/office/drawing/2014/main" id="{24286FF1-2BFC-674C-89DD-1D204912CF91}"/>
                </a:ext>
              </a:extLst>
            </p:cNvPr>
            <p:cNvSpPr/>
            <p:nvPr/>
          </p:nvSpPr>
          <p:spPr>
            <a:xfrm>
              <a:off x="4708381" y="5615909"/>
              <a:ext cx="1746885" cy="0"/>
            </a:xfrm>
            <a:custGeom>
              <a:avLst/>
              <a:gdLst/>
              <a:ahLst/>
              <a:cxnLst/>
              <a:rect l="l" t="t" r="r" b="b"/>
              <a:pathLst>
                <a:path w="1746885">
                  <a:moveTo>
                    <a:pt x="0" y="0"/>
                  </a:moveTo>
                  <a:lnTo>
                    <a:pt x="1746732" y="0"/>
                  </a:lnTo>
                </a:path>
              </a:pathLst>
            </a:custGeom>
            <a:ln w="5080">
              <a:solidFill>
                <a:srgbClr val="EF3D60"/>
              </a:solidFill>
            </a:ln>
          </p:spPr>
          <p:txBody>
            <a:bodyPr wrap="square" lIns="0" tIns="0" rIns="0" bIns="0" rtlCol="0"/>
            <a:lstStyle/>
            <a:p>
              <a:endParaRPr sz="2968"/>
            </a:p>
          </p:txBody>
        </p:sp>
        <p:sp>
          <p:nvSpPr>
            <p:cNvPr id="43" name="object 41">
              <a:extLst>
                <a:ext uri="{FF2B5EF4-FFF2-40B4-BE49-F238E27FC236}">
                  <a16:creationId xmlns:a16="http://schemas.microsoft.com/office/drawing/2014/main" id="{80002E16-0D84-0C46-8927-864BD91AE723}"/>
                </a:ext>
              </a:extLst>
            </p:cNvPr>
            <p:cNvSpPr/>
            <p:nvPr/>
          </p:nvSpPr>
          <p:spPr>
            <a:xfrm>
              <a:off x="4708302" y="5612099"/>
              <a:ext cx="1746885" cy="0"/>
            </a:xfrm>
            <a:custGeom>
              <a:avLst/>
              <a:gdLst/>
              <a:ahLst/>
              <a:cxnLst/>
              <a:rect l="l" t="t" r="r" b="b"/>
              <a:pathLst>
                <a:path w="1746885">
                  <a:moveTo>
                    <a:pt x="0" y="0"/>
                  </a:moveTo>
                  <a:lnTo>
                    <a:pt x="1746889" y="0"/>
                  </a:lnTo>
                </a:path>
              </a:pathLst>
            </a:custGeom>
            <a:ln w="3175">
              <a:solidFill>
                <a:srgbClr val="EF3D60"/>
              </a:solidFill>
            </a:ln>
          </p:spPr>
          <p:txBody>
            <a:bodyPr wrap="square" lIns="0" tIns="0" rIns="0" bIns="0" rtlCol="0"/>
            <a:lstStyle/>
            <a:p>
              <a:endParaRPr sz="2968"/>
            </a:p>
          </p:txBody>
        </p:sp>
        <p:sp>
          <p:nvSpPr>
            <p:cNvPr id="44" name="object 42">
              <a:extLst>
                <a:ext uri="{FF2B5EF4-FFF2-40B4-BE49-F238E27FC236}">
                  <a16:creationId xmlns:a16="http://schemas.microsoft.com/office/drawing/2014/main" id="{3C455AF0-4C46-A949-BA93-138442B2BDA1}"/>
                </a:ext>
              </a:extLst>
            </p:cNvPr>
            <p:cNvSpPr/>
            <p:nvPr/>
          </p:nvSpPr>
          <p:spPr>
            <a:xfrm>
              <a:off x="4707998" y="5609559"/>
              <a:ext cx="1747520" cy="0"/>
            </a:xfrm>
            <a:custGeom>
              <a:avLst/>
              <a:gdLst/>
              <a:ahLst/>
              <a:cxnLst/>
              <a:rect l="l" t="t" r="r" b="b"/>
              <a:pathLst>
                <a:path w="1747520">
                  <a:moveTo>
                    <a:pt x="0" y="0"/>
                  </a:moveTo>
                  <a:lnTo>
                    <a:pt x="1747498" y="0"/>
                  </a:lnTo>
                </a:path>
              </a:pathLst>
            </a:custGeom>
            <a:ln w="3175">
              <a:solidFill>
                <a:srgbClr val="EF3D60"/>
              </a:solidFill>
            </a:ln>
          </p:spPr>
          <p:txBody>
            <a:bodyPr wrap="square" lIns="0" tIns="0" rIns="0" bIns="0" rtlCol="0"/>
            <a:lstStyle/>
            <a:p>
              <a:endParaRPr sz="2968"/>
            </a:p>
          </p:txBody>
        </p:sp>
        <p:sp>
          <p:nvSpPr>
            <p:cNvPr id="45" name="object 43">
              <a:extLst>
                <a:ext uri="{FF2B5EF4-FFF2-40B4-BE49-F238E27FC236}">
                  <a16:creationId xmlns:a16="http://schemas.microsoft.com/office/drawing/2014/main" id="{F96178FC-CCF4-3B4C-BB15-48D0F70492F5}"/>
                </a:ext>
              </a:extLst>
            </p:cNvPr>
            <p:cNvSpPr/>
            <p:nvPr/>
          </p:nvSpPr>
          <p:spPr>
            <a:xfrm>
              <a:off x="6541434" y="5617368"/>
              <a:ext cx="1520825" cy="317500"/>
            </a:xfrm>
            <a:custGeom>
              <a:avLst/>
              <a:gdLst/>
              <a:ahLst/>
              <a:cxnLst/>
              <a:rect l="l" t="t" r="r" b="b"/>
              <a:pathLst>
                <a:path w="1520825" h="317500">
                  <a:moveTo>
                    <a:pt x="647" y="0"/>
                  </a:moveTo>
                  <a:lnTo>
                    <a:pt x="469" y="25"/>
                  </a:lnTo>
                  <a:lnTo>
                    <a:pt x="406" y="1663"/>
                  </a:lnTo>
                  <a:lnTo>
                    <a:pt x="241" y="3276"/>
                  </a:lnTo>
                  <a:lnTo>
                    <a:pt x="0" y="4864"/>
                  </a:lnTo>
                  <a:lnTo>
                    <a:pt x="47929" y="23126"/>
                  </a:lnTo>
                  <a:lnTo>
                    <a:pt x="1518119" y="317182"/>
                  </a:lnTo>
                  <a:lnTo>
                    <a:pt x="1518310" y="312585"/>
                  </a:lnTo>
                  <a:lnTo>
                    <a:pt x="1519212" y="308165"/>
                  </a:lnTo>
                  <a:lnTo>
                    <a:pt x="1520736" y="304038"/>
                  </a:lnTo>
                  <a:lnTo>
                    <a:pt x="647" y="0"/>
                  </a:lnTo>
                  <a:close/>
                </a:path>
              </a:pathLst>
            </a:custGeom>
            <a:solidFill>
              <a:srgbClr val="EF3D60">
                <a:alpha val="50999"/>
              </a:srgbClr>
            </a:solidFill>
          </p:spPr>
          <p:txBody>
            <a:bodyPr wrap="square" lIns="0" tIns="0" rIns="0" bIns="0" rtlCol="0"/>
            <a:lstStyle/>
            <a:p>
              <a:endParaRPr sz="2968"/>
            </a:p>
          </p:txBody>
        </p:sp>
        <p:sp>
          <p:nvSpPr>
            <p:cNvPr id="46" name="object 44">
              <a:extLst>
                <a:ext uri="{FF2B5EF4-FFF2-40B4-BE49-F238E27FC236}">
                  <a16:creationId xmlns:a16="http://schemas.microsoft.com/office/drawing/2014/main" id="{515B2198-98DB-5D40-84BE-823DF4A3E368}"/>
                </a:ext>
              </a:extLst>
            </p:cNvPr>
            <p:cNvSpPr/>
            <p:nvPr/>
          </p:nvSpPr>
          <p:spPr>
            <a:xfrm>
              <a:off x="6519941" y="5190105"/>
              <a:ext cx="278130" cy="389255"/>
            </a:xfrm>
            <a:custGeom>
              <a:avLst/>
              <a:gdLst/>
              <a:ahLst/>
              <a:cxnLst/>
              <a:rect l="l" t="t" r="r" b="b"/>
              <a:pathLst>
                <a:path w="278129" h="389254">
                  <a:moveTo>
                    <a:pt x="271322" y="0"/>
                  </a:moveTo>
                  <a:lnTo>
                    <a:pt x="0" y="387591"/>
                  </a:lnTo>
                  <a:lnTo>
                    <a:pt x="1993" y="388797"/>
                  </a:lnTo>
                  <a:lnTo>
                    <a:pt x="30441" y="358609"/>
                  </a:lnTo>
                  <a:lnTo>
                    <a:pt x="278117" y="4775"/>
                  </a:lnTo>
                  <a:lnTo>
                    <a:pt x="275691" y="3403"/>
                  </a:lnTo>
                  <a:lnTo>
                    <a:pt x="273418" y="1803"/>
                  </a:lnTo>
                  <a:lnTo>
                    <a:pt x="271322" y="0"/>
                  </a:lnTo>
                  <a:close/>
                </a:path>
              </a:pathLst>
            </a:custGeom>
            <a:solidFill>
              <a:srgbClr val="EF3D60">
                <a:alpha val="50999"/>
              </a:srgbClr>
            </a:solidFill>
          </p:spPr>
          <p:txBody>
            <a:bodyPr wrap="square" lIns="0" tIns="0" rIns="0" bIns="0" rtlCol="0"/>
            <a:lstStyle/>
            <a:p>
              <a:endParaRPr sz="2968"/>
            </a:p>
          </p:txBody>
        </p:sp>
        <p:sp>
          <p:nvSpPr>
            <p:cNvPr id="47" name="object 45">
              <a:extLst>
                <a:ext uri="{FF2B5EF4-FFF2-40B4-BE49-F238E27FC236}">
                  <a16:creationId xmlns:a16="http://schemas.microsoft.com/office/drawing/2014/main" id="{76CDE6CD-0900-1241-9F22-BDD5318EC22A}"/>
                </a:ext>
              </a:extLst>
            </p:cNvPr>
            <p:cNvSpPr/>
            <p:nvPr/>
          </p:nvSpPr>
          <p:spPr>
            <a:xfrm>
              <a:off x="5509207" y="4225395"/>
              <a:ext cx="962660" cy="1357630"/>
            </a:xfrm>
            <a:custGeom>
              <a:avLst/>
              <a:gdLst/>
              <a:ahLst/>
              <a:cxnLst/>
              <a:rect l="l" t="t" r="r" b="b"/>
              <a:pathLst>
                <a:path w="962660" h="1357629">
                  <a:moveTo>
                    <a:pt x="11366" y="0"/>
                  </a:moveTo>
                  <a:lnTo>
                    <a:pt x="8051" y="3263"/>
                  </a:lnTo>
                  <a:lnTo>
                    <a:pt x="4216" y="5994"/>
                  </a:lnTo>
                  <a:lnTo>
                    <a:pt x="0" y="8064"/>
                  </a:lnTo>
                  <a:lnTo>
                    <a:pt x="953998" y="1352270"/>
                  </a:lnTo>
                  <a:lnTo>
                    <a:pt x="960805" y="1357350"/>
                  </a:lnTo>
                  <a:lnTo>
                    <a:pt x="962431" y="1356004"/>
                  </a:lnTo>
                  <a:lnTo>
                    <a:pt x="917752" y="1277150"/>
                  </a:lnTo>
                  <a:lnTo>
                    <a:pt x="11366" y="0"/>
                  </a:lnTo>
                  <a:close/>
                </a:path>
              </a:pathLst>
            </a:custGeom>
            <a:solidFill>
              <a:srgbClr val="EF3D60">
                <a:alpha val="50999"/>
              </a:srgbClr>
            </a:solidFill>
          </p:spPr>
          <p:txBody>
            <a:bodyPr wrap="square" lIns="0" tIns="0" rIns="0" bIns="0" rtlCol="0"/>
            <a:lstStyle/>
            <a:p>
              <a:endParaRPr sz="2968"/>
            </a:p>
          </p:txBody>
        </p:sp>
        <p:sp>
          <p:nvSpPr>
            <p:cNvPr id="48" name="object 46">
              <a:extLst>
                <a:ext uri="{FF2B5EF4-FFF2-40B4-BE49-F238E27FC236}">
                  <a16:creationId xmlns:a16="http://schemas.microsoft.com/office/drawing/2014/main" id="{12AD285B-401E-204C-B5FD-ADCE06C279A5}"/>
                </a:ext>
              </a:extLst>
            </p:cNvPr>
            <p:cNvSpPr/>
            <p:nvPr/>
          </p:nvSpPr>
          <p:spPr>
            <a:xfrm>
              <a:off x="6521936" y="4036605"/>
              <a:ext cx="1466215" cy="1553210"/>
            </a:xfrm>
            <a:custGeom>
              <a:avLst/>
              <a:gdLst/>
              <a:ahLst/>
              <a:cxnLst/>
              <a:rect l="l" t="t" r="r" b="b"/>
              <a:pathLst>
                <a:path w="1466215" h="1553210">
                  <a:moveTo>
                    <a:pt x="370509" y="1149324"/>
                  </a:moveTo>
                  <a:lnTo>
                    <a:pt x="0" y="1542288"/>
                  </a:lnTo>
                  <a:lnTo>
                    <a:pt x="4406" y="1545120"/>
                  </a:lnTo>
                  <a:lnTo>
                    <a:pt x="8280" y="1548726"/>
                  </a:lnTo>
                  <a:lnTo>
                    <a:pt x="11404" y="1552917"/>
                  </a:lnTo>
                  <a:lnTo>
                    <a:pt x="12826" y="1552206"/>
                  </a:lnTo>
                  <a:lnTo>
                    <a:pt x="387565" y="1154747"/>
                  </a:lnTo>
                  <a:lnTo>
                    <a:pt x="370509" y="1149324"/>
                  </a:lnTo>
                  <a:close/>
                </a:path>
                <a:path w="1466215" h="1553210">
                  <a:moveTo>
                    <a:pt x="501637" y="1010246"/>
                  </a:moveTo>
                  <a:lnTo>
                    <a:pt x="378663" y="1140688"/>
                  </a:lnTo>
                  <a:lnTo>
                    <a:pt x="395719" y="1146111"/>
                  </a:lnTo>
                  <a:lnTo>
                    <a:pt x="516254" y="1018273"/>
                  </a:lnTo>
                  <a:lnTo>
                    <a:pt x="501637" y="1010246"/>
                  </a:lnTo>
                  <a:close/>
                </a:path>
                <a:path w="1466215" h="1553210">
                  <a:moveTo>
                    <a:pt x="520420" y="990320"/>
                  </a:moveTo>
                  <a:lnTo>
                    <a:pt x="514654" y="996441"/>
                  </a:lnTo>
                  <a:lnTo>
                    <a:pt x="529259" y="1004468"/>
                  </a:lnTo>
                  <a:lnTo>
                    <a:pt x="534695" y="998702"/>
                  </a:lnTo>
                  <a:lnTo>
                    <a:pt x="520420" y="990320"/>
                  </a:lnTo>
                  <a:close/>
                </a:path>
                <a:path w="1466215" h="1553210">
                  <a:moveTo>
                    <a:pt x="799680" y="694131"/>
                  </a:moveTo>
                  <a:lnTo>
                    <a:pt x="532612" y="977391"/>
                  </a:lnTo>
                  <a:lnTo>
                    <a:pt x="546887" y="985773"/>
                  </a:lnTo>
                  <a:lnTo>
                    <a:pt x="808875" y="707923"/>
                  </a:lnTo>
                  <a:lnTo>
                    <a:pt x="799680" y="694131"/>
                  </a:lnTo>
                  <a:close/>
                </a:path>
                <a:path w="1466215" h="1553210">
                  <a:moveTo>
                    <a:pt x="1454175" y="0"/>
                  </a:moveTo>
                  <a:lnTo>
                    <a:pt x="809205" y="684034"/>
                  </a:lnTo>
                  <a:lnTo>
                    <a:pt x="818400" y="697814"/>
                  </a:lnTo>
                  <a:lnTo>
                    <a:pt x="1465922" y="11061"/>
                  </a:lnTo>
                  <a:lnTo>
                    <a:pt x="1461338" y="8140"/>
                  </a:lnTo>
                  <a:lnTo>
                    <a:pt x="1457350" y="4381"/>
                  </a:lnTo>
                  <a:lnTo>
                    <a:pt x="1454175" y="0"/>
                  </a:lnTo>
                  <a:close/>
                </a:path>
              </a:pathLst>
            </a:custGeom>
            <a:solidFill>
              <a:srgbClr val="EF3D60">
                <a:alpha val="50999"/>
              </a:srgbClr>
            </a:solidFill>
          </p:spPr>
          <p:txBody>
            <a:bodyPr wrap="square" lIns="0" tIns="0" rIns="0" bIns="0" rtlCol="0"/>
            <a:lstStyle/>
            <a:p>
              <a:endParaRPr sz="2968"/>
            </a:p>
          </p:txBody>
        </p:sp>
        <p:sp>
          <p:nvSpPr>
            <p:cNvPr id="49" name="object 47">
              <a:extLst>
                <a:ext uri="{FF2B5EF4-FFF2-40B4-BE49-F238E27FC236}">
                  <a16:creationId xmlns:a16="http://schemas.microsoft.com/office/drawing/2014/main" id="{7CDD81DC-0B15-424E-B24C-A89167B03843}"/>
                </a:ext>
              </a:extLst>
            </p:cNvPr>
            <p:cNvSpPr/>
            <p:nvPr/>
          </p:nvSpPr>
          <p:spPr>
            <a:xfrm>
              <a:off x="6503518" y="4142455"/>
              <a:ext cx="403225" cy="1433830"/>
            </a:xfrm>
            <a:custGeom>
              <a:avLst/>
              <a:gdLst/>
              <a:ahLst/>
              <a:cxnLst/>
              <a:rect l="l" t="t" r="r" b="b"/>
              <a:pathLst>
                <a:path w="403225" h="1433829">
                  <a:moveTo>
                    <a:pt x="192366" y="724496"/>
                  </a:moveTo>
                  <a:lnTo>
                    <a:pt x="0" y="1429892"/>
                  </a:lnTo>
                  <a:lnTo>
                    <a:pt x="4445" y="1430400"/>
                  </a:lnTo>
                  <a:lnTo>
                    <a:pt x="8699" y="1431582"/>
                  </a:lnTo>
                  <a:lnTo>
                    <a:pt x="12623" y="1433334"/>
                  </a:lnTo>
                  <a:lnTo>
                    <a:pt x="204190" y="730986"/>
                  </a:lnTo>
                  <a:lnTo>
                    <a:pt x="192366" y="724496"/>
                  </a:lnTo>
                  <a:close/>
                </a:path>
                <a:path w="403225" h="1433829">
                  <a:moveTo>
                    <a:pt x="202565" y="687082"/>
                  </a:moveTo>
                  <a:lnTo>
                    <a:pt x="197332" y="706272"/>
                  </a:lnTo>
                  <a:lnTo>
                    <a:pt x="209156" y="712762"/>
                  </a:lnTo>
                  <a:lnTo>
                    <a:pt x="214299" y="693966"/>
                  </a:lnTo>
                  <a:lnTo>
                    <a:pt x="202565" y="687082"/>
                  </a:lnTo>
                  <a:close/>
                </a:path>
                <a:path w="403225" h="1433829">
                  <a:moveTo>
                    <a:pt x="389940" y="0"/>
                  </a:moveTo>
                  <a:lnTo>
                    <a:pt x="207289" y="669785"/>
                  </a:lnTo>
                  <a:lnTo>
                    <a:pt x="219011" y="676668"/>
                  </a:lnTo>
                  <a:lnTo>
                    <a:pt x="402628" y="3441"/>
                  </a:lnTo>
                  <a:lnTo>
                    <a:pt x="398157" y="2933"/>
                  </a:lnTo>
                  <a:lnTo>
                    <a:pt x="393890" y="1752"/>
                  </a:lnTo>
                  <a:lnTo>
                    <a:pt x="389940" y="0"/>
                  </a:lnTo>
                  <a:close/>
                </a:path>
              </a:pathLst>
            </a:custGeom>
            <a:solidFill>
              <a:srgbClr val="EF3D60">
                <a:alpha val="50999"/>
              </a:srgbClr>
            </a:solidFill>
          </p:spPr>
          <p:txBody>
            <a:bodyPr wrap="square" lIns="0" tIns="0" rIns="0" bIns="0" rtlCol="0"/>
            <a:lstStyle/>
            <a:p>
              <a:endParaRPr sz="2968"/>
            </a:p>
          </p:txBody>
        </p:sp>
        <p:sp>
          <p:nvSpPr>
            <p:cNvPr id="50" name="object 48">
              <a:extLst>
                <a:ext uri="{FF2B5EF4-FFF2-40B4-BE49-F238E27FC236}">
                  <a16:creationId xmlns:a16="http://schemas.microsoft.com/office/drawing/2014/main" id="{3A6ED520-B656-4742-AB3E-52C8CFB135CA}"/>
                </a:ext>
              </a:extLst>
            </p:cNvPr>
            <p:cNvSpPr/>
            <p:nvPr/>
          </p:nvSpPr>
          <p:spPr>
            <a:xfrm>
              <a:off x="5734648" y="4274338"/>
              <a:ext cx="748665" cy="1307465"/>
            </a:xfrm>
            <a:custGeom>
              <a:avLst/>
              <a:gdLst/>
              <a:ahLst/>
              <a:cxnLst/>
              <a:rect l="l" t="t" r="r" b="b"/>
              <a:pathLst>
                <a:path w="748664" h="1307464">
                  <a:moveTo>
                    <a:pt x="48005" y="91236"/>
                  </a:moveTo>
                  <a:lnTo>
                    <a:pt x="736993" y="1307058"/>
                  </a:lnTo>
                  <a:lnTo>
                    <a:pt x="740422" y="1304340"/>
                  </a:lnTo>
                  <a:lnTo>
                    <a:pt x="744283" y="1302143"/>
                  </a:lnTo>
                  <a:lnTo>
                    <a:pt x="748436" y="1300556"/>
                  </a:lnTo>
                  <a:lnTo>
                    <a:pt x="70053" y="103339"/>
                  </a:lnTo>
                  <a:lnTo>
                    <a:pt x="48005" y="91236"/>
                  </a:lnTo>
                  <a:close/>
                </a:path>
                <a:path w="748664" h="1307464">
                  <a:moveTo>
                    <a:pt x="11493" y="0"/>
                  </a:moveTo>
                  <a:lnTo>
                    <a:pt x="8051" y="2717"/>
                  </a:lnTo>
                  <a:lnTo>
                    <a:pt x="4190" y="4940"/>
                  </a:lnTo>
                  <a:lnTo>
                    <a:pt x="0" y="6527"/>
                  </a:lnTo>
                  <a:lnTo>
                    <a:pt x="30746" y="60794"/>
                  </a:lnTo>
                  <a:lnTo>
                    <a:pt x="52806" y="72898"/>
                  </a:lnTo>
                  <a:lnTo>
                    <a:pt x="11493" y="0"/>
                  </a:lnTo>
                  <a:close/>
                </a:path>
              </a:pathLst>
            </a:custGeom>
            <a:solidFill>
              <a:srgbClr val="EF3D60">
                <a:alpha val="50999"/>
              </a:srgbClr>
            </a:solidFill>
          </p:spPr>
          <p:txBody>
            <a:bodyPr wrap="square" lIns="0" tIns="0" rIns="0" bIns="0" rtlCol="0"/>
            <a:lstStyle/>
            <a:p>
              <a:endParaRPr sz="2968"/>
            </a:p>
          </p:txBody>
        </p:sp>
        <p:sp>
          <p:nvSpPr>
            <p:cNvPr id="51" name="object 49">
              <a:extLst>
                <a:ext uri="{FF2B5EF4-FFF2-40B4-BE49-F238E27FC236}">
                  <a16:creationId xmlns:a16="http://schemas.microsoft.com/office/drawing/2014/main" id="{2F6A6086-ADB5-F34E-886E-8EC341ECAE85}"/>
                </a:ext>
              </a:extLst>
            </p:cNvPr>
            <p:cNvSpPr/>
            <p:nvPr/>
          </p:nvSpPr>
          <p:spPr>
            <a:xfrm>
              <a:off x="4512942" y="4347672"/>
              <a:ext cx="1946275" cy="1252220"/>
            </a:xfrm>
            <a:custGeom>
              <a:avLst/>
              <a:gdLst/>
              <a:ahLst/>
              <a:cxnLst/>
              <a:rect l="l" t="t" r="r" b="b"/>
              <a:pathLst>
                <a:path w="1946275" h="1252220">
                  <a:moveTo>
                    <a:pt x="9182" y="0"/>
                  </a:moveTo>
                  <a:lnTo>
                    <a:pt x="7086" y="5410"/>
                  </a:lnTo>
                  <a:lnTo>
                    <a:pt x="3937" y="10274"/>
                  </a:lnTo>
                  <a:lnTo>
                    <a:pt x="0" y="14389"/>
                  </a:lnTo>
                  <a:lnTo>
                    <a:pt x="1945093" y="1252143"/>
                  </a:lnTo>
                  <a:lnTo>
                    <a:pt x="1945703" y="1250607"/>
                  </a:lnTo>
                  <a:lnTo>
                    <a:pt x="1946059" y="1249857"/>
                  </a:lnTo>
                  <a:lnTo>
                    <a:pt x="1785924" y="1130617"/>
                  </a:lnTo>
                  <a:lnTo>
                    <a:pt x="9182" y="0"/>
                  </a:lnTo>
                  <a:close/>
                </a:path>
              </a:pathLst>
            </a:custGeom>
            <a:solidFill>
              <a:srgbClr val="EF3D60">
                <a:alpha val="50999"/>
              </a:srgbClr>
            </a:solidFill>
          </p:spPr>
          <p:txBody>
            <a:bodyPr wrap="square" lIns="0" tIns="0" rIns="0" bIns="0" rtlCol="0"/>
            <a:lstStyle/>
            <a:p>
              <a:endParaRPr sz="2968"/>
            </a:p>
          </p:txBody>
        </p:sp>
        <p:sp>
          <p:nvSpPr>
            <p:cNvPr id="52" name="object 50">
              <a:extLst>
                <a:ext uri="{FF2B5EF4-FFF2-40B4-BE49-F238E27FC236}">
                  <a16:creationId xmlns:a16="http://schemas.microsoft.com/office/drawing/2014/main" id="{6B1F75E1-DA17-C14F-8E50-630E8DE20CA7}"/>
                </a:ext>
              </a:extLst>
            </p:cNvPr>
            <p:cNvSpPr/>
            <p:nvPr/>
          </p:nvSpPr>
          <p:spPr>
            <a:xfrm>
              <a:off x="4372583" y="4029037"/>
              <a:ext cx="2098040" cy="1569085"/>
            </a:xfrm>
            <a:custGeom>
              <a:avLst/>
              <a:gdLst/>
              <a:ahLst/>
              <a:cxnLst/>
              <a:rect l="l" t="t" r="r" b="b"/>
              <a:pathLst>
                <a:path w="2098040" h="1569085">
                  <a:moveTo>
                    <a:pt x="11074" y="0"/>
                  </a:moveTo>
                  <a:lnTo>
                    <a:pt x="8483" y="5715"/>
                  </a:lnTo>
                  <a:lnTo>
                    <a:pt x="4673" y="10756"/>
                  </a:lnTo>
                  <a:lnTo>
                    <a:pt x="0" y="14820"/>
                  </a:lnTo>
                  <a:lnTo>
                    <a:pt x="2086419" y="1568500"/>
                  </a:lnTo>
                  <a:lnTo>
                    <a:pt x="2088997" y="1562798"/>
                  </a:lnTo>
                  <a:lnTo>
                    <a:pt x="2092769" y="1557769"/>
                  </a:lnTo>
                  <a:lnTo>
                    <a:pt x="2097430" y="1553705"/>
                  </a:lnTo>
                  <a:lnTo>
                    <a:pt x="11074" y="0"/>
                  </a:lnTo>
                  <a:close/>
                </a:path>
              </a:pathLst>
            </a:custGeom>
            <a:solidFill>
              <a:srgbClr val="EF3D60">
                <a:alpha val="50999"/>
              </a:srgbClr>
            </a:solidFill>
          </p:spPr>
          <p:txBody>
            <a:bodyPr wrap="square" lIns="0" tIns="0" rIns="0" bIns="0" rtlCol="0"/>
            <a:lstStyle/>
            <a:p>
              <a:endParaRPr sz="2968"/>
            </a:p>
          </p:txBody>
        </p:sp>
        <p:sp>
          <p:nvSpPr>
            <p:cNvPr id="53" name="object 51">
              <a:extLst>
                <a:ext uri="{FF2B5EF4-FFF2-40B4-BE49-F238E27FC236}">
                  <a16:creationId xmlns:a16="http://schemas.microsoft.com/office/drawing/2014/main" id="{6FCADF55-F3E5-E843-8388-01DE9D033EC2}"/>
                </a:ext>
              </a:extLst>
            </p:cNvPr>
            <p:cNvSpPr/>
            <p:nvPr/>
          </p:nvSpPr>
          <p:spPr>
            <a:xfrm>
              <a:off x="6535056" y="5622235"/>
              <a:ext cx="2333625" cy="903605"/>
            </a:xfrm>
            <a:custGeom>
              <a:avLst/>
              <a:gdLst/>
              <a:ahLst/>
              <a:cxnLst/>
              <a:rect l="l" t="t" r="r" b="b"/>
              <a:pathLst>
                <a:path w="2333625" h="903604">
                  <a:moveTo>
                    <a:pt x="6375" y="0"/>
                  </a:moveTo>
                  <a:lnTo>
                    <a:pt x="5422" y="6095"/>
                  </a:lnTo>
                  <a:lnTo>
                    <a:pt x="3200" y="11772"/>
                  </a:lnTo>
                  <a:lnTo>
                    <a:pt x="0" y="16738"/>
                  </a:lnTo>
                  <a:lnTo>
                    <a:pt x="2327147" y="903312"/>
                  </a:lnTo>
                  <a:lnTo>
                    <a:pt x="2328100" y="897204"/>
                  </a:lnTo>
                  <a:lnTo>
                    <a:pt x="2330310" y="891527"/>
                  </a:lnTo>
                  <a:lnTo>
                    <a:pt x="2333523" y="886548"/>
                  </a:lnTo>
                  <a:lnTo>
                    <a:pt x="6375" y="0"/>
                  </a:lnTo>
                  <a:close/>
                </a:path>
              </a:pathLst>
            </a:custGeom>
            <a:solidFill>
              <a:srgbClr val="EF3D60">
                <a:alpha val="50999"/>
              </a:srgbClr>
            </a:solidFill>
          </p:spPr>
          <p:txBody>
            <a:bodyPr wrap="square" lIns="0" tIns="0" rIns="0" bIns="0" rtlCol="0"/>
            <a:lstStyle/>
            <a:p>
              <a:endParaRPr sz="2968"/>
            </a:p>
          </p:txBody>
        </p:sp>
        <p:sp>
          <p:nvSpPr>
            <p:cNvPr id="54" name="object 52">
              <a:extLst>
                <a:ext uri="{FF2B5EF4-FFF2-40B4-BE49-F238E27FC236}">
                  <a16:creationId xmlns:a16="http://schemas.microsoft.com/office/drawing/2014/main" id="{D954D112-B03B-F945-8FCB-36D4ED432CBB}"/>
                </a:ext>
              </a:extLst>
            </p:cNvPr>
            <p:cNvSpPr/>
            <p:nvPr/>
          </p:nvSpPr>
          <p:spPr>
            <a:xfrm>
              <a:off x="6548594" y="5296577"/>
              <a:ext cx="1490980" cy="303530"/>
            </a:xfrm>
            <a:custGeom>
              <a:avLst/>
              <a:gdLst/>
              <a:ahLst/>
              <a:cxnLst/>
              <a:rect l="l" t="t" r="r" b="b"/>
              <a:pathLst>
                <a:path w="1490979" h="303529">
                  <a:moveTo>
                    <a:pt x="1001712" y="98679"/>
                  </a:moveTo>
                  <a:lnTo>
                    <a:pt x="5549" y="300824"/>
                  </a:lnTo>
                  <a:lnTo>
                    <a:pt x="0" y="303390"/>
                  </a:lnTo>
                  <a:lnTo>
                    <a:pt x="213487" y="272262"/>
                  </a:lnTo>
                  <a:lnTo>
                    <a:pt x="1027899" y="107010"/>
                  </a:lnTo>
                  <a:lnTo>
                    <a:pt x="1001712" y="98679"/>
                  </a:lnTo>
                  <a:close/>
                </a:path>
                <a:path w="1490979" h="303529">
                  <a:moveTo>
                    <a:pt x="1080465" y="82702"/>
                  </a:moveTo>
                  <a:lnTo>
                    <a:pt x="1023264" y="94310"/>
                  </a:lnTo>
                  <a:lnTo>
                    <a:pt x="1049451" y="102641"/>
                  </a:lnTo>
                  <a:lnTo>
                    <a:pt x="1098613" y="92671"/>
                  </a:lnTo>
                  <a:lnTo>
                    <a:pt x="1080465" y="82702"/>
                  </a:lnTo>
                  <a:close/>
                </a:path>
                <a:path w="1490979" h="303529">
                  <a:moveTo>
                    <a:pt x="1190472" y="60375"/>
                  </a:moveTo>
                  <a:lnTo>
                    <a:pt x="1115999" y="75488"/>
                  </a:lnTo>
                  <a:lnTo>
                    <a:pt x="1133271" y="85636"/>
                  </a:lnTo>
                  <a:lnTo>
                    <a:pt x="1198486" y="72402"/>
                  </a:lnTo>
                  <a:lnTo>
                    <a:pt x="1190472" y="60375"/>
                  </a:lnTo>
                  <a:close/>
                </a:path>
                <a:path w="1490979" h="303529">
                  <a:moveTo>
                    <a:pt x="1290561" y="40068"/>
                  </a:moveTo>
                  <a:lnTo>
                    <a:pt x="1204823" y="57467"/>
                  </a:lnTo>
                  <a:lnTo>
                    <a:pt x="1212837" y="69481"/>
                  </a:lnTo>
                  <a:lnTo>
                    <a:pt x="1288808" y="54076"/>
                  </a:lnTo>
                  <a:lnTo>
                    <a:pt x="1290561" y="40068"/>
                  </a:lnTo>
                  <a:close/>
                </a:path>
                <a:path w="1490979" h="303529">
                  <a:moveTo>
                    <a:pt x="1314869" y="35128"/>
                  </a:moveTo>
                  <a:lnTo>
                    <a:pt x="1303693" y="37401"/>
                  </a:lnTo>
                  <a:lnTo>
                    <a:pt x="1301953" y="51409"/>
                  </a:lnTo>
                  <a:lnTo>
                    <a:pt x="1310347" y="49707"/>
                  </a:lnTo>
                  <a:lnTo>
                    <a:pt x="1314869" y="35128"/>
                  </a:lnTo>
                  <a:close/>
                </a:path>
                <a:path w="1490979" h="303529">
                  <a:moveTo>
                    <a:pt x="1338465" y="30340"/>
                  </a:moveTo>
                  <a:lnTo>
                    <a:pt x="1335633" y="30924"/>
                  </a:lnTo>
                  <a:lnTo>
                    <a:pt x="1331125" y="45491"/>
                  </a:lnTo>
                  <a:lnTo>
                    <a:pt x="1332141" y="45275"/>
                  </a:lnTo>
                  <a:lnTo>
                    <a:pt x="1338465" y="30340"/>
                  </a:lnTo>
                  <a:close/>
                </a:path>
                <a:path w="1490979" h="303529">
                  <a:moveTo>
                    <a:pt x="1356004" y="26784"/>
                  </a:moveTo>
                  <a:lnTo>
                    <a:pt x="1348854" y="28232"/>
                  </a:lnTo>
                  <a:lnTo>
                    <a:pt x="1342542" y="43167"/>
                  </a:lnTo>
                  <a:lnTo>
                    <a:pt x="1347876" y="42087"/>
                  </a:lnTo>
                  <a:lnTo>
                    <a:pt x="1356004" y="26784"/>
                  </a:lnTo>
                  <a:close/>
                </a:path>
                <a:path w="1490979" h="303529">
                  <a:moveTo>
                    <a:pt x="1409192" y="15989"/>
                  </a:moveTo>
                  <a:lnTo>
                    <a:pt x="1368196" y="24307"/>
                  </a:lnTo>
                  <a:lnTo>
                    <a:pt x="1360068" y="39611"/>
                  </a:lnTo>
                  <a:lnTo>
                    <a:pt x="1395285" y="32473"/>
                  </a:lnTo>
                  <a:lnTo>
                    <a:pt x="1409192" y="15989"/>
                  </a:lnTo>
                  <a:close/>
                </a:path>
                <a:path w="1490979" h="303529">
                  <a:moveTo>
                    <a:pt x="1488008" y="0"/>
                  </a:moveTo>
                  <a:lnTo>
                    <a:pt x="1444205" y="8890"/>
                  </a:lnTo>
                  <a:lnTo>
                    <a:pt x="1429334" y="25565"/>
                  </a:lnTo>
                  <a:lnTo>
                    <a:pt x="1490662" y="13119"/>
                  </a:lnTo>
                  <a:lnTo>
                    <a:pt x="1489125" y="9004"/>
                  </a:lnTo>
                  <a:lnTo>
                    <a:pt x="1488211" y="4597"/>
                  </a:lnTo>
                  <a:lnTo>
                    <a:pt x="1488008" y="0"/>
                  </a:lnTo>
                  <a:close/>
                </a:path>
              </a:pathLst>
            </a:custGeom>
            <a:solidFill>
              <a:srgbClr val="EF3D60">
                <a:alpha val="50999"/>
              </a:srgbClr>
            </a:solidFill>
          </p:spPr>
          <p:txBody>
            <a:bodyPr wrap="square" lIns="0" tIns="0" rIns="0" bIns="0" rtlCol="0"/>
            <a:lstStyle/>
            <a:p>
              <a:endParaRPr sz="2968"/>
            </a:p>
          </p:txBody>
        </p:sp>
        <p:sp>
          <p:nvSpPr>
            <p:cNvPr id="55" name="object 53">
              <a:extLst>
                <a:ext uri="{FF2B5EF4-FFF2-40B4-BE49-F238E27FC236}">
                  <a16:creationId xmlns:a16="http://schemas.microsoft.com/office/drawing/2014/main" id="{F8F7ABDC-F8D8-AF42-BC95-2D9B417B33C7}"/>
                </a:ext>
              </a:extLst>
            </p:cNvPr>
            <p:cNvSpPr/>
            <p:nvPr/>
          </p:nvSpPr>
          <p:spPr>
            <a:xfrm>
              <a:off x="6544419" y="4893776"/>
              <a:ext cx="1499870" cy="707390"/>
            </a:xfrm>
            <a:custGeom>
              <a:avLst/>
              <a:gdLst/>
              <a:ahLst/>
              <a:cxnLst/>
              <a:rect l="l" t="t" r="r" b="b"/>
              <a:pathLst>
                <a:path w="1499870" h="707389">
                  <a:moveTo>
                    <a:pt x="653910" y="389483"/>
                  </a:moveTo>
                  <a:lnTo>
                    <a:pt x="327533" y="540842"/>
                  </a:lnTo>
                  <a:lnTo>
                    <a:pt x="0" y="706805"/>
                  </a:lnTo>
                  <a:lnTo>
                    <a:pt x="4178" y="706196"/>
                  </a:lnTo>
                  <a:lnTo>
                    <a:pt x="673582" y="395744"/>
                  </a:lnTo>
                  <a:lnTo>
                    <a:pt x="653910" y="389483"/>
                  </a:lnTo>
                  <a:close/>
                </a:path>
                <a:path w="1499870" h="707389">
                  <a:moveTo>
                    <a:pt x="792594" y="325170"/>
                  </a:moveTo>
                  <a:lnTo>
                    <a:pt x="668274" y="382816"/>
                  </a:lnTo>
                  <a:lnTo>
                    <a:pt x="687946" y="389089"/>
                  </a:lnTo>
                  <a:lnTo>
                    <a:pt x="807783" y="333502"/>
                  </a:lnTo>
                  <a:lnTo>
                    <a:pt x="792594" y="325170"/>
                  </a:lnTo>
                  <a:close/>
                </a:path>
                <a:path w="1499870" h="707389">
                  <a:moveTo>
                    <a:pt x="1029423" y="215328"/>
                  </a:moveTo>
                  <a:lnTo>
                    <a:pt x="829856" y="307886"/>
                  </a:lnTo>
                  <a:lnTo>
                    <a:pt x="844486" y="316484"/>
                  </a:lnTo>
                  <a:lnTo>
                    <a:pt x="1037259" y="227088"/>
                  </a:lnTo>
                  <a:lnTo>
                    <a:pt x="1029423" y="215328"/>
                  </a:lnTo>
                  <a:close/>
                </a:path>
                <a:path w="1499870" h="707389">
                  <a:moveTo>
                    <a:pt x="1341247" y="70726"/>
                  </a:moveTo>
                  <a:lnTo>
                    <a:pt x="1041869" y="209562"/>
                  </a:lnTo>
                  <a:lnTo>
                    <a:pt x="1049693" y="221322"/>
                  </a:lnTo>
                  <a:lnTo>
                    <a:pt x="1339215" y="87045"/>
                  </a:lnTo>
                  <a:lnTo>
                    <a:pt x="1341247" y="70726"/>
                  </a:lnTo>
                  <a:close/>
                </a:path>
                <a:path w="1499870" h="707389">
                  <a:moveTo>
                    <a:pt x="1448130" y="21145"/>
                  </a:moveTo>
                  <a:lnTo>
                    <a:pt x="1354848" y="64414"/>
                  </a:lnTo>
                  <a:lnTo>
                    <a:pt x="1352816" y="80746"/>
                  </a:lnTo>
                  <a:lnTo>
                    <a:pt x="1442567" y="39116"/>
                  </a:lnTo>
                  <a:lnTo>
                    <a:pt x="1448130" y="21145"/>
                  </a:lnTo>
                  <a:close/>
                </a:path>
                <a:path w="1499870" h="707389">
                  <a:moveTo>
                    <a:pt x="1493735" y="0"/>
                  </a:moveTo>
                  <a:lnTo>
                    <a:pt x="1470863" y="10604"/>
                  </a:lnTo>
                  <a:lnTo>
                    <a:pt x="1465300" y="28575"/>
                  </a:lnTo>
                  <a:lnTo>
                    <a:pt x="1499616" y="12661"/>
                  </a:lnTo>
                  <a:lnTo>
                    <a:pt x="1497012" y="8839"/>
                  </a:lnTo>
                  <a:lnTo>
                    <a:pt x="1495005" y="4572"/>
                  </a:lnTo>
                  <a:lnTo>
                    <a:pt x="1493735" y="0"/>
                  </a:lnTo>
                  <a:close/>
                </a:path>
              </a:pathLst>
            </a:custGeom>
            <a:solidFill>
              <a:srgbClr val="EF3D60">
                <a:alpha val="50999"/>
              </a:srgbClr>
            </a:solidFill>
          </p:spPr>
          <p:txBody>
            <a:bodyPr wrap="square" lIns="0" tIns="0" rIns="0" bIns="0" rtlCol="0"/>
            <a:lstStyle/>
            <a:p>
              <a:endParaRPr sz="2968"/>
            </a:p>
          </p:txBody>
        </p:sp>
        <p:sp>
          <p:nvSpPr>
            <p:cNvPr id="56" name="object 54">
              <a:extLst>
                <a:ext uri="{FF2B5EF4-FFF2-40B4-BE49-F238E27FC236}">
                  <a16:creationId xmlns:a16="http://schemas.microsoft.com/office/drawing/2014/main" id="{24B1C918-3F76-8F48-B097-FF331981D9B5}"/>
                </a:ext>
              </a:extLst>
            </p:cNvPr>
            <p:cNvSpPr/>
            <p:nvPr/>
          </p:nvSpPr>
          <p:spPr>
            <a:xfrm>
              <a:off x="6533348" y="4757251"/>
              <a:ext cx="1649730" cy="844550"/>
            </a:xfrm>
            <a:custGeom>
              <a:avLst/>
              <a:gdLst/>
              <a:ahLst/>
              <a:cxnLst/>
              <a:rect l="l" t="t" r="r" b="b"/>
              <a:pathLst>
                <a:path w="1649729" h="844550">
                  <a:moveTo>
                    <a:pt x="627824" y="514184"/>
                  </a:moveTo>
                  <a:lnTo>
                    <a:pt x="0" y="832281"/>
                  </a:lnTo>
                  <a:lnTo>
                    <a:pt x="2641" y="835812"/>
                  </a:lnTo>
                  <a:lnTo>
                    <a:pt x="4749" y="839774"/>
                  </a:lnTo>
                  <a:lnTo>
                    <a:pt x="6235" y="844041"/>
                  </a:lnTo>
                  <a:lnTo>
                    <a:pt x="11074" y="843330"/>
                  </a:lnTo>
                  <a:lnTo>
                    <a:pt x="648004" y="520611"/>
                  </a:lnTo>
                  <a:lnTo>
                    <a:pt x="627824" y="514184"/>
                  </a:lnTo>
                  <a:close/>
                </a:path>
                <a:path w="1649729" h="844550">
                  <a:moveTo>
                    <a:pt x="768997" y="442658"/>
                  </a:moveTo>
                  <a:lnTo>
                    <a:pt x="641438" y="507288"/>
                  </a:lnTo>
                  <a:lnTo>
                    <a:pt x="661619" y="513702"/>
                  </a:lnTo>
                  <a:lnTo>
                    <a:pt x="784758" y="451319"/>
                  </a:lnTo>
                  <a:lnTo>
                    <a:pt x="768997" y="442658"/>
                  </a:lnTo>
                  <a:close/>
                </a:path>
                <a:path w="1649729" h="844550">
                  <a:moveTo>
                    <a:pt x="1017193" y="316903"/>
                  </a:moveTo>
                  <a:lnTo>
                    <a:pt x="805992" y="423913"/>
                  </a:lnTo>
                  <a:lnTo>
                    <a:pt x="821207" y="432841"/>
                  </a:lnTo>
                  <a:lnTo>
                    <a:pt x="1025486" y="329349"/>
                  </a:lnTo>
                  <a:lnTo>
                    <a:pt x="1017193" y="316903"/>
                  </a:lnTo>
                  <a:close/>
                </a:path>
                <a:path w="1649729" h="844550">
                  <a:moveTo>
                    <a:pt x="1360347" y="143040"/>
                  </a:moveTo>
                  <a:lnTo>
                    <a:pt x="1029373" y="310743"/>
                  </a:lnTo>
                  <a:lnTo>
                    <a:pt x="1037653" y="323176"/>
                  </a:lnTo>
                  <a:lnTo>
                    <a:pt x="1358138" y="160794"/>
                  </a:lnTo>
                  <a:lnTo>
                    <a:pt x="1360347" y="143040"/>
                  </a:lnTo>
                  <a:close/>
                </a:path>
                <a:path w="1649729" h="844550">
                  <a:moveTo>
                    <a:pt x="1482991" y="80911"/>
                  </a:moveTo>
                  <a:lnTo>
                    <a:pt x="1374025" y="136118"/>
                  </a:lnTo>
                  <a:lnTo>
                    <a:pt x="1371803" y="153873"/>
                  </a:lnTo>
                  <a:lnTo>
                    <a:pt x="1476870" y="100634"/>
                  </a:lnTo>
                  <a:lnTo>
                    <a:pt x="1482991" y="80911"/>
                  </a:lnTo>
                  <a:close/>
                </a:path>
                <a:path w="1649729" h="844550">
                  <a:moveTo>
                    <a:pt x="1642681" y="0"/>
                  </a:moveTo>
                  <a:lnTo>
                    <a:pt x="1506067" y="69214"/>
                  </a:lnTo>
                  <a:lnTo>
                    <a:pt x="1499958" y="88938"/>
                  </a:lnTo>
                  <a:lnTo>
                    <a:pt x="1649387" y="13233"/>
                  </a:lnTo>
                  <a:lnTo>
                    <a:pt x="1646440" y="9283"/>
                  </a:lnTo>
                  <a:lnTo>
                    <a:pt x="1644154" y="4825"/>
                  </a:lnTo>
                  <a:lnTo>
                    <a:pt x="1642681" y="0"/>
                  </a:lnTo>
                  <a:close/>
                </a:path>
              </a:pathLst>
            </a:custGeom>
            <a:solidFill>
              <a:srgbClr val="EF3D60">
                <a:alpha val="50999"/>
              </a:srgbClr>
            </a:solidFill>
          </p:spPr>
          <p:txBody>
            <a:bodyPr wrap="square" lIns="0" tIns="0" rIns="0" bIns="0" rtlCol="0"/>
            <a:lstStyle/>
            <a:p>
              <a:endParaRPr sz="2968"/>
            </a:p>
          </p:txBody>
        </p:sp>
        <p:sp>
          <p:nvSpPr>
            <p:cNvPr id="57" name="object 55">
              <a:extLst>
                <a:ext uri="{FF2B5EF4-FFF2-40B4-BE49-F238E27FC236}">
                  <a16:creationId xmlns:a16="http://schemas.microsoft.com/office/drawing/2014/main" id="{7A0AA8A0-FE0C-1449-82E0-05DEB2EDC2A6}"/>
                </a:ext>
              </a:extLst>
            </p:cNvPr>
            <p:cNvSpPr/>
            <p:nvPr/>
          </p:nvSpPr>
          <p:spPr>
            <a:xfrm>
              <a:off x="6539578" y="5292697"/>
              <a:ext cx="2118360" cy="325120"/>
            </a:xfrm>
            <a:custGeom>
              <a:avLst/>
              <a:gdLst/>
              <a:ahLst/>
              <a:cxnLst/>
              <a:rect l="l" t="t" r="r" b="b"/>
              <a:pathLst>
                <a:path w="2118359" h="325120">
                  <a:moveTo>
                    <a:pt x="10655" y="323481"/>
                  </a:moveTo>
                  <a:lnTo>
                    <a:pt x="2349" y="324345"/>
                  </a:lnTo>
                  <a:lnTo>
                    <a:pt x="2324" y="324700"/>
                  </a:lnTo>
                  <a:lnTo>
                    <a:pt x="10655" y="323481"/>
                  </a:lnTo>
                  <a:close/>
                </a:path>
                <a:path w="2118359" h="325120">
                  <a:moveTo>
                    <a:pt x="1137056" y="142760"/>
                  </a:moveTo>
                  <a:lnTo>
                    <a:pt x="0" y="308584"/>
                  </a:lnTo>
                  <a:lnTo>
                    <a:pt x="431" y="309841"/>
                  </a:lnTo>
                  <a:lnTo>
                    <a:pt x="812" y="311111"/>
                  </a:lnTo>
                  <a:lnTo>
                    <a:pt x="1130" y="312407"/>
                  </a:lnTo>
                  <a:lnTo>
                    <a:pt x="295046" y="282003"/>
                  </a:lnTo>
                  <a:lnTo>
                    <a:pt x="1172502" y="154038"/>
                  </a:lnTo>
                  <a:lnTo>
                    <a:pt x="1137056" y="142760"/>
                  </a:lnTo>
                  <a:close/>
                </a:path>
                <a:path w="2118359" h="325120">
                  <a:moveTo>
                    <a:pt x="1180312" y="136448"/>
                  </a:moveTo>
                  <a:lnTo>
                    <a:pt x="1161262" y="139230"/>
                  </a:lnTo>
                  <a:lnTo>
                    <a:pt x="1196708" y="150507"/>
                  </a:lnTo>
                  <a:lnTo>
                    <a:pt x="1203985" y="149453"/>
                  </a:lnTo>
                  <a:lnTo>
                    <a:pt x="1180312" y="136448"/>
                  </a:lnTo>
                  <a:close/>
                </a:path>
                <a:path w="2118359" h="325120">
                  <a:moveTo>
                    <a:pt x="1241653" y="127507"/>
                  </a:moveTo>
                  <a:lnTo>
                    <a:pt x="1213904" y="131546"/>
                  </a:lnTo>
                  <a:lnTo>
                    <a:pt x="1236357" y="144729"/>
                  </a:lnTo>
                  <a:lnTo>
                    <a:pt x="1251635" y="142493"/>
                  </a:lnTo>
                  <a:lnTo>
                    <a:pt x="1241653" y="127507"/>
                  </a:lnTo>
                  <a:close/>
                </a:path>
                <a:path w="2118359" h="325120">
                  <a:moveTo>
                    <a:pt x="1290015" y="120446"/>
                  </a:moveTo>
                  <a:lnTo>
                    <a:pt x="1256499" y="125336"/>
                  </a:lnTo>
                  <a:lnTo>
                    <a:pt x="1266507" y="140334"/>
                  </a:lnTo>
                  <a:lnTo>
                    <a:pt x="1287919" y="137210"/>
                  </a:lnTo>
                  <a:lnTo>
                    <a:pt x="1290015" y="120446"/>
                  </a:lnTo>
                  <a:close/>
                </a:path>
                <a:path w="2118359" h="325120">
                  <a:moveTo>
                    <a:pt x="1339418" y="113245"/>
                  </a:moveTo>
                  <a:lnTo>
                    <a:pt x="1331417" y="114414"/>
                  </a:lnTo>
                  <a:lnTo>
                    <a:pt x="1321943" y="132245"/>
                  </a:lnTo>
                  <a:lnTo>
                    <a:pt x="1323594" y="132003"/>
                  </a:lnTo>
                  <a:lnTo>
                    <a:pt x="1339418" y="113245"/>
                  </a:lnTo>
                  <a:close/>
                </a:path>
                <a:path w="2118359" h="325120">
                  <a:moveTo>
                    <a:pt x="1391831" y="105600"/>
                  </a:moveTo>
                  <a:lnTo>
                    <a:pt x="1367231" y="109194"/>
                  </a:lnTo>
                  <a:lnTo>
                    <a:pt x="1350365" y="128104"/>
                  </a:lnTo>
                  <a:lnTo>
                    <a:pt x="1363548" y="126174"/>
                  </a:lnTo>
                  <a:lnTo>
                    <a:pt x="1391831" y="105600"/>
                  </a:lnTo>
                  <a:close/>
                </a:path>
                <a:path w="2118359" h="325120">
                  <a:moveTo>
                    <a:pt x="2115934" y="0"/>
                  </a:moveTo>
                  <a:lnTo>
                    <a:pt x="1406956" y="103403"/>
                  </a:lnTo>
                  <a:lnTo>
                    <a:pt x="1378673" y="123964"/>
                  </a:lnTo>
                  <a:lnTo>
                    <a:pt x="1954263" y="40030"/>
                  </a:lnTo>
                  <a:lnTo>
                    <a:pt x="2116074" y="5956"/>
                  </a:lnTo>
                  <a:lnTo>
                    <a:pt x="2115959" y="4622"/>
                  </a:lnTo>
                  <a:lnTo>
                    <a:pt x="2115934" y="0"/>
                  </a:lnTo>
                  <a:close/>
                </a:path>
                <a:path w="2118359" h="325120">
                  <a:moveTo>
                    <a:pt x="2118106" y="15633"/>
                  </a:moveTo>
                  <a:lnTo>
                    <a:pt x="2110422" y="17259"/>
                  </a:lnTo>
                  <a:lnTo>
                    <a:pt x="2118258" y="16103"/>
                  </a:lnTo>
                  <a:lnTo>
                    <a:pt x="2118106" y="15633"/>
                  </a:lnTo>
                  <a:close/>
                </a:path>
              </a:pathLst>
            </a:custGeom>
            <a:solidFill>
              <a:srgbClr val="EF3D60">
                <a:alpha val="50999"/>
              </a:srgbClr>
            </a:solidFill>
          </p:spPr>
          <p:txBody>
            <a:bodyPr wrap="square" lIns="0" tIns="0" rIns="0" bIns="0" rtlCol="0"/>
            <a:lstStyle/>
            <a:p>
              <a:endParaRPr sz="2968"/>
            </a:p>
          </p:txBody>
        </p:sp>
        <p:sp>
          <p:nvSpPr>
            <p:cNvPr id="58" name="object 56">
              <a:extLst>
                <a:ext uri="{FF2B5EF4-FFF2-40B4-BE49-F238E27FC236}">
                  <a16:creationId xmlns:a16="http://schemas.microsoft.com/office/drawing/2014/main" id="{85846941-0F74-6244-A4DC-F34FBDDC1D4E}"/>
                </a:ext>
              </a:extLst>
            </p:cNvPr>
            <p:cNvSpPr/>
            <p:nvPr/>
          </p:nvSpPr>
          <p:spPr>
            <a:xfrm>
              <a:off x="6540704" y="5476444"/>
              <a:ext cx="1245235" cy="140970"/>
            </a:xfrm>
            <a:custGeom>
              <a:avLst/>
              <a:gdLst/>
              <a:ahLst/>
              <a:cxnLst/>
              <a:rect l="l" t="t" r="r" b="b"/>
              <a:pathLst>
                <a:path w="1245234" h="140970">
                  <a:moveTo>
                    <a:pt x="1243812" y="0"/>
                  </a:moveTo>
                  <a:lnTo>
                    <a:pt x="0" y="128663"/>
                  </a:lnTo>
                  <a:lnTo>
                    <a:pt x="812" y="131991"/>
                  </a:lnTo>
                  <a:lnTo>
                    <a:pt x="1244" y="135458"/>
                  </a:lnTo>
                  <a:lnTo>
                    <a:pt x="1219" y="140588"/>
                  </a:lnTo>
                  <a:lnTo>
                    <a:pt x="1245044" y="11925"/>
                  </a:lnTo>
                  <a:lnTo>
                    <a:pt x="1244218" y="8597"/>
                  </a:lnTo>
                  <a:lnTo>
                    <a:pt x="1243787" y="5105"/>
                  </a:lnTo>
                  <a:lnTo>
                    <a:pt x="1243812" y="0"/>
                  </a:lnTo>
                  <a:close/>
                </a:path>
              </a:pathLst>
            </a:custGeom>
            <a:solidFill>
              <a:srgbClr val="EF3D60">
                <a:alpha val="50999"/>
              </a:srgbClr>
            </a:solidFill>
          </p:spPr>
          <p:txBody>
            <a:bodyPr wrap="square" lIns="0" tIns="0" rIns="0" bIns="0" rtlCol="0"/>
            <a:lstStyle/>
            <a:p>
              <a:endParaRPr sz="2968"/>
            </a:p>
          </p:txBody>
        </p:sp>
        <p:sp>
          <p:nvSpPr>
            <p:cNvPr id="59" name="object 57">
              <a:extLst>
                <a:ext uri="{FF2B5EF4-FFF2-40B4-BE49-F238E27FC236}">
                  <a16:creationId xmlns:a16="http://schemas.microsoft.com/office/drawing/2014/main" id="{54791D6D-CC9E-EB41-9890-599CCA3A6DA5}"/>
                </a:ext>
              </a:extLst>
            </p:cNvPr>
            <p:cNvSpPr/>
            <p:nvPr/>
          </p:nvSpPr>
          <p:spPr>
            <a:xfrm>
              <a:off x="7867216" y="5494141"/>
              <a:ext cx="1440815" cy="884555"/>
            </a:xfrm>
            <a:custGeom>
              <a:avLst/>
              <a:gdLst/>
              <a:ahLst/>
              <a:cxnLst/>
              <a:rect l="l" t="t" r="r" b="b"/>
              <a:pathLst>
                <a:path w="1440815" h="884554">
                  <a:moveTo>
                    <a:pt x="1339024" y="810945"/>
                  </a:moveTo>
                  <a:lnTo>
                    <a:pt x="1327226" y="820267"/>
                  </a:lnTo>
                  <a:lnTo>
                    <a:pt x="1433093" y="884428"/>
                  </a:lnTo>
                  <a:lnTo>
                    <a:pt x="1434858" y="880008"/>
                  </a:lnTo>
                  <a:lnTo>
                    <a:pt x="1437347" y="875944"/>
                  </a:lnTo>
                  <a:lnTo>
                    <a:pt x="1440395" y="872375"/>
                  </a:lnTo>
                  <a:lnTo>
                    <a:pt x="1339024" y="810945"/>
                  </a:lnTo>
                  <a:close/>
                </a:path>
                <a:path w="1440815" h="884554">
                  <a:moveTo>
                    <a:pt x="1204683" y="729526"/>
                  </a:moveTo>
                  <a:lnTo>
                    <a:pt x="1198206" y="742073"/>
                  </a:lnTo>
                  <a:lnTo>
                    <a:pt x="1311783" y="810907"/>
                  </a:lnTo>
                  <a:lnTo>
                    <a:pt x="1323581" y="801585"/>
                  </a:lnTo>
                  <a:lnTo>
                    <a:pt x="1204683" y="729526"/>
                  </a:lnTo>
                  <a:close/>
                </a:path>
                <a:path w="1440815" h="884554">
                  <a:moveTo>
                    <a:pt x="510159" y="308597"/>
                  </a:moveTo>
                  <a:lnTo>
                    <a:pt x="495465" y="316166"/>
                  </a:lnTo>
                  <a:lnTo>
                    <a:pt x="1187030" y="735291"/>
                  </a:lnTo>
                  <a:lnTo>
                    <a:pt x="1193507" y="722757"/>
                  </a:lnTo>
                  <a:lnTo>
                    <a:pt x="510159" y="308597"/>
                  </a:lnTo>
                  <a:close/>
                </a:path>
                <a:path w="1440815" h="884554">
                  <a:moveTo>
                    <a:pt x="990" y="0"/>
                  </a:moveTo>
                  <a:lnTo>
                    <a:pt x="685" y="774"/>
                  </a:lnTo>
                  <a:lnTo>
                    <a:pt x="355" y="1536"/>
                  </a:lnTo>
                  <a:lnTo>
                    <a:pt x="0" y="2273"/>
                  </a:lnTo>
                  <a:lnTo>
                    <a:pt x="92671" y="72034"/>
                  </a:lnTo>
                  <a:lnTo>
                    <a:pt x="481672" y="307797"/>
                  </a:lnTo>
                  <a:lnTo>
                    <a:pt x="496366" y="300228"/>
                  </a:lnTo>
                  <a:lnTo>
                    <a:pt x="990" y="0"/>
                  </a:lnTo>
                  <a:close/>
                </a:path>
              </a:pathLst>
            </a:custGeom>
            <a:solidFill>
              <a:srgbClr val="EF3D60">
                <a:alpha val="50999"/>
              </a:srgbClr>
            </a:solidFill>
          </p:spPr>
          <p:txBody>
            <a:bodyPr wrap="square" lIns="0" tIns="0" rIns="0" bIns="0" rtlCol="0"/>
            <a:lstStyle/>
            <a:p>
              <a:endParaRPr sz="2968"/>
            </a:p>
          </p:txBody>
        </p:sp>
        <p:sp>
          <p:nvSpPr>
            <p:cNvPr id="60" name="object 58">
              <a:extLst>
                <a:ext uri="{FF2B5EF4-FFF2-40B4-BE49-F238E27FC236}">
                  <a16:creationId xmlns:a16="http://schemas.microsoft.com/office/drawing/2014/main" id="{9F979646-1387-2A41-AB3A-3F14413CC3B7}"/>
                </a:ext>
              </a:extLst>
            </p:cNvPr>
            <p:cNvSpPr/>
            <p:nvPr/>
          </p:nvSpPr>
          <p:spPr>
            <a:xfrm>
              <a:off x="7846626" y="5512926"/>
              <a:ext cx="238125" cy="388620"/>
            </a:xfrm>
            <a:custGeom>
              <a:avLst/>
              <a:gdLst/>
              <a:ahLst/>
              <a:cxnLst/>
              <a:rect l="l" t="t" r="r" b="b"/>
              <a:pathLst>
                <a:path w="238125" h="388620">
                  <a:moveTo>
                    <a:pt x="7023" y="0"/>
                  </a:moveTo>
                  <a:lnTo>
                    <a:pt x="4838" y="1625"/>
                  </a:lnTo>
                  <a:lnTo>
                    <a:pt x="2476" y="3035"/>
                  </a:lnTo>
                  <a:lnTo>
                    <a:pt x="0" y="4229"/>
                  </a:lnTo>
                  <a:lnTo>
                    <a:pt x="230543" y="388505"/>
                  </a:lnTo>
                  <a:lnTo>
                    <a:pt x="232740" y="386880"/>
                  </a:lnTo>
                  <a:lnTo>
                    <a:pt x="235089" y="385470"/>
                  </a:lnTo>
                  <a:lnTo>
                    <a:pt x="237553" y="384276"/>
                  </a:lnTo>
                  <a:lnTo>
                    <a:pt x="7023" y="0"/>
                  </a:lnTo>
                  <a:close/>
                </a:path>
              </a:pathLst>
            </a:custGeom>
            <a:solidFill>
              <a:srgbClr val="EF3D60">
                <a:alpha val="50999"/>
              </a:srgbClr>
            </a:solidFill>
          </p:spPr>
          <p:txBody>
            <a:bodyPr wrap="square" lIns="0" tIns="0" rIns="0" bIns="0" rtlCol="0"/>
            <a:lstStyle/>
            <a:p>
              <a:endParaRPr sz="2968"/>
            </a:p>
          </p:txBody>
        </p:sp>
        <p:sp>
          <p:nvSpPr>
            <p:cNvPr id="61" name="object 59">
              <a:extLst>
                <a:ext uri="{FF2B5EF4-FFF2-40B4-BE49-F238E27FC236}">
                  <a16:creationId xmlns:a16="http://schemas.microsoft.com/office/drawing/2014/main" id="{3A25B4A8-4EEC-EE49-BE12-0A6E26C70587}"/>
                </a:ext>
              </a:extLst>
            </p:cNvPr>
            <p:cNvSpPr/>
            <p:nvPr/>
          </p:nvSpPr>
          <p:spPr>
            <a:xfrm>
              <a:off x="6858936" y="5165062"/>
              <a:ext cx="927735" cy="305435"/>
            </a:xfrm>
            <a:custGeom>
              <a:avLst/>
              <a:gdLst/>
              <a:ahLst/>
              <a:cxnLst/>
              <a:rect l="l" t="t" r="r" b="b"/>
              <a:pathLst>
                <a:path w="927734" h="305435">
                  <a:moveTo>
                    <a:pt x="3238" y="0"/>
                  </a:moveTo>
                  <a:lnTo>
                    <a:pt x="2565" y="3581"/>
                  </a:lnTo>
                  <a:lnTo>
                    <a:pt x="1473" y="6997"/>
                  </a:lnTo>
                  <a:lnTo>
                    <a:pt x="0" y="10198"/>
                  </a:lnTo>
                  <a:lnTo>
                    <a:pt x="926287" y="304939"/>
                  </a:lnTo>
                  <a:lnTo>
                    <a:pt x="926566" y="303441"/>
                  </a:lnTo>
                  <a:lnTo>
                    <a:pt x="926922" y="301967"/>
                  </a:lnTo>
                  <a:lnTo>
                    <a:pt x="927341" y="300532"/>
                  </a:lnTo>
                  <a:lnTo>
                    <a:pt x="899248" y="285102"/>
                  </a:lnTo>
                  <a:lnTo>
                    <a:pt x="3238" y="0"/>
                  </a:lnTo>
                  <a:close/>
                </a:path>
              </a:pathLst>
            </a:custGeom>
            <a:solidFill>
              <a:srgbClr val="EF3D60">
                <a:alpha val="50999"/>
              </a:srgbClr>
            </a:solidFill>
          </p:spPr>
          <p:txBody>
            <a:bodyPr wrap="square" lIns="0" tIns="0" rIns="0" bIns="0" rtlCol="0"/>
            <a:lstStyle/>
            <a:p>
              <a:endParaRPr sz="2968"/>
            </a:p>
          </p:txBody>
        </p:sp>
        <p:sp>
          <p:nvSpPr>
            <p:cNvPr id="62" name="object 60">
              <a:extLst>
                <a:ext uri="{FF2B5EF4-FFF2-40B4-BE49-F238E27FC236}">
                  <a16:creationId xmlns:a16="http://schemas.microsoft.com/office/drawing/2014/main" id="{40D2DE99-BA51-7C4E-BC04-108EAB74F08C}"/>
                </a:ext>
              </a:extLst>
            </p:cNvPr>
            <p:cNvSpPr/>
            <p:nvPr/>
          </p:nvSpPr>
          <p:spPr>
            <a:xfrm>
              <a:off x="5522876" y="4206844"/>
              <a:ext cx="2264410" cy="1259205"/>
            </a:xfrm>
            <a:custGeom>
              <a:avLst/>
              <a:gdLst/>
              <a:ahLst/>
              <a:cxnLst/>
              <a:rect l="l" t="t" r="r" b="b"/>
              <a:pathLst>
                <a:path w="2264409" h="1259204">
                  <a:moveTo>
                    <a:pt x="8864" y="0"/>
                  </a:moveTo>
                  <a:lnTo>
                    <a:pt x="7073" y="6019"/>
                  </a:lnTo>
                  <a:lnTo>
                    <a:pt x="4013" y="11493"/>
                  </a:lnTo>
                  <a:lnTo>
                    <a:pt x="0" y="16103"/>
                  </a:lnTo>
                  <a:lnTo>
                    <a:pt x="2263406" y="1258747"/>
                  </a:lnTo>
                  <a:lnTo>
                    <a:pt x="2263940" y="1257071"/>
                  </a:lnTo>
                  <a:lnTo>
                    <a:pt x="1764360" y="963828"/>
                  </a:lnTo>
                  <a:lnTo>
                    <a:pt x="8864" y="0"/>
                  </a:lnTo>
                  <a:close/>
                </a:path>
              </a:pathLst>
            </a:custGeom>
            <a:solidFill>
              <a:srgbClr val="EF3D60">
                <a:alpha val="50999"/>
              </a:srgbClr>
            </a:solidFill>
          </p:spPr>
          <p:txBody>
            <a:bodyPr wrap="square" lIns="0" tIns="0" rIns="0" bIns="0" rtlCol="0"/>
            <a:lstStyle/>
            <a:p>
              <a:endParaRPr sz="2968"/>
            </a:p>
          </p:txBody>
        </p:sp>
        <p:sp>
          <p:nvSpPr>
            <p:cNvPr id="63" name="object 61">
              <a:extLst>
                <a:ext uri="{FF2B5EF4-FFF2-40B4-BE49-F238E27FC236}">
                  <a16:creationId xmlns:a16="http://schemas.microsoft.com/office/drawing/2014/main" id="{D54A5FC4-74BF-CB43-8F72-36F5E809D45F}"/>
                </a:ext>
              </a:extLst>
            </p:cNvPr>
            <p:cNvSpPr/>
            <p:nvPr/>
          </p:nvSpPr>
          <p:spPr>
            <a:xfrm>
              <a:off x="7862450" y="3808255"/>
              <a:ext cx="1456055" cy="1640205"/>
            </a:xfrm>
            <a:custGeom>
              <a:avLst/>
              <a:gdLst/>
              <a:ahLst/>
              <a:cxnLst/>
              <a:rect l="l" t="t" r="r" b="b"/>
              <a:pathLst>
                <a:path w="1456054" h="1640204">
                  <a:moveTo>
                    <a:pt x="443826" y="1120978"/>
                  </a:moveTo>
                  <a:lnTo>
                    <a:pt x="337921" y="1239710"/>
                  </a:lnTo>
                  <a:lnTo>
                    <a:pt x="0" y="1640205"/>
                  </a:lnTo>
                  <a:lnTo>
                    <a:pt x="8001" y="1634388"/>
                  </a:lnTo>
                  <a:lnTo>
                    <a:pt x="462876" y="1124381"/>
                  </a:lnTo>
                  <a:lnTo>
                    <a:pt x="443826" y="1120978"/>
                  </a:lnTo>
                  <a:close/>
                </a:path>
                <a:path w="1456054" h="1640204">
                  <a:moveTo>
                    <a:pt x="462673" y="1099845"/>
                  </a:moveTo>
                  <a:lnTo>
                    <a:pt x="454025" y="1109535"/>
                  </a:lnTo>
                  <a:lnTo>
                    <a:pt x="473075" y="1112951"/>
                  </a:lnTo>
                  <a:lnTo>
                    <a:pt x="483489" y="1101267"/>
                  </a:lnTo>
                  <a:lnTo>
                    <a:pt x="462673" y="1099845"/>
                  </a:lnTo>
                  <a:close/>
                </a:path>
                <a:path w="1456054" h="1640204">
                  <a:moveTo>
                    <a:pt x="551091" y="1000709"/>
                  </a:moveTo>
                  <a:lnTo>
                    <a:pt x="478256" y="1082382"/>
                  </a:lnTo>
                  <a:lnTo>
                    <a:pt x="499071" y="1083805"/>
                  </a:lnTo>
                  <a:lnTo>
                    <a:pt x="568579" y="1005878"/>
                  </a:lnTo>
                  <a:lnTo>
                    <a:pt x="551091" y="1000709"/>
                  </a:lnTo>
                  <a:close/>
                </a:path>
                <a:path w="1456054" h="1640204">
                  <a:moveTo>
                    <a:pt x="575691" y="973137"/>
                  </a:moveTo>
                  <a:lnTo>
                    <a:pt x="560387" y="990295"/>
                  </a:lnTo>
                  <a:lnTo>
                    <a:pt x="577862" y="995464"/>
                  </a:lnTo>
                  <a:lnTo>
                    <a:pt x="595553" y="975639"/>
                  </a:lnTo>
                  <a:lnTo>
                    <a:pt x="575691" y="973137"/>
                  </a:lnTo>
                  <a:close/>
                </a:path>
                <a:path w="1456054" h="1640204">
                  <a:moveTo>
                    <a:pt x="824191" y="694524"/>
                  </a:moveTo>
                  <a:lnTo>
                    <a:pt x="590156" y="956906"/>
                  </a:lnTo>
                  <a:lnTo>
                    <a:pt x="610019" y="959408"/>
                  </a:lnTo>
                  <a:lnTo>
                    <a:pt x="837679" y="704164"/>
                  </a:lnTo>
                  <a:lnTo>
                    <a:pt x="824191" y="694524"/>
                  </a:lnTo>
                  <a:close/>
                </a:path>
                <a:path w="1456054" h="1640204">
                  <a:moveTo>
                    <a:pt x="1219758" y="251002"/>
                  </a:moveTo>
                  <a:lnTo>
                    <a:pt x="834275" y="683209"/>
                  </a:lnTo>
                  <a:lnTo>
                    <a:pt x="847775" y="692848"/>
                  </a:lnTo>
                  <a:lnTo>
                    <a:pt x="1227493" y="267106"/>
                  </a:lnTo>
                  <a:lnTo>
                    <a:pt x="1219758" y="251002"/>
                  </a:lnTo>
                  <a:close/>
                </a:path>
                <a:path w="1456054" h="1640204">
                  <a:moveTo>
                    <a:pt x="1236345" y="232422"/>
                  </a:moveTo>
                  <a:lnTo>
                    <a:pt x="1228204" y="241528"/>
                  </a:lnTo>
                  <a:lnTo>
                    <a:pt x="1235938" y="257632"/>
                  </a:lnTo>
                  <a:lnTo>
                    <a:pt x="1250543" y="241249"/>
                  </a:lnTo>
                  <a:lnTo>
                    <a:pt x="1236345" y="232422"/>
                  </a:lnTo>
                  <a:close/>
                </a:path>
                <a:path w="1456054" h="1640204">
                  <a:moveTo>
                    <a:pt x="1251419" y="215506"/>
                  </a:moveTo>
                  <a:lnTo>
                    <a:pt x="1246581" y="220941"/>
                  </a:lnTo>
                  <a:lnTo>
                    <a:pt x="1256449" y="227076"/>
                  </a:lnTo>
                  <a:lnTo>
                    <a:pt x="1251419" y="215506"/>
                  </a:lnTo>
                  <a:close/>
                </a:path>
                <a:path w="1456054" h="1640204">
                  <a:moveTo>
                    <a:pt x="1443634" y="0"/>
                  </a:moveTo>
                  <a:lnTo>
                    <a:pt x="1264208" y="201168"/>
                  </a:lnTo>
                  <a:lnTo>
                    <a:pt x="1271447" y="217817"/>
                  </a:lnTo>
                  <a:lnTo>
                    <a:pt x="1455928" y="10972"/>
                  </a:lnTo>
                  <a:lnTo>
                    <a:pt x="1451165" y="8128"/>
                  </a:lnTo>
                  <a:lnTo>
                    <a:pt x="1446987" y="4394"/>
                  </a:lnTo>
                  <a:lnTo>
                    <a:pt x="1443634" y="0"/>
                  </a:lnTo>
                  <a:close/>
                </a:path>
              </a:pathLst>
            </a:custGeom>
            <a:solidFill>
              <a:srgbClr val="EF3D60">
                <a:alpha val="50999"/>
              </a:srgbClr>
            </a:solidFill>
          </p:spPr>
          <p:txBody>
            <a:bodyPr wrap="square" lIns="0" tIns="0" rIns="0" bIns="0" rtlCol="0"/>
            <a:lstStyle/>
            <a:p>
              <a:endParaRPr sz="2968"/>
            </a:p>
          </p:txBody>
        </p:sp>
        <p:sp>
          <p:nvSpPr>
            <p:cNvPr id="64" name="object 62">
              <a:extLst>
                <a:ext uri="{FF2B5EF4-FFF2-40B4-BE49-F238E27FC236}">
                  <a16:creationId xmlns:a16="http://schemas.microsoft.com/office/drawing/2014/main" id="{5C5EF74D-97E1-CD41-B0E5-0CD0719C030F}"/>
                </a:ext>
              </a:extLst>
            </p:cNvPr>
            <p:cNvSpPr/>
            <p:nvPr/>
          </p:nvSpPr>
          <p:spPr>
            <a:xfrm>
              <a:off x="7826916" y="4052929"/>
              <a:ext cx="185420" cy="1382395"/>
            </a:xfrm>
            <a:custGeom>
              <a:avLst/>
              <a:gdLst/>
              <a:ahLst/>
              <a:cxnLst/>
              <a:rect l="l" t="t" r="r" b="b"/>
              <a:pathLst>
                <a:path w="185420" h="1382395">
                  <a:moveTo>
                    <a:pt x="4695" y="1381620"/>
                  </a:moveTo>
                  <a:lnTo>
                    <a:pt x="2222" y="1381620"/>
                  </a:lnTo>
                  <a:lnTo>
                    <a:pt x="3441" y="1381671"/>
                  </a:lnTo>
                  <a:lnTo>
                    <a:pt x="4648" y="1381772"/>
                  </a:lnTo>
                  <a:lnTo>
                    <a:pt x="4695" y="1381620"/>
                  </a:lnTo>
                  <a:close/>
                </a:path>
                <a:path w="185420" h="1382395">
                  <a:moveTo>
                    <a:pt x="172707" y="0"/>
                  </a:moveTo>
                  <a:lnTo>
                    <a:pt x="0" y="1381633"/>
                  </a:lnTo>
                  <a:lnTo>
                    <a:pt x="4695" y="1381620"/>
                  </a:lnTo>
                  <a:lnTo>
                    <a:pt x="18300" y="1337691"/>
                  </a:lnTo>
                  <a:lnTo>
                    <a:pt x="185316" y="1574"/>
                  </a:lnTo>
                  <a:lnTo>
                    <a:pt x="180211" y="1562"/>
                  </a:lnTo>
                  <a:lnTo>
                    <a:pt x="176403" y="1028"/>
                  </a:lnTo>
                  <a:lnTo>
                    <a:pt x="172707" y="0"/>
                  </a:lnTo>
                  <a:close/>
                </a:path>
              </a:pathLst>
            </a:custGeom>
            <a:solidFill>
              <a:srgbClr val="EF3D60">
                <a:alpha val="50999"/>
              </a:srgbClr>
            </a:solidFill>
          </p:spPr>
          <p:txBody>
            <a:bodyPr wrap="square" lIns="0" tIns="0" rIns="0" bIns="0" rtlCol="0"/>
            <a:lstStyle/>
            <a:p>
              <a:endParaRPr sz="2968"/>
            </a:p>
          </p:txBody>
        </p:sp>
        <p:sp>
          <p:nvSpPr>
            <p:cNvPr id="65" name="object 63">
              <a:extLst>
                <a:ext uri="{FF2B5EF4-FFF2-40B4-BE49-F238E27FC236}">
                  <a16:creationId xmlns:a16="http://schemas.microsoft.com/office/drawing/2014/main" id="{CC3641FA-D656-D94B-96DE-113A6A3F9BB1}"/>
                </a:ext>
              </a:extLst>
            </p:cNvPr>
            <p:cNvSpPr/>
            <p:nvPr/>
          </p:nvSpPr>
          <p:spPr>
            <a:xfrm>
              <a:off x="6929284" y="4134676"/>
              <a:ext cx="880744" cy="1311910"/>
            </a:xfrm>
            <a:custGeom>
              <a:avLst/>
              <a:gdLst/>
              <a:ahLst/>
              <a:cxnLst/>
              <a:rect l="l" t="t" r="r" b="b"/>
              <a:pathLst>
                <a:path w="880745" h="1311910">
                  <a:moveTo>
                    <a:pt x="11226" y="0"/>
                  </a:moveTo>
                  <a:lnTo>
                    <a:pt x="7912" y="3048"/>
                  </a:lnTo>
                  <a:lnTo>
                    <a:pt x="4127" y="5600"/>
                  </a:lnTo>
                  <a:lnTo>
                    <a:pt x="0" y="7505"/>
                  </a:lnTo>
                  <a:lnTo>
                    <a:pt x="869188" y="1311389"/>
                  </a:lnTo>
                  <a:lnTo>
                    <a:pt x="872502" y="1308315"/>
                  </a:lnTo>
                  <a:lnTo>
                    <a:pt x="876300" y="1305763"/>
                  </a:lnTo>
                  <a:lnTo>
                    <a:pt x="880452" y="1303845"/>
                  </a:lnTo>
                  <a:lnTo>
                    <a:pt x="11226" y="0"/>
                  </a:lnTo>
                  <a:close/>
                </a:path>
              </a:pathLst>
            </a:custGeom>
            <a:solidFill>
              <a:srgbClr val="EF3D60">
                <a:alpha val="50999"/>
              </a:srgbClr>
            </a:solidFill>
          </p:spPr>
          <p:txBody>
            <a:bodyPr wrap="square" lIns="0" tIns="0" rIns="0" bIns="0" rtlCol="0"/>
            <a:lstStyle/>
            <a:p>
              <a:endParaRPr sz="2968"/>
            </a:p>
          </p:txBody>
        </p:sp>
        <p:sp>
          <p:nvSpPr>
            <p:cNvPr id="66" name="object 64">
              <a:extLst>
                <a:ext uri="{FF2B5EF4-FFF2-40B4-BE49-F238E27FC236}">
                  <a16:creationId xmlns:a16="http://schemas.microsoft.com/office/drawing/2014/main" id="{0D24527B-E8F5-A44E-A1E5-9E6C078E1A15}"/>
                </a:ext>
              </a:extLst>
            </p:cNvPr>
            <p:cNvSpPr/>
            <p:nvPr/>
          </p:nvSpPr>
          <p:spPr>
            <a:xfrm>
              <a:off x="5751563" y="4254341"/>
              <a:ext cx="2044064" cy="1209675"/>
            </a:xfrm>
            <a:custGeom>
              <a:avLst/>
              <a:gdLst/>
              <a:ahLst/>
              <a:cxnLst/>
              <a:rect l="l" t="t" r="r" b="b"/>
              <a:pathLst>
                <a:path w="2044065" h="1209675">
                  <a:moveTo>
                    <a:pt x="8750" y="0"/>
                  </a:moveTo>
                  <a:lnTo>
                    <a:pt x="6845" y="5562"/>
                  </a:lnTo>
                  <a:lnTo>
                    <a:pt x="3835" y="10617"/>
                  </a:lnTo>
                  <a:lnTo>
                    <a:pt x="0" y="14909"/>
                  </a:lnTo>
                  <a:lnTo>
                    <a:pt x="2035251" y="1209573"/>
                  </a:lnTo>
                  <a:lnTo>
                    <a:pt x="2037168" y="1203998"/>
                  </a:lnTo>
                  <a:lnTo>
                    <a:pt x="2040178" y="1198918"/>
                  </a:lnTo>
                  <a:lnTo>
                    <a:pt x="2044039" y="1194625"/>
                  </a:lnTo>
                  <a:lnTo>
                    <a:pt x="8750" y="0"/>
                  </a:lnTo>
                  <a:close/>
                </a:path>
              </a:pathLst>
            </a:custGeom>
            <a:solidFill>
              <a:srgbClr val="EF3D60">
                <a:alpha val="50999"/>
              </a:srgbClr>
            </a:solidFill>
          </p:spPr>
          <p:txBody>
            <a:bodyPr wrap="square" lIns="0" tIns="0" rIns="0" bIns="0" rtlCol="0"/>
            <a:lstStyle/>
            <a:p>
              <a:endParaRPr sz="2968"/>
            </a:p>
          </p:txBody>
        </p:sp>
        <p:sp>
          <p:nvSpPr>
            <p:cNvPr id="67" name="object 65">
              <a:extLst>
                <a:ext uri="{FF2B5EF4-FFF2-40B4-BE49-F238E27FC236}">
                  <a16:creationId xmlns:a16="http://schemas.microsoft.com/office/drawing/2014/main" id="{BF6EAF98-EBB4-564F-BB9B-DE68D340918D}"/>
                </a:ext>
              </a:extLst>
            </p:cNvPr>
            <p:cNvSpPr/>
            <p:nvPr/>
          </p:nvSpPr>
          <p:spPr>
            <a:xfrm>
              <a:off x="7852395" y="4039027"/>
              <a:ext cx="1191260" cy="1410970"/>
            </a:xfrm>
            <a:custGeom>
              <a:avLst/>
              <a:gdLst/>
              <a:ahLst/>
              <a:cxnLst/>
              <a:rect l="l" t="t" r="r" b="b"/>
              <a:pathLst>
                <a:path w="1191259" h="1410970">
                  <a:moveTo>
                    <a:pt x="432117" y="886307"/>
                  </a:moveTo>
                  <a:lnTo>
                    <a:pt x="6667" y="1390535"/>
                  </a:lnTo>
                  <a:lnTo>
                    <a:pt x="0" y="1403096"/>
                  </a:lnTo>
                  <a:lnTo>
                    <a:pt x="3124" y="1405229"/>
                  </a:lnTo>
                  <a:lnTo>
                    <a:pt x="5956" y="1407769"/>
                  </a:lnTo>
                  <a:lnTo>
                    <a:pt x="8420" y="1410627"/>
                  </a:lnTo>
                  <a:lnTo>
                    <a:pt x="10058" y="1409433"/>
                  </a:lnTo>
                  <a:lnTo>
                    <a:pt x="448919" y="889317"/>
                  </a:lnTo>
                  <a:lnTo>
                    <a:pt x="432117" y="886307"/>
                  </a:lnTo>
                  <a:close/>
                </a:path>
                <a:path w="1191259" h="1410970">
                  <a:moveTo>
                    <a:pt x="448081" y="867384"/>
                  </a:moveTo>
                  <a:lnTo>
                    <a:pt x="441845" y="874788"/>
                  </a:lnTo>
                  <a:lnTo>
                    <a:pt x="458635" y="877798"/>
                  </a:lnTo>
                  <a:lnTo>
                    <a:pt x="466369" y="868641"/>
                  </a:lnTo>
                  <a:lnTo>
                    <a:pt x="448081" y="867384"/>
                  </a:lnTo>
                  <a:close/>
                </a:path>
                <a:path w="1191259" h="1410970">
                  <a:moveTo>
                    <a:pt x="536447" y="762660"/>
                  </a:moveTo>
                  <a:lnTo>
                    <a:pt x="462864" y="849871"/>
                  </a:lnTo>
                  <a:lnTo>
                    <a:pt x="481139" y="851115"/>
                  </a:lnTo>
                  <a:lnTo>
                    <a:pt x="551941" y="767219"/>
                  </a:lnTo>
                  <a:lnTo>
                    <a:pt x="536447" y="762660"/>
                  </a:lnTo>
                  <a:close/>
                </a:path>
                <a:path w="1191259" h="1410970">
                  <a:moveTo>
                    <a:pt x="556666" y="738695"/>
                  </a:moveTo>
                  <a:lnTo>
                    <a:pt x="545337" y="752119"/>
                  </a:lnTo>
                  <a:lnTo>
                    <a:pt x="560819" y="756691"/>
                  </a:lnTo>
                  <a:lnTo>
                    <a:pt x="574154" y="740892"/>
                  </a:lnTo>
                  <a:lnTo>
                    <a:pt x="556666" y="738695"/>
                  </a:lnTo>
                  <a:close/>
                </a:path>
                <a:path w="1191259" h="1410970">
                  <a:moveTo>
                    <a:pt x="805789" y="443433"/>
                  </a:moveTo>
                  <a:lnTo>
                    <a:pt x="570433" y="722376"/>
                  </a:lnTo>
                  <a:lnTo>
                    <a:pt x="587908" y="724585"/>
                  </a:lnTo>
                  <a:lnTo>
                    <a:pt x="817854" y="452056"/>
                  </a:lnTo>
                  <a:lnTo>
                    <a:pt x="805789" y="443433"/>
                  </a:lnTo>
                  <a:close/>
                </a:path>
                <a:path w="1191259" h="1410970">
                  <a:moveTo>
                    <a:pt x="1179956" y="0"/>
                  </a:moveTo>
                  <a:lnTo>
                    <a:pt x="815543" y="431876"/>
                  </a:lnTo>
                  <a:lnTo>
                    <a:pt x="827608" y="440499"/>
                  </a:lnTo>
                  <a:lnTo>
                    <a:pt x="1191247" y="9525"/>
                  </a:lnTo>
                  <a:lnTo>
                    <a:pt x="1186954" y="7010"/>
                  </a:lnTo>
                  <a:lnTo>
                    <a:pt x="1183131" y="3784"/>
                  </a:lnTo>
                  <a:lnTo>
                    <a:pt x="1179956" y="0"/>
                  </a:lnTo>
                  <a:close/>
                </a:path>
              </a:pathLst>
            </a:custGeom>
            <a:solidFill>
              <a:srgbClr val="EF3D60">
                <a:alpha val="50999"/>
              </a:srgbClr>
            </a:solidFill>
          </p:spPr>
          <p:txBody>
            <a:bodyPr wrap="square" lIns="0" tIns="0" rIns="0" bIns="0" rtlCol="0"/>
            <a:lstStyle/>
            <a:p>
              <a:endParaRPr sz="2968"/>
            </a:p>
          </p:txBody>
        </p:sp>
        <p:sp>
          <p:nvSpPr>
            <p:cNvPr id="68" name="object 66">
              <a:extLst>
                <a:ext uri="{FF2B5EF4-FFF2-40B4-BE49-F238E27FC236}">
                  <a16:creationId xmlns:a16="http://schemas.microsoft.com/office/drawing/2014/main" id="{3DA7D2D2-0CB4-7A4C-8A5D-30FBA058A990}"/>
                </a:ext>
              </a:extLst>
            </p:cNvPr>
            <p:cNvSpPr/>
            <p:nvPr/>
          </p:nvSpPr>
          <p:spPr>
            <a:xfrm>
              <a:off x="7854128" y="5511681"/>
              <a:ext cx="1024890" cy="995680"/>
            </a:xfrm>
            <a:custGeom>
              <a:avLst/>
              <a:gdLst/>
              <a:ahLst/>
              <a:cxnLst/>
              <a:rect l="l" t="t" r="r" b="b"/>
              <a:pathLst>
                <a:path w="1024890" h="995679">
                  <a:moveTo>
                    <a:pt x="386638" y="361429"/>
                  </a:moveTo>
                  <a:lnTo>
                    <a:pt x="374662" y="367601"/>
                  </a:lnTo>
                  <a:lnTo>
                    <a:pt x="1015796" y="995133"/>
                  </a:lnTo>
                  <a:lnTo>
                    <a:pt x="1018311" y="991654"/>
                  </a:lnTo>
                  <a:lnTo>
                    <a:pt x="1021346" y="988555"/>
                  </a:lnTo>
                  <a:lnTo>
                    <a:pt x="1024775" y="985964"/>
                  </a:lnTo>
                  <a:lnTo>
                    <a:pt x="386638" y="361429"/>
                  </a:lnTo>
                  <a:close/>
                </a:path>
                <a:path w="1024890" h="995679">
                  <a:moveTo>
                    <a:pt x="1130" y="0"/>
                  </a:moveTo>
                  <a:lnTo>
                    <a:pt x="0" y="889"/>
                  </a:lnTo>
                  <a:lnTo>
                    <a:pt x="364312" y="357466"/>
                  </a:lnTo>
                  <a:lnTo>
                    <a:pt x="376288" y="351294"/>
                  </a:lnTo>
                  <a:lnTo>
                    <a:pt x="97408" y="78359"/>
                  </a:lnTo>
                  <a:lnTo>
                    <a:pt x="1130" y="0"/>
                  </a:lnTo>
                  <a:close/>
                </a:path>
              </a:pathLst>
            </a:custGeom>
            <a:solidFill>
              <a:srgbClr val="EF3D60">
                <a:alpha val="50999"/>
              </a:srgbClr>
            </a:solidFill>
          </p:spPr>
          <p:txBody>
            <a:bodyPr wrap="square" lIns="0" tIns="0" rIns="0" bIns="0" rtlCol="0"/>
            <a:lstStyle/>
            <a:p>
              <a:endParaRPr sz="2968"/>
            </a:p>
          </p:txBody>
        </p:sp>
        <p:sp>
          <p:nvSpPr>
            <p:cNvPr id="69" name="object 67">
              <a:extLst>
                <a:ext uri="{FF2B5EF4-FFF2-40B4-BE49-F238E27FC236}">
                  <a16:creationId xmlns:a16="http://schemas.microsoft.com/office/drawing/2014/main" id="{B65C1E74-E3D7-254C-9FA2-8DD40B9A505D}"/>
                </a:ext>
              </a:extLst>
            </p:cNvPr>
            <p:cNvSpPr/>
            <p:nvPr/>
          </p:nvSpPr>
          <p:spPr>
            <a:xfrm>
              <a:off x="7860806" y="5317194"/>
              <a:ext cx="186270" cy="138214"/>
            </a:xfrm>
            <a:prstGeom prst="rect">
              <a:avLst/>
            </a:prstGeom>
            <a:blipFill>
              <a:blip r:embed="rId2" cstate="print"/>
              <a:stretch>
                <a:fillRect/>
              </a:stretch>
            </a:blipFill>
          </p:spPr>
          <p:txBody>
            <a:bodyPr wrap="square" lIns="0" tIns="0" rIns="0" bIns="0" rtlCol="0"/>
            <a:lstStyle/>
            <a:p>
              <a:endParaRPr sz="2968"/>
            </a:p>
          </p:txBody>
        </p:sp>
        <p:sp>
          <p:nvSpPr>
            <p:cNvPr id="70" name="object 68">
              <a:extLst>
                <a:ext uri="{FF2B5EF4-FFF2-40B4-BE49-F238E27FC236}">
                  <a16:creationId xmlns:a16="http://schemas.microsoft.com/office/drawing/2014/main" id="{5310443C-90E5-0A4A-829B-24D9EF672294}"/>
                </a:ext>
              </a:extLst>
            </p:cNvPr>
            <p:cNvSpPr/>
            <p:nvPr/>
          </p:nvSpPr>
          <p:spPr>
            <a:xfrm>
              <a:off x="7858824" y="4920180"/>
              <a:ext cx="208915" cy="489584"/>
            </a:xfrm>
            <a:custGeom>
              <a:avLst/>
              <a:gdLst/>
              <a:ahLst/>
              <a:cxnLst/>
              <a:rect l="l" t="t" r="r" b="b"/>
              <a:pathLst>
                <a:path w="208915" h="489585">
                  <a:moveTo>
                    <a:pt x="200342" y="0"/>
                  </a:moveTo>
                  <a:lnTo>
                    <a:pt x="18326" y="430161"/>
                  </a:lnTo>
                  <a:lnTo>
                    <a:pt x="0" y="489369"/>
                  </a:lnTo>
                  <a:lnTo>
                    <a:pt x="13703" y="463562"/>
                  </a:lnTo>
                  <a:lnTo>
                    <a:pt x="208356" y="3390"/>
                  </a:lnTo>
                  <a:lnTo>
                    <a:pt x="205549" y="2527"/>
                  </a:lnTo>
                  <a:lnTo>
                    <a:pt x="202869" y="1384"/>
                  </a:lnTo>
                  <a:lnTo>
                    <a:pt x="200342" y="0"/>
                  </a:lnTo>
                  <a:close/>
                </a:path>
              </a:pathLst>
            </a:custGeom>
            <a:solidFill>
              <a:srgbClr val="EF3D60">
                <a:alpha val="50999"/>
              </a:srgbClr>
            </a:solidFill>
          </p:spPr>
          <p:txBody>
            <a:bodyPr wrap="square" lIns="0" tIns="0" rIns="0" bIns="0" rtlCol="0"/>
            <a:lstStyle/>
            <a:p>
              <a:endParaRPr sz="2968"/>
            </a:p>
          </p:txBody>
        </p:sp>
        <p:sp>
          <p:nvSpPr>
            <p:cNvPr id="71" name="object 69">
              <a:extLst>
                <a:ext uri="{FF2B5EF4-FFF2-40B4-BE49-F238E27FC236}">
                  <a16:creationId xmlns:a16="http://schemas.microsoft.com/office/drawing/2014/main" id="{2BF47D79-063C-7043-89FC-BE6A9837A581}"/>
                </a:ext>
              </a:extLst>
            </p:cNvPr>
            <p:cNvSpPr/>
            <p:nvPr/>
          </p:nvSpPr>
          <p:spPr>
            <a:xfrm>
              <a:off x="7849318" y="4780402"/>
              <a:ext cx="352425" cy="662305"/>
            </a:xfrm>
            <a:custGeom>
              <a:avLst/>
              <a:gdLst/>
              <a:ahLst/>
              <a:cxnLst/>
              <a:rect l="l" t="t" r="r" b="b"/>
              <a:pathLst>
                <a:path w="352425" h="662304">
                  <a:moveTo>
                    <a:pt x="281381" y="117386"/>
                  </a:moveTo>
                  <a:lnTo>
                    <a:pt x="9499" y="629145"/>
                  </a:lnTo>
                  <a:lnTo>
                    <a:pt x="0" y="659803"/>
                  </a:lnTo>
                  <a:lnTo>
                    <a:pt x="1054" y="660399"/>
                  </a:lnTo>
                  <a:lnTo>
                    <a:pt x="2082" y="661035"/>
                  </a:lnTo>
                  <a:lnTo>
                    <a:pt x="3073" y="661720"/>
                  </a:lnTo>
                  <a:lnTo>
                    <a:pt x="291287" y="119164"/>
                  </a:lnTo>
                  <a:lnTo>
                    <a:pt x="281381" y="117386"/>
                  </a:lnTo>
                  <a:close/>
                </a:path>
                <a:path w="352425" h="662304">
                  <a:moveTo>
                    <a:pt x="343738" y="0"/>
                  </a:moveTo>
                  <a:lnTo>
                    <a:pt x="292404" y="96634"/>
                  </a:lnTo>
                  <a:lnTo>
                    <a:pt x="302869" y="97345"/>
                  </a:lnTo>
                  <a:lnTo>
                    <a:pt x="352183" y="4495"/>
                  </a:lnTo>
                  <a:lnTo>
                    <a:pt x="349199" y="3314"/>
                  </a:lnTo>
                  <a:lnTo>
                    <a:pt x="346354" y="1790"/>
                  </a:lnTo>
                  <a:lnTo>
                    <a:pt x="343738" y="0"/>
                  </a:lnTo>
                  <a:close/>
                </a:path>
              </a:pathLst>
            </a:custGeom>
            <a:solidFill>
              <a:srgbClr val="EF3D60">
                <a:alpha val="50999"/>
              </a:srgbClr>
            </a:solidFill>
          </p:spPr>
          <p:txBody>
            <a:bodyPr wrap="square" lIns="0" tIns="0" rIns="0" bIns="0" rtlCol="0"/>
            <a:lstStyle/>
            <a:p>
              <a:endParaRPr sz="2968"/>
            </a:p>
          </p:txBody>
        </p:sp>
        <p:sp>
          <p:nvSpPr>
            <p:cNvPr id="72" name="object 70">
              <a:extLst>
                <a:ext uri="{FF2B5EF4-FFF2-40B4-BE49-F238E27FC236}">
                  <a16:creationId xmlns:a16="http://schemas.microsoft.com/office/drawing/2014/main" id="{191BFD73-811E-2044-83FA-476F2AC9BBB1}"/>
                </a:ext>
              </a:extLst>
            </p:cNvPr>
            <p:cNvSpPr/>
            <p:nvPr/>
          </p:nvSpPr>
          <p:spPr>
            <a:xfrm>
              <a:off x="7899364" y="5298658"/>
              <a:ext cx="758825" cy="159385"/>
            </a:xfrm>
            <a:custGeom>
              <a:avLst/>
              <a:gdLst/>
              <a:ahLst/>
              <a:cxnLst/>
              <a:rect l="l" t="t" r="r" b="b"/>
              <a:pathLst>
                <a:path w="758825" h="159385">
                  <a:moveTo>
                    <a:pt x="756284" y="0"/>
                  </a:moveTo>
                  <a:lnTo>
                    <a:pt x="0" y="159207"/>
                  </a:lnTo>
                  <a:lnTo>
                    <a:pt x="325551" y="100774"/>
                  </a:lnTo>
                  <a:lnTo>
                    <a:pt x="758316" y="9677"/>
                  </a:lnTo>
                  <a:lnTo>
                    <a:pt x="757288" y="6591"/>
                  </a:lnTo>
                  <a:lnTo>
                    <a:pt x="756602" y="3352"/>
                  </a:lnTo>
                  <a:lnTo>
                    <a:pt x="756284" y="0"/>
                  </a:lnTo>
                  <a:close/>
                </a:path>
              </a:pathLst>
            </a:custGeom>
            <a:solidFill>
              <a:srgbClr val="EF3D60">
                <a:alpha val="50999"/>
              </a:srgbClr>
            </a:solidFill>
          </p:spPr>
          <p:txBody>
            <a:bodyPr wrap="square" lIns="0" tIns="0" rIns="0" bIns="0" rtlCol="0"/>
            <a:lstStyle/>
            <a:p>
              <a:endParaRPr sz="2968"/>
            </a:p>
          </p:txBody>
        </p:sp>
        <p:sp>
          <p:nvSpPr>
            <p:cNvPr id="73" name="object 71">
              <a:extLst>
                <a:ext uri="{FF2B5EF4-FFF2-40B4-BE49-F238E27FC236}">
                  <a16:creationId xmlns:a16="http://schemas.microsoft.com/office/drawing/2014/main" id="{47303FD3-5998-A042-87BD-F6A6798DC482}"/>
                </a:ext>
              </a:extLst>
            </p:cNvPr>
            <p:cNvSpPr/>
            <p:nvPr/>
          </p:nvSpPr>
          <p:spPr>
            <a:xfrm>
              <a:off x="7831564" y="2925821"/>
              <a:ext cx="795020" cy="2514600"/>
            </a:xfrm>
            <a:custGeom>
              <a:avLst/>
              <a:gdLst/>
              <a:ahLst/>
              <a:cxnLst/>
              <a:rect l="l" t="t" r="r" b="b"/>
              <a:pathLst>
                <a:path w="795020" h="2514600">
                  <a:moveTo>
                    <a:pt x="391261" y="1245666"/>
                  </a:moveTo>
                  <a:lnTo>
                    <a:pt x="0" y="2508885"/>
                  </a:lnTo>
                  <a:lnTo>
                    <a:pt x="6413" y="2509418"/>
                  </a:lnTo>
                  <a:lnTo>
                    <a:pt x="12445" y="2511348"/>
                  </a:lnTo>
                  <a:lnTo>
                    <a:pt x="17754" y="2514384"/>
                  </a:lnTo>
                  <a:lnTo>
                    <a:pt x="407200" y="1257046"/>
                  </a:lnTo>
                  <a:lnTo>
                    <a:pt x="391261" y="1245666"/>
                  </a:lnTo>
                  <a:close/>
                </a:path>
                <a:path w="795020" h="2514600">
                  <a:moveTo>
                    <a:pt x="777087" y="0"/>
                  </a:moveTo>
                  <a:lnTo>
                    <a:pt x="395960" y="1230503"/>
                  </a:lnTo>
                  <a:lnTo>
                    <a:pt x="411911" y="1241882"/>
                  </a:lnTo>
                  <a:lnTo>
                    <a:pt x="794867" y="5511"/>
                  </a:lnTo>
                  <a:lnTo>
                    <a:pt x="788428" y="4965"/>
                  </a:lnTo>
                  <a:lnTo>
                    <a:pt x="782408" y="3035"/>
                  </a:lnTo>
                  <a:lnTo>
                    <a:pt x="777087" y="0"/>
                  </a:lnTo>
                  <a:close/>
                </a:path>
              </a:pathLst>
            </a:custGeom>
            <a:solidFill>
              <a:srgbClr val="EF3D60">
                <a:alpha val="50999"/>
              </a:srgbClr>
            </a:solidFill>
          </p:spPr>
          <p:txBody>
            <a:bodyPr wrap="square" lIns="0" tIns="0" rIns="0" bIns="0" rtlCol="0"/>
            <a:lstStyle/>
            <a:p>
              <a:endParaRPr sz="2968"/>
            </a:p>
          </p:txBody>
        </p:sp>
        <p:sp>
          <p:nvSpPr>
            <p:cNvPr id="74" name="object 72">
              <a:extLst>
                <a:ext uri="{FF2B5EF4-FFF2-40B4-BE49-F238E27FC236}">
                  <a16:creationId xmlns:a16="http://schemas.microsoft.com/office/drawing/2014/main" id="{DFAA9821-B6BA-7A4F-A27C-C7DB6E9F622F}"/>
                </a:ext>
              </a:extLst>
            </p:cNvPr>
            <p:cNvSpPr/>
            <p:nvPr/>
          </p:nvSpPr>
          <p:spPr>
            <a:xfrm>
              <a:off x="7866499" y="5496423"/>
              <a:ext cx="1972310" cy="1499235"/>
            </a:xfrm>
            <a:custGeom>
              <a:avLst/>
              <a:gdLst/>
              <a:ahLst/>
              <a:cxnLst/>
              <a:rect l="l" t="t" r="r" b="b"/>
              <a:pathLst>
                <a:path w="1972309" h="1499234">
                  <a:moveTo>
                    <a:pt x="1927021" y="1450136"/>
                  </a:moveTo>
                  <a:lnTo>
                    <a:pt x="1929307" y="1474165"/>
                  </a:lnTo>
                  <a:lnTo>
                    <a:pt x="1961946" y="1498739"/>
                  </a:lnTo>
                  <a:lnTo>
                    <a:pt x="1964245" y="1493837"/>
                  </a:lnTo>
                  <a:lnTo>
                    <a:pt x="1967433" y="1489443"/>
                  </a:lnTo>
                  <a:lnTo>
                    <a:pt x="1971306" y="1485747"/>
                  </a:lnTo>
                  <a:lnTo>
                    <a:pt x="1972094" y="1484083"/>
                  </a:lnTo>
                  <a:lnTo>
                    <a:pt x="1927021" y="1450136"/>
                  </a:lnTo>
                  <a:close/>
                </a:path>
                <a:path w="1972309" h="1499234">
                  <a:moveTo>
                    <a:pt x="1210525" y="910755"/>
                  </a:moveTo>
                  <a:lnTo>
                    <a:pt x="1196073" y="922185"/>
                  </a:lnTo>
                  <a:lnTo>
                    <a:pt x="1913216" y="1462062"/>
                  </a:lnTo>
                  <a:lnTo>
                    <a:pt x="1910930" y="1438021"/>
                  </a:lnTo>
                  <a:lnTo>
                    <a:pt x="1210525" y="910755"/>
                  </a:lnTo>
                  <a:close/>
                </a:path>
                <a:path w="1972309" h="1499234">
                  <a:moveTo>
                    <a:pt x="1138580" y="856589"/>
                  </a:moveTo>
                  <a:lnTo>
                    <a:pt x="1130274" y="872655"/>
                  </a:lnTo>
                  <a:lnTo>
                    <a:pt x="1182103" y="911669"/>
                  </a:lnTo>
                  <a:lnTo>
                    <a:pt x="1196555" y="900239"/>
                  </a:lnTo>
                  <a:lnTo>
                    <a:pt x="1138580" y="856589"/>
                  </a:lnTo>
                  <a:close/>
                </a:path>
                <a:path w="1972309" h="1499234">
                  <a:moveTo>
                    <a:pt x="449567" y="337896"/>
                  </a:moveTo>
                  <a:lnTo>
                    <a:pt x="431965" y="346964"/>
                  </a:lnTo>
                  <a:lnTo>
                    <a:pt x="1119708" y="864704"/>
                  </a:lnTo>
                  <a:lnTo>
                    <a:pt x="1128014" y="848639"/>
                  </a:lnTo>
                  <a:lnTo>
                    <a:pt x="449567" y="337896"/>
                  </a:lnTo>
                  <a:close/>
                </a:path>
                <a:path w="1972309" h="1499234">
                  <a:moveTo>
                    <a:pt x="723" y="0"/>
                  </a:moveTo>
                  <a:lnTo>
                    <a:pt x="0" y="1460"/>
                  </a:lnTo>
                  <a:lnTo>
                    <a:pt x="332117" y="271805"/>
                  </a:lnTo>
                  <a:lnTo>
                    <a:pt x="419760" y="337781"/>
                  </a:lnTo>
                  <a:lnTo>
                    <a:pt x="437362" y="328714"/>
                  </a:lnTo>
                  <a:lnTo>
                    <a:pt x="723" y="0"/>
                  </a:lnTo>
                  <a:close/>
                </a:path>
              </a:pathLst>
            </a:custGeom>
            <a:solidFill>
              <a:srgbClr val="EF3D60">
                <a:alpha val="50999"/>
              </a:srgbClr>
            </a:solidFill>
          </p:spPr>
          <p:txBody>
            <a:bodyPr wrap="square" lIns="0" tIns="0" rIns="0" bIns="0" rtlCol="0"/>
            <a:lstStyle/>
            <a:p>
              <a:endParaRPr sz="2968"/>
            </a:p>
          </p:txBody>
        </p:sp>
        <p:sp>
          <p:nvSpPr>
            <p:cNvPr id="75" name="object 73">
              <a:extLst>
                <a:ext uri="{FF2B5EF4-FFF2-40B4-BE49-F238E27FC236}">
                  <a16:creationId xmlns:a16="http://schemas.microsoft.com/office/drawing/2014/main" id="{3B230389-C84C-A74E-9A19-E8209BB2079D}"/>
                </a:ext>
              </a:extLst>
            </p:cNvPr>
            <p:cNvSpPr/>
            <p:nvPr/>
          </p:nvSpPr>
          <p:spPr>
            <a:xfrm>
              <a:off x="7855264" y="5497888"/>
              <a:ext cx="1916430" cy="1564640"/>
            </a:xfrm>
            <a:custGeom>
              <a:avLst/>
              <a:gdLst/>
              <a:ahLst/>
              <a:cxnLst/>
              <a:rect l="l" t="t" r="r" b="b"/>
              <a:pathLst>
                <a:path w="1916429" h="1564640">
                  <a:moveTo>
                    <a:pt x="1174356" y="946746"/>
                  </a:moveTo>
                  <a:lnTo>
                    <a:pt x="1160068" y="958037"/>
                  </a:lnTo>
                  <a:lnTo>
                    <a:pt x="1905165" y="1564500"/>
                  </a:lnTo>
                  <a:lnTo>
                    <a:pt x="1907921" y="1559166"/>
                  </a:lnTo>
                  <a:lnTo>
                    <a:pt x="1911756" y="1554492"/>
                  </a:lnTo>
                  <a:lnTo>
                    <a:pt x="1916404" y="1550733"/>
                  </a:lnTo>
                  <a:lnTo>
                    <a:pt x="1174356" y="946746"/>
                  </a:lnTo>
                  <a:close/>
                </a:path>
                <a:path w="1916429" h="1564640">
                  <a:moveTo>
                    <a:pt x="1123759" y="905560"/>
                  </a:moveTo>
                  <a:lnTo>
                    <a:pt x="1115415" y="921689"/>
                  </a:lnTo>
                  <a:lnTo>
                    <a:pt x="1146632" y="947102"/>
                  </a:lnTo>
                  <a:lnTo>
                    <a:pt x="1160919" y="935812"/>
                  </a:lnTo>
                  <a:lnTo>
                    <a:pt x="1123759" y="905560"/>
                  </a:lnTo>
                  <a:close/>
                </a:path>
                <a:path w="1916429" h="1564640">
                  <a:moveTo>
                    <a:pt x="438594" y="347865"/>
                  </a:moveTo>
                  <a:lnTo>
                    <a:pt x="421347" y="356755"/>
                  </a:lnTo>
                  <a:lnTo>
                    <a:pt x="1105090" y="913282"/>
                  </a:lnTo>
                  <a:lnTo>
                    <a:pt x="1113434" y="897153"/>
                  </a:lnTo>
                  <a:lnTo>
                    <a:pt x="438594" y="347865"/>
                  </a:lnTo>
                  <a:close/>
                </a:path>
                <a:path w="1916429" h="1564640">
                  <a:moveTo>
                    <a:pt x="11226" y="0"/>
                  </a:moveTo>
                  <a:lnTo>
                    <a:pt x="8458" y="5346"/>
                  </a:lnTo>
                  <a:lnTo>
                    <a:pt x="4622" y="10032"/>
                  </a:lnTo>
                  <a:lnTo>
                    <a:pt x="0" y="13792"/>
                  </a:lnTo>
                  <a:lnTo>
                    <a:pt x="409714" y="347281"/>
                  </a:lnTo>
                  <a:lnTo>
                    <a:pt x="426961" y="338391"/>
                  </a:lnTo>
                  <a:lnTo>
                    <a:pt x="11226" y="0"/>
                  </a:lnTo>
                  <a:close/>
                </a:path>
              </a:pathLst>
            </a:custGeom>
            <a:solidFill>
              <a:srgbClr val="EF3D60">
                <a:alpha val="50999"/>
              </a:srgbClr>
            </a:solidFill>
          </p:spPr>
          <p:txBody>
            <a:bodyPr wrap="square" lIns="0" tIns="0" rIns="0" bIns="0" rtlCol="0"/>
            <a:lstStyle/>
            <a:p>
              <a:endParaRPr sz="2968"/>
            </a:p>
          </p:txBody>
        </p:sp>
        <p:sp>
          <p:nvSpPr>
            <p:cNvPr id="76" name="object 74">
              <a:extLst>
                <a:ext uri="{FF2B5EF4-FFF2-40B4-BE49-F238E27FC236}">
                  <a16:creationId xmlns:a16="http://schemas.microsoft.com/office/drawing/2014/main" id="{2FE6ED7B-8E18-E54D-B7A8-E61C540B91B1}"/>
                </a:ext>
              </a:extLst>
            </p:cNvPr>
            <p:cNvSpPr/>
            <p:nvPr/>
          </p:nvSpPr>
          <p:spPr>
            <a:xfrm>
              <a:off x="7868787" y="5180136"/>
              <a:ext cx="1659255" cy="297815"/>
            </a:xfrm>
            <a:custGeom>
              <a:avLst/>
              <a:gdLst/>
              <a:ahLst/>
              <a:cxnLst/>
              <a:rect l="l" t="t" r="r" b="b"/>
              <a:pathLst>
                <a:path w="1659254" h="297814">
                  <a:moveTo>
                    <a:pt x="795324" y="140474"/>
                  </a:moveTo>
                  <a:lnTo>
                    <a:pt x="0" y="283222"/>
                  </a:lnTo>
                  <a:lnTo>
                    <a:pt x="1587" y="287629"/>
                  </a:lnTo>
                  <a:lnTo>
                    <a:pt x="2476" y="292366"/>
                  </a:lnTo>
                  <a:lnTo>
                    <a:pt x="2527" y="297307"/>
                  </a:lnTo>
                  <a:lnTo>
                    <a:pt x="809180" y="152527"/>
                  </a:lnTo>
                  <a:lnTo>
                    <a:pt x="803744" y="149529"/>
                  </a:lnTo>
                  <a:lnTo>
                    <a:pt x="799020" y="145415"/>
                  </a:lnTo>
                  <a:lnTo>
                    <a:pt x="795324" y="140474"/>
                  </a:lnTo>
                  <a:close/>
                </a:path>
                <a:path w="1659254" h="297814">
                  <a:moveTo>
                    <a:pt x="1217739" y="79197"/>
                  </a:moveTo>
                  <a:lnTo>
                    <a:pt x="1005141" y="102819"/>
                  </a:lnTo>
                  <a:lnTo>
                    <a:pt x="871753" y="126758"/>
                  </a:lnTo>
                  <a:lnTo>
                    <a:pt x="869975" y="132778"/>
                  </a:lnTo>
                  <a:lnTo>
                    <a:pt x="866927" y="138252"/>
                  </a:lnTo>
                  <a:lnTo>
                    <a:pt x="862939" y="142875"/>
                  </a:lnTo>
                  <a:lnTo>
                    <a:pt x="1217739" y="79197"/>
                  </a:lnTo>
                  <a:close/>
                </a:path>
                <a:path w="1659254" h="297814">
                  <a:moveTo>
                    <a:pt x="1658950" y="0"/>
                  </a:moveTo>
                  <a:lnTo>
                    <a:pt x="1585341" y="6286"/>
                  </a:lnTo>
                  <a:lnTo>
                    <a:pt x="1327238" y="45008"/>
                  </a:lnTo>
                  <a:lnTo>
                    <a:pt x="1233487" y="61823"/>
                  </a:lnTo>
                  <a:lnTo>
                    <a:pt x="1446072" y="38214"/>
                  </a:lnTo>
                  <a:lnTo>
                    <a:pt x="1658950" y="0"/>
                  </a:lnTo>
                  <a:close/>
                </a:path>
              </a:pathLst>
            </a:custGeom>
            <a:solidFill>
              <a:srgbClr val="EF3D60">
                <a:alpha val="50999"/>
              </a:srgbClr>
            </a:solidFill>
          </p:spPr>
          <p:txBody>
            <a:bodyPr wrap="square" lIns="0" tIns="0" rIns="0" bIns="0" rtlCol="0"/>
            <a:lstStyle/>
            <a:p>
              <a:endParaRPr sz="2968"/>
            </a:p>
          </p:txBody>
        </p:sp>
        <p:sp>
          <p:nvSpPr>
            <p:cNvPr id="77" name="object 75">
              <a:extLst>
                <a:ext uri="{FF2B5EF4-FFF2-40B4-BE49-F238E27FC236}">
                  <a16:creationId xmlns:a16="http://schemas.microsoft.com/office/drawing/2014/main" id="{269EA8D4-1A56-3F4F-9E47-682CD958B406}"/>
                </a:ext>
              </a:extLst>
            </p:cNvPr>
            <p:cNvSpPr/>
            <p:nvPr/>
          </p:nvSpPr>
          <p:spPr>
            <a:xfrm>
              <a:off x="9636614" y="5196310"/>
              <a:ext cx="1106170" cy="1489710"/>
            </a:xfrm>
            <a:custGeom>
              <a:avLst/>
              <a:gdLst/>
              <a:ahLst/>
              <a:cxnLst/>
              <a:rect l="l" t="t" r="r" b="b"/>
              <a:pathLst>
                <a:path w="1106170" h="1489709">
                  <a:moveTo>
                    <a:pt x="667702" y="884847"/>
                  </a:moveTo>
                  <a:lnTo>
                    <a:pt x="660615" y="900290"/>
                  </a:lnTo>
                  <a:lnTo>
                    <a:pt x="1093698" y="1489265"/>
                  </a:lnTo>
                  <a:lnTo>
                    <a:pt x="1097140" y="1485684"/>
                  </a:lnTo>
                  <a:lnTo>
                    <a:pt x="1101166" y="1482699"/>
                  </a:lnTo>
                  <a:lnTo>
                    <a:pt x="1105649" y="1480464"/>
                  </a:lnTo>
                  <a:lnTo>
                    <a:pt x="667702" y="884847"/>
                  </a:lnTo>
                  <a:close/>
                </a:path>
                <a:path w="1106170" h="1489709">
                  <a:moveTo>
                    <a:pt x="656513" y="869619"/>
                  </a:moveTo>
                  <a:lnTo>
                    <a:pt x="649249" y="884834"/>
                  </a:lnTo>
                  <a:lnTo>
                    <a:pt x="649846" y="885647"/>
                  </a:lnTo>
                  <a:lnTo>
                    <a:pt x="656932" y="870191"/>
                  </a:lnTo>
                  <a:lnTo>
                    <a:pt x="656513" y="869619"/>
                  </a:lnTo>
                  <a:close/>
                </a:path>
                <a:path w="1106170" h="1489709">
                  <a:moveTo>
                    <a:pt x="416026" y="542556"/>
                  </a:moveTo>
                  <a:lnTo>
                    <a:pt x="405091" y="552792"/>
                  </a:lnTo>
                  <a:lnTo>
                    <a:pt x="638289" y="869950"/>
                  </a:lnTo>
                  <a:lnTo>
                    <a:pt x="645566" y="854722"/>
                  </a:lnTo>
                  <a:lnTo>
                    <a:pt x="416026" y="542556"/>
                  </a:lnTo>
                  <a:close/>
                </a:path>
                <a:path w="1106170" h="1489709">
                  <a:moveTo>
                    <a:pt x="368338" y="477697"/>
                  </a:moveTo>
                  <a:lnTo>
                    <a:pt x="356654" y="486930"/>
                  </a:lnTo>
                  <a:lnTo>
                    <a:pt x="396201" y="540702"/>
                  </a:lnTo>
                  <a:lnTo>
                    <a:pt x="407136" y="530466"/>
                  </a:lnTo>
                  <a:lnTo>
                    <a:pt x="368338" y="477697"/>
                  </a:lnTo>
                  <a:close/>
                </a:path>
                <a:path w="1106170" h="1489709">
                  <a:moveTo>
                    <a:pt x="17094" y="0"/>
                  </a:moveTo>
                  <a:lnTo>
                    <a:pt x="0" y="1905"/>
                  </a:lnTo>
                  <a:lnTo>
                    <a:pt x="346633" y="473303"/>
                  </a:lnTo>
                  <a:lnTo>
                    <a:pt x="358317" y="464070"/>
                  </a:lnTo>
                  <a:lnTo>
                    <a:pt x="17094" y="0"/>
                  </a:lnTo>
                  <a:close/>
                </a:path>
              </a:pathLst>
            </a:custGeom>
            <a:solidFill>
              <a:srgbClr val="EF3D60">
                <a:alpha val="50999"/>
              </a:srgbClr>
            </a:solidFill>
          </p:spPr>
          <p:txBody>
            <a:bodyPr wrap="square" lIns="0" tIns="0" rIns="0" bIns="0" rtlCol="0"/>
            <a:lstStyle/>
            <a:p>
              <a:endParaRPr sz="2968"/>
            </a:p>
          </p:txBody>
        </p:sp>
        <p:sp>
          <p:nvSpPr>
            <p:cNvPr id="78" name="object 76">
              <a:extLst>
                <a:ext uri="{FF2B5EF4-FFF2-40B4-BE49-F238E27FC236}">
                  <a16:creationId xmlns:a16="http://schemas.microsoft.com/office/drawing/2014/main" id="{56EE71A6-CCB6-584D-8795-5322E6EED210}"/>
                </a:ext>
              </a:extLst>
            </p:cNvPr>
            <p:cNvSpPr/>
            <p:nvPr/>
          </p:nvSpPr>
          <p:spPr>
            <a:xfrm>
              <a:off x="9344245" y="5200961"/>
              <a:ext cx="267970" cy="1153160"/>
            </a:xfrm>
            <a:custGeom>
              <a:avLst/>
              <a:gdLst/>
              <a:ahLst/>
              <a:cxnLst/>
              <a:rect l="l" t="t" r="r" b="b"/>
              <a:pathLst>
                <a:path w="267970" h="1153160">
                  <a:moveTo>
                    <a:pt x="56438" y="950493"/>
                  </a:moveTo>
                  <a:lnTo>
                    <a:pt x="41884" y="961999"/>
                  </a:lnTo>
                  <a:lnTo>
                    <a:pt x="0" y="1150518"/>
                  </a:lnTo>
                  <a:lnTo>
                    <a:pt x="3987" y="1150848"/>
                  </a:lnTo>
                  <a:lnTo>
                    <a:pt x="7823" y="1151712"/>
                  </a:lnTo>
                  <a:lnTo>
                    <a:pt x="11429" y="1153058"/>
                  </a:lnTo>
                  <a:lnTo>
                    <a:pt x="56438" y="950493"/>
                  </a:lnTo>
                  <a:close/>
                </a:path>
                <a:path w="267970" h="1153160">
                  <a:moveTo>
                    <a:pt x="267627" y="0"/>
                  </a:moveTo>
                  <a:lnTo>
                    <a:pt x="255333" y="1371"/>
                  </a:lnTo>
                  <a:lnTo>
                    <a:pt x="47688" y="935850"/>
                  </a:lnTo>
                  <a:lnTo>
                    <a:pt x="62255" y="924356"/>
                  </a:lnTo>
                  <a:lnTo>
                    <a:pt x="267627" y="0"/>
                  </a:lnTo>
                  <a:close/>
                </a:path>
              </a:pathLst>
            </a:custGeom>
            <a:solidFill>
              <a:srgbClr val="EF3D60">
                <a:alpha val="50999"/>
              </a:srgbClr>
            </a:solidFill>
          </p:spPr>
          <p:txBody>
            <a:bodyPr wrap="square" lIns="0" tIns="0" rIns="0" bIns="0" rtlCol="0"/>
            <a:lstStyle/>
            <a:p>
              <a:endParaRPr sz="2968"/>
            </a:p>
          </p:txBody>
        </p:sp>
        <p:sp>
          <p:nvSpPr>
            <p:cNvPr id="79" name="object 77">
              <a:extLst>
                <a:ext uri="{FF2B5EF4-FFF2-40B4-BE49-F238E27FC236}">
                  <a16:creationId xmlns:a16="http://schemas.microsoft.com/office/drawing/2014/main" id="{5E467FDF-B049-054F-BA42-220C6FC4243B}"/>
                </a:ext>
              </a:extLst>
            </p:cNvPr>
            <p:cNvSpPr/>
            <p:nvPr/>
          </p:nvSpPr>
          <p:spPr>
            <a:xfrm>
              <a:off x="8137898" y="5175967"/>
              <a:ext cx="1443355" cy="747395"/>
            </a:xfrm>
            <a:custGeom>
              <a:avLst/>
              <a:gdLst/>
              <a:ahLst/>
              <a:cxnLst/>
              <a:rect l="l" t="t" r="r" b="b"/>
              <a:pathLst>
                <a:path w="1443354" h="747395">
                  <a:moveTo>
                    <a:pt x="1389379" y="34391"/>
                  </a:moveTo>
                  <a:lnTo>
                    <a:pt x="1351025" y="38658"/>
                  </a:lnTo>
                  <a:lnTo>
                    <a:pt x="0" y="734669"/>
                  </a:lnTo>
                  <a:lnTo>
                    <a:pt x="2717" y="738352"/>
                  </a:lnTo>
                  <a:lnTo>
                    <a:pt x="4851" y="742454"/>
                  </a:lnTo>
                  <a:lnTo>
                    <a:pt x="6311" y="746887"/>
                  </a:lnTo>
                  <a:lnTo>
                    <a:pt x="1389379" y="34391"/>
                  </a:lnTo>
                  <a:close/>
                </a:path>
                <a:path w="1443354" h="747395">
                  <a:moveTo>
                    <a:pt x="1438630" y="0"/>
                  </a:moveTo>
                  <a:lnTo>
                    <a:pt x="1423555" y="1282"/>
                  </a:lnTo>
                  <a:lnTo>
                    <a:pt x="1389672" y="18745"/>
                  </a:lnTo>
                  <a:lnTo>
                    <a:pt x="1428026" y="14490"/>
                  </a:lnTo>
                  <a:lnTo>
                    <a:pt x="1442783" y="6883"/>
                  </a:lnTo>
                  <a:lnTo>
                    <a:pt x="1441195" y="4737"/>
                  </a:lnTo>
                  <a:lnTo>
                    <a:pt x="1439798" y="2425"/>
                  </a:lnTo>
                  <a:lnTo>
                    <a:pt x="1438630" y="0"/>
                  </a:lnTo>
                  <a:close/>
                </a:path>
              </a:pathLst>
            </a:custGeom>
            <a:solidFill>
              <a:srgbClr val="EF3D60">
                <a:alpha val="50999"/>
              </a:srgbClr>
            </a:solidFill>
          </p:spPr>
          <p:txBody>
            <a:bodyPr wrap="square" lIns="0" tIns="0" rIns="0" bIns="0" rtlCol="0"/>
            <a:lstStyle/>
            <a:p>
              <a:endParaRPr sz="2968"/>
            </a:p>
          </p:txBody>
        </p:sp>
        <p:sp>
          <p:nvSpPr>
            <p:cNvPr id="80" name="object 78">
              <a:extLst>
                <a:ext uri="{FF2B5EF4-FFF2-40B4-BE49-F238E27FC236}">
                  <a16:creationId xmlns:a16="http://schemas.microsoft.com/office/drawing/2014/main" id="{E7367AB1-230B-8F40-8C92-2F4472E0A3B7}"/>
                </a:ext>
              </a:extLst>
            </p:cNvPr>
            <p:cNvSpPr/>
            <p:nvPr/>
          </p:nvSpPr>
          <p:spPr>
            <a:xfrm>
              <a:off x="9644627" y="3524810"/>
              <a:ext cx="2141855" cy="1608455"/>
            </a:xfrm>
            <a:custGeom>
              <a:avLst/>
              <a:gdLst/>
              <a:ahLst/>
              <a:cxnLst/>
              <a:rect l="l" t="t" r="r" b="b"/>
              <a:pathLst>
                <a:path w="2141854" h="1608454">
                  <a:moveTo>
                    <a:pt x="153111" y="1483969"/>
                  </a:moveTo>
                  <a:lnTo>
                    <a:pt x="1422" y="1597748"/>
                  </a:lnTo>
                  <a:lnTo>
                    <a:pt x="0" y="1599971"/>
                  </a:lnTo>
                  <a:lnTo>
                    <a:pt x="2743" y="1602422"/>
                  </a:lnTo>
                  <a:lnTo>
                    <a:pt x="5168" y="1605229"/>
                  </a:lnTo>
                  <a:lnTo>
                    <a:pt x="7200" y="1608302"/>
                  </a:lnTo>
                  <a:lnTo>
                    <a:pt x="32524" y="1597901"/>
                  </a:lnTo>
                  <a:lnTo>
                    <a:pt x="181825" y="1485938"/>
                  </a:lnTo>
                  <a:lnTo>
                    <a:pt x="153111" y="1483969"/>
                  </a:lnTo>
                  <a:close/>
                </a:path>
                <a:path w="2141854" h="1608454">
                  <a:moveTo>
                    <a:pt x="216941" y="1436090"/>
                  </a:moveTo>
                  <a:lnTo>
                    <a:pt x="175755" y="1466989"/>
                  </a:lnTo>
                  <a:lnTo>
                    <a:pt x="204457" y="1468958"/>
                  </a:lnTo>
                  <a:lnTo>
                    <a:pt x="243763" y="1439481"/>
                  </a:lnTo>
                  <a:lnTo>
                    <a:pt x="216941" y="1436090"/>
                  </a:lnTo>
                  <a:close/>
                </a:path>
                <a:path w="2141854" h="1608454">
                  <a:moveTo>
                    <a:pt x="542150" y="1192187"/>
                  </a:moveTo>
                  <a:lnTo>
                    <a:pt x="237528" y="1420660"/>
                  </a:lnTo>
                  <a:lnTo>
                    <a:pt x="264337" y="1424038"/>
                  </a:lnTo>
                  <a:lnTo>
                    <a:pt x="559282" y="1202829"/>
                  </a:lnTo>
                  <a:lnTo>
                    <a:pt x="542150" y="1192187"/>
                  </a:lnTo>
                  <a:close/>
                </a:path>
                <a:path w="2141854" h="1608454">
                  <a:moveTo>
                    <a:pt x="639445" y="1119212"/>
                  </a:moveTo>
                  <a:lnTo>
                    <a:pt x="555155" y="1182433"/>
                  </a:lnTo>
                  <a:lnTo>
                    <a:pt x="572287" y="1193076"/>
                  </a:lnTo>
                  <a:lnTo>
                    <a:pt x="653656" y="1132052"/>
                  </a:lnTo>
                  <a:lnTo>
                    <a:pt x="639445" y="1119212"/>
                  </a:lnTo>
                  <a:close/>
                </a:path>
                <a:path w="2141854" h="1608454">
                  <a:moveTo>
                    <a:pt x="1019530" y="834148"/>
                  </a:moveTo>
                  <a:lnTo>
                    <a:pt x="651471" y="1110195"/>
                  </a:lnTo>
                  <a:lnTo>
                    <a:pt x="665683" y="1123022"/>
                  </a:lnTo>
                  <a:lnTo>
                    <a:pt x="1022299" y="855560"/>
                  </a:lnTo>
                  <a:lnTo>
                    <a:pt x="1019530" y="834148"/>
                  </a:lnTo>
                  <a:close/>
                </a:path>
                <a:path w="2141854" h="1608454">
                  <a:moveTo>
                    <a:pt x="1084529" y="785406"/>
                  </a:moveTo>
                  <a:lnTo>
                    <a:pt x="1031024" y="825538"/>
                  </a:lnTo>
                  <a:lnTo>
                    <a:pt x="1033792" y="846937"/>
                  </a:lnTo>
                  <a:lnTo>
                    <a:pt x="1085278" y="808329"/>
                  </a:lnTo>
                  <a:lnTo>
                    <a:pt x="1084529" y="785406"/>
                  </a:lnTo>
                  <a:close/>
                </a:path>
                <a:path w="2141854" h="1608454">
                  <a:moveTo>
                    <a:pt x="1372857" y="569150"/>
                  </a:moveTo>
                  <a:lnTo>
                    <a:pt x="1099858" y="773899"/>
                  </a:lnTo>
                  <a:lnTo>
                    <a:pt x="1100607" y="796823"/>
                  </a:lnTo>
                  <a:lnTo>
                    <a:pt x="1386268" y="582574"/>
                  </a:lnTo>
                  <a:lnTo>
                    <a:pt x="1372857" y="569150"/>
                  </a:lnTo>
                  <a:close/>
                </a:path>
                <a:path w="2141854" h="1608454">
                  <a:moveTo>
                    <a:pt x="1614233" y="388111"/>
                  </a:moveTo>
                  <a:lnTo>
                    <a:pt x="1384681" y="560285"/>
                  </a:lnTo>
                  <a:lnTo>
                    <a:pt x="1398092" y="573697"/>
                  </a:lnTo>
                  <a:lnTo>
                    <a:pt x="1623987" y="404291"/>
                  </a:lnTo>
                  <a:lnTo>
                    <a:pt x="1614233" y="388111"/>
                  </a:lnTo>
                  <a:close/>
                </a:path>
                <a:path w="2141854" h="1608454">
                  <a:moveTo>
                    <a:pt x="2053310" y="58813"/>
                  </a:moveTo>
                  <a:lnTo>
                    <a:pt x="1627809" y="377939"/>
                  </a:lnTo>
                  <a:lnTo>
                    <a:pt x="1637550" y="394106"/>
                  </a:lnTo>
                  <a:lnTo>
                    <a:pt x="2056371" y="79984"/>
                  </a:lnTo>
                  <a:lnTo>
                    <a:pt x="2053310" y="58813"/>
                  </a:lnTo>
                  <a:close/>
                </a:path>
                <a:path w="2141854" h="1608454">
                  <a:moveTo>
                    <a:pt x="2131720" y="0"/>
                  </a:moveTo>
                  <a:lnTo>
                    <a:pt x="2070354" y="46037"/>
                  </a:lnTo>
                  <a:lnTo>
                    <a:pt x="2073402" y="67221"/>
                  </a:lnTo>
                  <a:lnTo>
                    <a:pt x="2137194" y="19367"/>
                  </a:lnTo>
                  <a:lnTo>
                    <a:pt x="2141232" y="13398"/>
                  </a:lnTo>
                  <a:lnTo>
                    <a:pt x="2137270" y="9601"/>
                  </a:lnTo>
                  <a:lnTo>
                    <a:pt x="2134031" y="5054"/>
                  </a:lnTo>
                  <a:lnTo>
                    <a:pt x="2131720" y="0"/>
                  </a:lnTo>
                  <a:close/>
                </a:path>
              </a:pathLst>
            </a:custGeom>
            <a:solidFill>
              <a:srgbClr val="EF3D60">
                <a:alpha val="50999"/>
              </a:srgbClr>
            </a:solidFill>
          </p:spPr>
          <p:txBody>
            <a:bodyPr wrap="square" lIns="0" tIns="0" rIns="0" bIns="0" rtlCol="0"/>
            <a:lstStyle/>
            <a:p>
              <a:endParaRPr sz="2968"/>
            </a:p>
          </p:txBody>
        </p:sp>
        <p:sp>
          <p:nvSpPr>
            <p:cNvPr id="81" name="object 79">
              <a:extLst>
                <a:ext uri="{FF2B5EF4-FFF2-40B4-BE49-F238E27FC236}">
                  <a16:creationId xmlns:a16="http://schemas.microsoft.com/office/drawing/2014/main" id="{31464098-EE8F-0C4A-938A-411F3D09BDF8}"/>
                </a:ext>
              </a:extLst>
            </p:cNvPr>
            <p:cNvSpPr/>
            <p:nvPr/>
          </p:nvSpPr>
          <p:spPr>
            <a:xfrm>
              <a:off x="9642115" y="3676737"/>
              <a:ext cx="919480" cy="1448435"/>
            </a:xfrm>
            <a:custGeom>
              <a:avLst/>
              <a:gdLst/>
              <a:ahLst/>
              <a:cxnLst/>
              <a:rect l="l" t="t" r="r" b="b"/>
              <a:pathLst>
                <a:path w="919479" h="1448435">
                  <a:moveTo>
                    <a:pt x="63461" y="1325740"/>
                  </a:moveTo>
                  <a:lnTo>
                    <a:pt x="43497" y="1357096"/>
                  </a:lnTo>
                  <a:lnTo>
                    <a:pt x="0" y="1445945"/>
                  </a:lnTo>
                  <a:lnTo>
                    <a:pt x="863" y="1446618"/>
                  </a:lnTo>
                  <a:lnTo>
                    <a:pt x="1714" y="1447317"/>
                  </a:lnTo>
                  <a:lnTo>
                    <a:pt x="2514" y="1448041"/>
                  </a:lnTo>
                  <a:lnTo>
                    <a:pt x="79628" y="1326845"/>
                  </a:lnTo>
                  <a:lnTo>
                    <a:pt x="63461" y="1325740"/>
                  </a:lnTo>
                  <a:close/>
                </a:path>
                <a:path w="919479" h="1448435">
                  <a:moveTo>
                    <a:pt x="99542" y="1269047"/>
                  </a:moveTo>
                  <a:lnTo>
                    <a:pt x="74764" y="1307985"/>
                  </a:lnTo>
                  <a:lnTo>
                    <a:pt x="90931" y="1309090"/>
                  </a:lnTo>
                  <a:lnTo>
                    <a:pt x="115163" y="1271015"/>
                  </a:lnTo>
                  <a:lnTo>
                    <a:pt x="99542" y="1269047"/>
                  </a:lnTo>
                  <a:close/>
                </a:path>
                <a:path w="919479" h="1448435">
                  <a:moveTo>
                    <a:pt x="330047" y="906843"/>
                  </a:moveTo>
                  <a:lnTo>
                    <a:pt x="110172" y="1252346"/>
                  </a:lnTo>
                  <a:lnTo>
                    <a:pt x="125780" y="1254315"/>
                  </a:lnTo>
                  <a:lnTo>
                    <a:pt x="342112" y="914349"/>
                  </a:lnTo>
                  <a:lnTo>
                    <a:pt x="330047" y="906843"/>
                  </a:lnTo>
                  <a:close/>
                </a:path>
                <a:path w="919479" h="1448435">
                  <a:moveTo>
                    <a:pt x="419468" y="766317"/>
                  </a:moveTo>
                  <a:lnTo>
                    <a:pt x="338188" y="894054"/>
                  </a:lnTo>
                  <a:lnTo>
                    <a:pt x="350253" y="901572"/>
                  </a:lnTo>
                  <a:lnTo>
                    <a:pt x="430174" y="775982"/>
                  </a:lnTo>
                  <a:lnTo>
                    <a:pt x="419468" y="766317"/>
                  </a:lnTo>
                  <a:close/>
                </a:path>
                <a:path w="919479" h="1448435">
                  <a:moveTo>
                    <a:pt x="907148" y="0"/>
                  </a:moveTo>
                  <a:lnTo>
                    <a:pt x="427507" y="753694"/>
                  </a:lnTo>
                  <a:lnTo>
                    <a:pt x="438213" y="763358"/>
                  </a:lnTo>
                  <a:lnTo>
                    <a:pt x="919111" y="7619"/>
                  </a:lnTo>
                  <a:lnTo>
                    <a:pt x="914704" y="5740"/>
                  </a:lnTo>
                  <a:lnTo>
                    <a:pt x="910666" y="3149"/>
                  </a:lnTo>
                  <a:lnTo>
                    <a:pt x="907148" y="0"/>
                  </a:lnTo>
                  <a:close/>
                </a:path>
              </a:pathLst>
            </a:custGeom>
            <a:solidFill>
              <a:srgbClr val="EF3D60">
                <a:alpha val="50999"/>
              </a:srgbClr>
            </a:solidFill>
          </p:spPr>
          <p:txBody>
            <a:bodyPr wrap="square" lIns="0" tIns="0" rIns="0" bIns="0" rtlCol="0"/>
            <a:lstStyle/>
            <a:p>
              <a:endParaRPr sz="2968"/>
            </a:p>
          </p:txBody>
        </p:sp>
        <p:sp>
          <p:nvSpPr>
            <p:cNvPr id="82" name="object 80">
              <a:extLst>
                <a:ext uri="{FF2B5EF4-FFF2-40B4-BE49-F238E27FC236}">
                  <a16:creationId xmlns:a16="http://schemas.microsoft.com/office/drawing/2014/main" id="{A1D5B75D-B855-3F4B-8DE1-946E54B08ED3}"/>
                </a:ext>
              </a:extLst>
            </p:cNvPr>
            <p:cNvSpPr/>
            <p:nvPr/>
          </p:nvSpPr>
          <p:spPr>
            <a:xfrm>
              <a:off x="9343040" y="3822852"/>
              <a:ext cx="262255" cy="1288415"/>
            </a:xfrm>
            <a:custGeom>
              <a:avLst/>
              <a:gdLst/>
              <a:ahLst/>
              <a:cxnLst/>
              <a:rect l="l" t="t" r="r" b="b"/>
              <a:pathLst>
                <a:path w="262254" h="1288414">
                  <a:moveTo>
                    <a:pt x="233641" y="1170813"/>
                  </a:moveTo>
                  <a:lnTo>
                    <a:pt x="252869" y="1266952"/>
                  </a:lnTo>
                  <a:lnTo>
                    <a:pt x="261937" y="1287843"/>
                  </a:lnTo>
                  <a:lnTo>
                    <a:pt x="260299" y="1241069"/>
                  </a:lnTo>
                  <a:lnTo>
                    <a:pt x="246430" y="1171689"/>
                  </a:lnTo>
                  <a:lnTo>
                    <a:pt x="233641" y="1170813"/>
                  </a:lnTo>
                  <a:close/>
                </a:path>
                <a:path w="262254" h="1288414">
                  <a:moveTo>
                    <a:pt x="219557" y="1100340"/>
                  </a:moveTo>
                  <a:lnTo>
                    <a:pt x="229895" y="1152029"/>
                  </a:lnTo>
                  <a:lnTo>
                    <a:pt x="242671" y="1152906"/>
                  </a:lnTo>
                  <a:lnTo>
                    <a:pt x="232486" y="1101979"/>
                  </a:lnTo>
                  <a:lnTo>
                    <a:pt x="219557" y="1100340"/>
                  </a:lnTo>
                  <a:close/>
                </a:path>
                <a:path w="262254" h="1288414">
                  <a:moveTo>
                    <a:pt x="83858" y="421779"/>
                  </a:moveTo>
                  <a:lnTo>
                    <a:pt x="215861" y="1081849"/>
                  </a:lnTo>
                  <a:lnTo>
                    <a:pt x="228777" y="1083475"/>
                  </a:lnTo>
                  <a:lnTo>
                    <a:pt x="98234" y="430720"/>
                  </a:lnTo>
                  <a:lnTo>
                    <a:pt x="83858" y="421779"/>
                  </a:lnTo>
                  <a:close/>
                </a:path>
                <a:path w="262254" h="1288414">
                  <a:moveTo>
                    <a:pt x="12090" y="0"/>
                  </a:moveTo>
                  <a:lnTo>
                    <a:pt x="8280" y="1358"/>
                  </a:lnTo>
                  <a:lnTo>
                    <a:pt x="4216" y="2197"/>
                  </a:lnTo>
                  <a:lnTo>
                    <a:pt x="0" y="2425"/>
                  </a:lnTo>
                  <a:lnTo>
                    <a:pt x="79781" y="401408"/>
                  </a:lnTo>
                  <a:lnTo>
                    <a:pt x="94157" y="410349"/>
                  </a:lnTo>
                  <a:lnTo>
                    <a:pt x="12090" y="0"/>
                  </a:lnTo>
                  <a:close/>
                </a:path>
              </a:pathLst>
            </a:custGeom>
            <a:solidFill>
              <a:srgbClr val="EF3D60">
                <a:alpha val="50999"/>
              </a:srgbClr>
            </a:solidFill>
          </p:spPr>
          <p:txBody>
            <a:bodyPr wrap="square" lIns="0" tIns="0" rIns="0" bIns="0" rtlCol="0"/>
            <a:lstStyle/>
            <a:p>
              <a:endParaRPr sz="2968"/>
            </a:p>
          </p:txBody>
        </p:sp>
        <p:sp>
          <p:nvSpPr>
            <p:cNvPr id="83" name="object 81">
              <a:extLst>
                <a:ext uri="{FF2B5EF4-FFF2-40B4-BE49-F238E27FC236}">
                  <a16:creationId xmlns:a16="http://schemas.microsoft.com/office/drawing/2014/main" id="{93F247E1-1D8F-0B4E-B8CF-602A4A8A5696}"/>
                </a:ext>
              </a:extLst>
            </p:cNvPr>
            <p:cNvSpPr/>
            <p:nvPr/>
          </p:nvSpPr>
          <p:spPr>
            <a:xfrm>
              <a:off x="8041657" y="4029809"/>
              <a:ext cx="1543685" cy="1108710"/>
            </a:xfrm>
            <a:custGeom>
              <a:avLst/>
              <a:gdLst/>
              <a:ahLst/>
              <a:cxnLst/>
              <a:rect l="l" t="t" r="r" b="b"/>
              <a:pathLst>
                <a:path w="1543684" h="1108710">
                  <a:moveTo>
                    <a:pt x="1310741" y="948524"/>
                  </a:moveTo>
                  <a:lnTo>
                    <a:pt x="1534794" y="1108557"/>
                  </a:lnTo>
                  <a:lnTo>
                    <a:pt x="1536992" y="1103972"/>
                  </a:lnTo>
                  <a:lnTo>
                    <a:pt x="1539976" y="1099832"/>
                  </a:lnTo>
                  <a:lnTo>
                    <a:pt x="1543570" y="1096302"/>
                  </a:lnTo>
                  <a:lnTo>
                    <a:pt x="1339430" y="950480"/>
                  </a:lnTo>
                  <a:lnTo>
                    <a:pt x="1310741" y="948524"/>
                  </a:lnTo>
                  <a:close/>
                </a:path>
                <a:path w="1543684" h="1108710">
                  <a:moveTo>
                    <a:pt x="1171930" y="849376"/>
                  </a:moveTo>
                  <a:lnTo>
                    <a:pt x="1282064" y="928039"/>
                  </a:lnTo>
                  <a:lnTo>
                    <a:pt x="1310754" y="929995"/>
                  </a:lnTo>
                  <a:lnTo>
                    <a:pt x="1203439" y="853351"/>
                  </a:lnTo>
                  <a:lnTo>
                    <a:pt x="1171930" y="849376"/>
                  </a:lnTo>
                  <a:close/>
                </a:path>
                <a:path w="1543684" h="1108710">
                  <a:moveTo>
                    <a:pt x="8762" y="0"/>
                  </a:moveTo>
                  <a:lnTo>
                    <a:pt x="6565" y="4597"/>
                  </a:lnTo>
                  <a:lnTo>
                    <a:pt x="3581" y="8737"/>
                  </a:lnTo>
                  <a:lnTo>
                    <a:pt x="0" y="12268"/>
                  </a:lnTo>
                  <a:lnTo>
                    <a:pt x="1141272" y="827468"/>
                  </a:lnTo>
                  <a:lnTo>
                    <a:pt x="1172768" y="831443"/>
                  </a:lnTo>
                  <a:lnTo>
                    <a:pt x="8762" y="0"/>
                  </a:lnTo>
                  <a:close/>
                </a:path>
              </a:pathLst>
            </a:custGeom>
            <a:solidFill>
              <a:srgbClr val="EF3D60">
                <a:alpha val="50999"/>
              </a:srgbClr>
            </a:solidFill>
          </p:spPr>
          <p:txBody>
            <a:bodyPr wrap="square" lIns="0" tIns="0" rIns="0" bIns="0" rtlCol="0"/>
            <a:lstStyle/>
            <a:p>
              <a:endParaRPr sz="2968"/>
            </a:p>
          </p:txBody>
        </p:sp>
        <p:sp>
          <p:nvSpPr>
            <p:cNvPr id="84" name="object 82">
              <a:extLst>
                <a:ext uri="{FF2B5EF4-FFF2-40B4-BE49-F238E27FC236}">
                  <a16:creationId xmlns:a16="http://schemas.microsoft.com/office/drawing/2014/main" id="{995B8496-FCDC-1444-B3F8-4F364CE8EF64}"/>
                </a:ext>
              </a:extLst>
            </p:cNvPr>
            <p:cNvSpPr/>
            <p:nvPr/>
          </p:nvSpPr>
          <p:spPr>
            <a:xfrm>
              <a:off x="9078934" y="4047340"/>
              <a:ext cx="498475" cy="1043940"/>
            </a:xfrm>
            <a:custGeom>
              <a:avLst/>
              <a:gdLst/>
              <a:ahLst/>
              <a:cxnLst/>
              <a:rect l="l" t="t" r="r" b="b"/>
              <a:pathLst>
                <a:path w="498475" h="1043939">
                  <a:moveTo>
                    <a:pt x="450215" y="943076"/>
                  </a:moveTo>
                  <a:lnTo>
                    <a:pt x="498373" y="1043406"/>
                  </a:lnTo>
                  <a:lnTo>
                    <a:pt x="454939" y="943394"/>
                  </a:lnTo>
                  <a:lnTo>
                    <a:pt x="450215" y="943076"/>
                  </a:lnTo>
                  <a:close/>
                </a:path>
                <a:path w="498475" h="1043939">
                  <a:moveTo>
                    <a:pt x="413715" y="867041"/>
                  </a:moveTo>
                  <a:lnTo>
                    <a:pt x="441020" y="923925"/>
                  </a:lnTo>
                  <a:lnTo>
                    <a:pt x="446646" y="924306"/>
                  </a:lnTo>
                  <a:lnTo>
                    <a:pt x="422236" y="868108"/>
                  </a:lnTo>
                  <a:lnTo>
                    <a:pt x="413715" y="867041"/>
                  </a:lnTo>
                  <a:close/>
                </a:path>
                <a:path w="498475" h="1043939">
                  <a:moveTo>
                    <a:pt x="10553" y="0"/>
                  </a:moveTo>
                  <a:lnTo>
                    <a:pt x="7315" y="2133"/>
                  </a:lnTo>
                  <a:lnTo>
                    <a:pt x="3771" y="3860"/>
                  </a:lnTo>
                  <a:lnTo>
                    <a:pt x="0" y="5067"/>
                  </a:lnTo>
                  <a:lnTo>
                    <a:pt x="404507" y="847839"/>
                  </a:lnTo>
                  <a:lnTo>
                    <a:pt x="413943" y="849033"/>
                  </a:lnTo>
                  <a:lnTo>
                    <a:pt x="374878" y="759066"/>
                  </a:lnTo>
                  <a:lnTo>
                    <a:pt x="10553" y="0"/>
                  </a:lnTo>
                  <a:close/>
                </a:path>
              </a:pathLst>
            </a:custGeom>
            <a:solidFill>
              <a:srgbClr val="EF3D60">
                <a:alpha val="50999"/>
              </a:srgbClr>
            </a:solidFill>
          </p:spPr>
          <p:txBody>
            <a:bodyPr wrap="square" lIns="0" tIns="0" rIns="0" bIns="0" rtlCol="0"/>
            <a:lstStyle/>
            <a:p>
              <a:endParaRPr sz="2968"/>
            </a:p>
          </p:txBody>
        </p:sp>
        <p:sp>
          <p:nvSpPr>
            <p:cNvPr id="85" name="object 83">
              <a:extLst>
                <a:ext uri="{FF2B5EF4-FFF2-40B4-BE49-F238E27FC236}">
                  <a16:creationId xmlns:a16="http://schemas.microsoft.com/office/drawing/2014/main" id="{B64C0BB4-898C-F642-AAAF-5447EE0A4A8F}"/>
                </a:ext>
              </a:extLst>
            </p:cNvPr>
            <p:cNvSpPr/>
            <p:nvPr/>
          </p:nvSpPr>
          <p:spPr>
            <a:xfrm>
              <a:off x="8919036" y="5202327"/>
              <a:ext cx="680720" cy="1295400"/>
            </a:xfrm>
            <a:custGeom>
              <a:avLst/>
              <a:gdLst/>
              <a:ahLst/>
              <a:cxnLst/>
              <a:rect l="l" t="t" r="r" b="b"/>
              <a:pathLst>
                <a:path w="680720" h="1295400">
                  <a:moveTo>
                    <a:pt x="680554" y="0"/>
                  </a:moveTo>
                  <a:lnTo>
                    <a:pt x="664984" y="1727"/>
                  </a:lnTo>
                  <a:lnTo>
                    <a:pt x="0" y="1288796"/>
                  </a:lnTo>
                  <a:lnTo>
                    <a:pt x="4190" y="1290218"/>
                  </a:lnTo>
                  <a:lnTo>
                    <a:pt x="8089" y="1292250"/>
                  </a:lnTo>
                  <a:lnTo>
                    <a:pt x="11582" y="1294790"/>
                  </a:lnTo>
                  <a:lnTo>
                    <a:pt x="680554" y="0"/>
                  </a:lnTo>
                  <a:close/>
                </a:path>
              </a:pathLst>
            </a:custGeom>
            <a:solidFill>
              <a:srgbClr val="EF3D60">
                <a:alpha val="50999"/>
              </a:srgbClr>
            </a:solidFill>
          </p:spPr>
          <p:txBody>
            <a:bodyPr wrap="square" lIns="0" tIns="0" rIns="0" bIns="0" rtlCol="0"/>
            <a:lstStyle/>
            <a:p>
              <a:endParaRPr sz="2968"/>
            </a:p>
          </p:txBody>
        </p:sp>
        <p:sp>
          <p:nvSpPr>
            <p:cNvPr id="86" name="object 84">
              <a:extLst>
                <a:ext uri="{FF2B5EF4-FFF2-40B4-BE49-F238E27FC236}">
                  <a16:creationId xmlns:a16="http://schemas.microsoft.com/office/drawing/2014/main" id="{1AF0166B-5F83-8F47-9282-8EBD6B759BB9}"/>
                </a:ext>
              </a:extLst>
            </p:cNvPr>
            <p:cNvSpPr/>
            <p:nvPr/>
          </p:nvSpPr>
          <p:spPr>
            <a:xfrm>
              <a:off x="8755744" y="5154973"/>
              <a:ext cx="816610" cy="73025"/>
            </a:xfrm>
            <a:custGeom>
              <a:avLst/>
              <a:gdLst/>
              <a:ahLst/>
              <a:cxnLst/>
              <a:rect l="l" t="t" r="r" b="b"/>
              <a:pathLst>
                <a:path w="816609" h="73025">
                  <a:moveTo>
                    <a:pt x="811072" y="0"/>
                  </a:moveTo>
                  <a:lnTo>
                    <a:pt x="0" y="72605"/>
                  </a:lnTo>
                  <a:lnTo>
                    <a:pt x="816483" y="2819"/>
                  </a:lnTo>
                  <a:lnTo>
                    <a:pt x="816495" y="977"/>
                  </a:lnTo>
                  <a:lnTo>
                    <a:pt x="811072" y="0"/>
                  </a:lnTo>
                  <a:close/>
                </a:path>
              </a:pathLst>
            </a:custGeom>
            <a:solidFill>
              <a:srgbClr val="EF3D60">
                <a:alpha val="50999"/>
              </a:srgbClr>
            </a:solidFill>
          </p:spPr>
          <p:txBody>
            <a:bodyPr wrap="square" lIns="0" tIns="0" rIns="0" bIns="0" rtlCol="0"/>
            <a:lstStyle/>
            <a:p>
              <a:endParaRPr sz="2968"/>
            </a:p>
          </p:txBody>
        </p:sp>
        <p:sp>
          <p:nvSpPr>
            <p:cNvPr id="87" name="object 85">
              <a:extLst>
                <a:ext uri="{FF2B5EF4-FFF2-40B4-BE49-F238E27FC236}">
                  <a16:creationId xmlns:a16="http://schemas.microsoft.com/office/drawing/2014/main" id="{433DA7D2-7E7C-7046-B165-0AEF29592E43}"/>
                </a:ext>
              </a:extLst>
            </p:cNvPr>
            <p:cNvSpPr/>
            <p:nvPr/>
          </p:nvSpPr>
          <p:spPr>
            <a:xfrm>
              <a:off x="8121087" y="4894187"/>
              <a:ext cx="1451610" cy="262255"/>
            </a:xfrm>
            <a:custGeom>
              <a:avLst/>
              <a:gdLst/>
              <a:ahLst/>
              <a:cxnLst/>
              <a:rect l="l" t="t" r="r" b="b"/>
              <a:pathLst>
                <a:path w="1451609" h="262254">
                  <a:moveTo>
                    <a:pt x="584" y="0"/>
                  </a:moveTo>
                  <a:lnTo>
                    <a:pt x="0" y="1879"/>
                  </a:lnTo>
                  <a:lnTo>
                    <a:pt x="1451152" y="261759"/>
                  </a:lnTo>
                  <a:lnTo>
                    <a:pt x="1451190" y="260070"/>
                  </a:lnTo>
                  <a:lnTo>
                    <a:pt x="1451330" y="258406"/>
                  </a:lnTo>
                  <a:lnTo>
                    <a:pt x="1451559" y="256768"/>
                  </a:lnTo>
                  <a:lnTo>
                    <a:pt x="1380820" y="235889"/>
                  </a:lnTo>
                  <a:lnTo>
                    <a:pt x="102463" y="6959"/>
                  </a:lnTo>
                  <a:lnTo>
                    <a:pt x="584" y="0"/>
                  </a:lnTo>
                  <a:close/>
                </a:path>
              </a:pathLst>
            </a:custGeom>
            <a:solidFill>
              <a:srgbClr val="EF3D60">
                <a:alpha val="50999"/>
              </a:srgbClr>
            </a:solidFill>
          </p:spPr>
          <p:txBody>
            <a:bodyPr wrap="square" lIns="0" tIns="0" rIns="0" bIns="0" rtlCol="0"/>
            <a:lstStyle/>
            <a:p>
              <a:endParaRPr sz="2968"/>
            </a:p>
          </p:txBody>
        </p:sp>
        <p:sp>
          <p:nvSpPr>
            <p:cNvPr id="88" name="object 86">
              <a:extLst>
                <a:ext uri="{FF2B5EF4-FFF2-40B4-BE49-F238E27FC236}">
                  <a16:creationId xmlns:a16="http://schemas.microsoft.com/office/drawing/2014/main" id="{87F61FC1-92EA-3545-8A3B-DF13190B4C28}"/>
                </a:ext>
              </a:extLst>
            </p:cNvPr>
            <p:cNvSpPr/>
            <p:nvPr/>
          </p:nvSpPr>
          <p:spPr>
            <a:xfrm>
              <a:off x="8256967" y="4758745"/>
              <a:ext cx="1319530" cy="392430"/>
            </a:xfrm>
            <a:custGeom>
              <a:avLst/>
              <a:gdLst/>
              <a:ahLst/>
              <a:cxnLst/>
              <a:rect l="l" t="t" r="r" b="b"/>
              <a:pathLst>
                <a:path w="1319529" h="392429">
                  <a:moveTo>
                    <a:pt x="620572" y="187121"/>
                  </a:moveTo>
                  <a:lnTo>
                    <a:pt x="1315681" y="392201"/>
                  </a:lnTo>
                  <a:lnTo>
                    <a:pt x="1316291" y="387959"/>
                  </a:lnTo>
                  <a:lnTo>
                    <a:pt x="1317510" y="383908"/>
                  </a:lnTo>
                  <a:lnTo>
                    <a:pt x="1319237" y="380149"/>
                  </a:lnTo>
                  <a:lnTo>
                    <a:pt x="678497" y="191084"/>
                  </a:lnTo>
                  <a:lnTo>
                    <a:pt x="620572" y="187121"/>
                  </a:lnTo>
                  <a:close/>
                </a:path>
                <a:path w="1319529" h="392429">
                  <a:moveTo>
                    <a:pt x="1638" y="0"/>
                  </a:moveTo>
                  <a:lnTo>
                    <a:pt x="1168" y="1371"/>
                  </a:lnTo>
                  <a:lnTo>
                    <a:pt x="622" y="2717"/>
                  </a:lnTo>
                  <a:lnTo>
                    <a:pt x="0" y="4025"/>
                  </a:lnTo>
                  <a:lnTo>
                    <a:pt x="538848" y="163004"/>
                  </a:lnTo>
                  <a:lnTo>
                    <a:pt x="596798" y="166966"/>
                  </a:lnTo>
                  <a:lnTo>
                    <a:pt x="52832" y="6464"/>
                  </a:lnTo>
                  <a:lnTo>
                    <a:pt x="1638" y="0"/>
                  </a:lnTo>
                  <a:close/>
                </a:path>
              </a:pathLst>
            </a:custGeom>
            <a:solidFill>
              <a:srgbClr val="EF3D60">
                <a:alpha val="50999"/>
              </a:srgbClr>
            </a:solidFill>
          </p:spPr>
          <p:txBody>
            <a:bodyPr wrap="square" lIns="0" tIns="0" rIns="0" bIns="0" rtlCol="0"/>
            <a:lstStyle/>
            <a:p>
              <a:endParaRPr sz="2968"/>
            </a:p>
          </p:txBody>
        </p:sp>
        <p:sp>
          <p:nvSpPr>
            <p:cNvPr id="89" name="object 87">
              <a:extLst>
                <a:ext uri="{FF2B5EF4-FFF2-40B4-BE49-F238E27FC236}">
                  <a16:creationId xmlns:a16="http://schemas.microsoft.com/office/drawing/2014/main" id="{CB38BC2D-B989-B644-9BBF-1373D1BB8A33}"/>
                </a:ext>
              </a:extLst>
            </p:cNvPr>
            <p:cNvSpPr/>
            <p:nvPr/>
          </p:nvSpPr>
          <p:spPr>
            <a:xfrm>
              <a:off x="9651822" y="4271572"/>
              <a:ext cx="2103755" cy="873125"/>
            </a:xfrm>
            <a:custGeom>
              <a:avLst/>
              <a:gdLst/>
              <a:ahLst/>
              <a:cxnLst/>
              <a:rect l="l" t="t" r="r" b="b"/>
              <a:pathLst>
                <a:path w="2103754" h="873125">
                  <a:moveTo>
                    <a:pt x="24117" y="869911"/>
                  </a:moveTo>
                  <a:lnTo>
                    <a:pt x="15379" y="873061"/>
                  </a:lnTo>
                  <a:lnTo>
                    <a:pt x="16713" y="872959"/>
                  </a:lnTo>
                  <a:lnTo>
                    <a:pt x="24117" y="869911"/>
                  </a:lnTo>
                  <a:close/>
                </a:path>
                <a:path w="2103754" h="873125">
                  <a:moveTo>
                    <a:pt x="280454" y="746404"/>
                  </a:moveTo>
                  <a:lnTo>
                    <a:pt x="0" y="861529"/>
                  </a:lnTo>
                  <a:lnTo>
                    <a:pt x="863" y="862825"/>
                  </a:lnTo>
                  <a:lnTo>
                    <a:pt x="1651" y="864171"/>
                  </a:lnTo>
                  <a:lnTo>
                    <a:pt x="2374" y="865555"/>
                  </a:lnTo>
                  <a:lnTo>
                    <a:pt x="265264" y="770915"/>
                  </a:lnTo>
                  <a:lnTo>
                    <a:pt x="318617" y="749007"/>
                  </a:lnTo>
                  <a:lnTo>
                    <a:pt x="280454" y="746404"/>
                  </a:lnTo>
                  <a:close/>
                </a:path>
                <a:path w="2103754" h="873125">
                  <a:moveTo>
                    <a:pt x="370192" y="709561"/>
                  </a:moveTo>
                  <a:lnTo>
                    <a:pt x="319138" y="730516"/>
                  </a:lnTo>
                  <a:lnTo>
                    <a:pt x="357301" y="733132"/>
                  </a:lnTo>
                  <a:lnTo>
                    <a:pt x="404253" y="713866"/>
                  </a:lnTo>
                  <a:lnTo>
                    <a:pt x="370192" y="709561"/>
                  </a:lnTo>
                  <a:close/>
                </a:path>
                <a:path w="2103754" h="873125">
                  <a:moveTo>
                    <a:pt x="725335" y="563765"/>
                  </a:moveTo>
                  <a:lnTo>
                    <a:pt x="403783" y="695769"/>
                  </a:lnTo>
                  <a:lnTo>
                    <a:pt x="437832" y="700074"/>
                  </a:lnTo>
                  <a:lnTo>
                    <a:pt x="743038" y="574776"/>
                  </a:lnTo>
                  <a:lnTo>
                    <a:pt x="725335" y="563765"/>
                  </a:lnTo>
                  <a:close/>
                </a:path>
                <a:path w="2103754" h="873125">
                  <a:moveTo>
                    <a:pt x="806958" y="530250"/>
                  </a:moveTo>
                  <a:lnTo>
                    <a:pt x="742619" y="556666"/>
                  </a:lnTo>
                  <a:lnTo>
                    <a:pt x="760336" y="567677"/>
                  </a:lnTo>
                  <a:lnTo>
                    <a:pt x="820877" y="542823"/>
                  </a:lnTo>
                  <a:lnTo>
                    <a:pt x="806958" y="530250"/>
                  </a:lnTo>
                  <a:close/>
                </a:path>
                <a:path w="2103754" h="873125">
                  <a:moveTo>
                    <a:pt x="1056271" y="427901"/>
                  </a:moveTo>
                  <a:lnTo>
                    <a:pt x="822096" y="524040"/>
                  </a:lnTo>
                  <a:lnTo>
                    <a:pt x="836002" y="536600"/>
                  </a:lnTo>
                  <a:lnTo>
                    <a:pt x="1058519" y="445261"/>
                  </a:lnTo>
                  <a:lnTo>
                    <a:pt x="1056271" y="427901"/>
                  </a:lnTo>
                  <a:close/>
                </a:path>
                <a:path w="2103754" h="873125">
                  <a:moveTo>
                    <a:pt x="1089583" y="414235"/>
                  </a:moveTo>
                  <a:lnTo>
                    <a:pt x="1068235" y="422986"/>
                  </a:lnTo>
                  <a:lnTo>
                    <a:pt x="1070483" y="440347"/>
                  </a:lnTo>
                  <a:lnTo>
                    <a:pt x="1090168" y="432257"/>
                  </a:lnTo>
                  <a:lnTo>
                    <a:pt x="1089583" y="414235"/>
                  </a:lnTo>
                  <a:close/>
                </a:path>
                <a:path w="2103754" h="873125">
                  <a:moveTo>
                    <a:pt x="1460868" y="261810"/>
                  </a:moveTo>
                  <a:lnTo>
                    <a:pt x="1105090" y="407860"/>
                  </a:lnTo>
                  <a:lnTo>
                    <a:pt x="1105674" y="425894"/>
                  </a:lnTo>
                  <a:lnTo>
                    <a:pt x="1443748" y="287108"/>
                  </a:lnTo>
                  <a:lnTo>
                    <a:pt x="1460868" y="261810"/>
                  </a:lnTo>
                  <a:close/>
                </a:path>
                <a:path w="2103754" h="873125">
                  <a:moveTo>
                    <a:pt x="1617967" y="197307"/>
                  </a:moveTo>
                  <a:lnTo>
                    <a:pt x="1485290" y="251777"/>
                  </a:lnTo>
                  <a:lnTo>
                    <a:pt x="1468170" y="277088"/>
                  </a:lnTo>
                  <a:lnTo>
                    <a:pt x="1593138" y="225780"/>
                  </a:lnTo>
                  <a:lnTo>
                    <a:pt x="1617967" y="197307"/>
                  </a:lnTo>
                  <a:close/>
                </a:path>
                <a:path w="2103754" h="873125">
                  <a:moveTo>
                    <a:pt x="1704898" y="161620"/>
                  </a:moveTo>
                  <a:lnTo>
                    <a:pt x="1655533" y="181889"/>
                  </a:lnTo>
                  <a:lnTo>
                    <a:pt x="1630705" y="210362"/>
                  </a:lnTo>
                  <a:lnTo>
                    <a:pt x="1717852" y="174586"/>
                  </a:lnTo>
                  <a:lnTo>
                    <a:pt x="1704898" y="161620"/>
                  </a:lnTo>
                  <a:close/>
                </a:path>
                <a:path w="2103754" h="873125">
                  <a:moveTo>
                    <a:pt x="1877656" y="90703"/>
                  </a:moveTo>
                  <a:lnTo>
                    <a:pt x="1719554" y="155600"/>
                  </a:lnTo>
                  <a:lnTo>
                    <a:pt x="1732521" y="168554"/>
                  </a:lnTo>
                  <a:lnTo>
                    <a:pt x="1886483" y="105346"/>
                  </a:lnTo>
                  <a:lnTo>
                    <a:pt x="1877656" y="90703"/>
                  </a:lnTo>
                  <a:close/>
                </a:path>
                <a:path w="2103754" h="873125">
                  <a:moveTo>
                    <a:pt x="2032723" y="27038"/>
                  </a:moveTo>
                  <a:lnTo>
                    <a:pt x="1893468" y="84213"/>
                  </a:lnTo>
                  <a:lnTo>
                    <a:pt x="1902294" y="98856"/>
                  </a:lnTo>
                  <a:lnTo>
                    <a:pt x="1987892" y="63715"/>
                  </a:lnTo>
                  <a:lnTo>
                    <a:pt x="2032723" y="27038"/>
                  </a:lnTo>
                  <a:close/>
                </a:path>
                <a:path w="2103754" h="873125">
                  <a:moveTo>
                    <a:pt x="2098586" y="0"/>
                  </a:moveTo>
                  <a:lnTo>
                    <a:pt x="2090051" y="3505"/>
                  </a:lnTo>
                  <a:lnTo>
                    <a:pt x="2045220" y="40182"/>
                  </a:lnTo>
                  <a:lnTo>
                    <a:pt x="2095754" y="19443"/>
                  </a:lnTo>
                  <a:lnTo>
                    <a:pt x="2103589" y="13334"/>
                  </a:lnTo>
                  <a:lnTo>
                    <a:pt x="2101240" y="9258"/>
                  </a:lnTo>
                  <a:lnTo>
                    <a:pt x="2099525" y="4775"/>
                  </a:lnTo>
                  <a:lnTo>
                    <a:pt x="2098586" y="0"/>
                  </a:lnTo>
                  <a:close/>
                </a:path>
              </a:pathLst>
            </a:custGeom>
            <a:solidFill>
              <a:srgbClr val="EF3D60">
                <a:alpha val="50999"/>
              </a:srgbClr>
            </a:solidFill>
          </p:spPr>
          <p:txBody>
            <a:bodyPr wrap="square" lIns="0" tIns="0" rIns="0" bIns="0" rtlCol="0"/>
            <a:lstStyle/>
            <a:p>
              <a:endParaRPr sz="2968"/>
            </a:p>
          </p:txBody>
        </p:sp>
        <p:sp>
          <p:nvSpPr>
            <p:cNvPr id="90" name="object 88">
              <a:extLst>
                <a:ext uri="{FF2B5EF4-FFF2-40B4-BE49-F238E27FC236}">
                  <a16:creationId xmlns:a16="http://schemas.microsoft.com/office/drawing/2014/main" id="{1BCA9066-CB3D-974A-8304-3EDEBB4ED3D4}"/>
                </a:ext>
              </a:extLst>
            </p:cNvPr>
            <p:cNvSpPr/>
            <p:nvPr/>
          </p:nvSpPr>
          <p:spPr>
            <a:xfrm>
              <a:off x="8768902" y="5186428"/>
              <a:ext cx="685800" cy="92710"/>
            </a:xfrm>
            <a:custGeom>
              <a:avLst/>
              <a:gdLst/>
              <a:ahLst/>
              <a:cxnLst/>
              <a:rect l="l" t="t" r="r" b="b"/>
              <a:pathLst>
                <a:path w="685800" h="92710">
                  <a:moveTo>
                    <a:pt x="685228" y="0"/>
                  </a:moveTo>
                  <a:lnTo>
                    <a:pt x="527100" y="13512"/>
                  </a:lnTo>
                  <a:lnTo>
                    <a:pt x="0" y="92583"/>
                  </a:lnTo>
                  <a:lnTo>
                    <a:pt x="262191" y="63449"/>
                  </a:lnTo>
                  <a:lnTo>
                    <a:pt x="685228" y="0"/>
                  </a:lnTo>
                  <a:close/>
                </a:path>
              </a:pathLst>
            </a:custGeom>
            <a:solidFill>
              <a:srgbClr val="EF3D60">
                <a:alpha val="50999"/>
              </a:srgbClr>
            </a:solidFill>
          </p:spPr>
          <p:txBody>
            <a:bodyPr wrap="square" lIns="0" tIns="0" rIns="0" bIns="0" rtlCol="0"/>
            <a:lstStyle/>
            <a:p>
              <a:endParaRPr sz="2968"/>
            </a:p>
          </p:txBody>
        </p:sp>
        <p:sp>
          <p:nvSpPr>
            <p:cNvPr id="91" name="object 89">
              <a:extLst>
                <a:ext uri="{FF2B5EF4-FFF2-40B4-BE49-F238E27FC236}">
                  <a16:creationId xmlns:a16="http://schemas.microsoft.com/office/drawing/2014/main" id="{C77DD660-B442-9749-A2B4-F66C888A5637}"/>
                </a:ext>
              </a:extLst>
            </p:cNvPr>
            <p:cNvSpPr/>
            <p:nvPr/>
          </p:nvSpPr>
          <p:spPr>
            <a:xfrm>
              <a:off x="9516412" y="2586351"/>
              <a:ext cx="107314" cy="2528570"/>
            </a:xfrm>
            <a:custGeom>
              <a:avLst/>
              <a:gdLst/>
              <a:ahLst/>
              <a:cxnLst/>
              <a:rect l="l" t="t" r="r" b="b"/>
              <a:pathLst>
                <a:path w="107315" h="2528570">
                  <a:moveTo>
                    <a:pt x="84518" y="2408974"/>
                  </a:moveTo>
                  <a:lnTo>
                    <a:pt x="88569" y="2524340"/>
                  </a:lnTo>
                  <a:lnTo>
                    <a:pt x="90271" y="2528252"/>
                  </a:lnTo>
                  <a:lnTo>
                    <a:pt x="93167" y="2527642"/>
                  </a:lnTo>
                  <a:lnTo>
                    <a:pt x="96151" y="2527325"/>
                  </a:lnTo>
                  <a:lnTo>
                    <a:pt x="106796" y="2527325"/>
                  </a:lnTo>
                  <a:lnTo>
                    <a:pt x="102692" y="2410218"/>
                  </a:lnTo>
                  <a:lnTo>
                    <a:pt x="84518" y="2408974"/>
                  </a:lnTo>
                  <a:close/>
                </a:path>
                <a:path w="107315" h="2528570">
                  <a:moveTo>
                    <a:pt x="106796" y="2527325"/>
                  </a:moveTo>
                  <a:lnTo>
                    <a:pt x="101815" y="2527325"/>
                  </a:lnTo>
                  <a:lnTo>
                    <a:pt x="104355" y="2527554"/>
                  </a:lnTo>
                  <a:lnTo>
                    <a:pt x="106819" y="2527985"/>
                  </a:lnTo>
                  <a:lnTo>
                    <a:pt x="106796" y="2527325"/>
                  </a:lnTo>
                  <a:close/>
                </a:path>
                <a:path w="107315" h="2528570">
                  <a:moveTo>
                    <a:pt x="82156" y="2341384"/>
                  </a:moveTo>
                  <a:lnTo>
                    <a:pt x="83870" y="2390406"/>
                  </a:lnTo>
                  <a:lnTo>
                    <a:pt x="102044" y="2391638"/>
                  </a:lnTo>
                  <a:lnTo>
                    <a:pt x="100355" y="2343683"/>
                  </a:lnTo>
                  <a:lnTo>
                    <a:pt x="82156" y="2341384"/>
                  </a:lnTo>
                  <a:close/>
                </a:path>
                <a:path w="107315" h="2528570">
                  <a:moveTo>
                    <a:pt x="61467" y="1752142"/>
                  </a:moveTo>
                  <a:lnTo>
                    <a:pt x="81508" y="2323274"/>
                  </a:lnTo>
                  <a:lnTo>
                    <a:pt x="99720" y="2325573"/>
                  </a:lnTo>
                  <a:lnTo>
                    <a:pt x="80009" y="1763661"/>
                  </a:lnTo>
                  <a:lnTo>
                    <a:pt x="61467" y="1752142"/>
                  </a:lnTo>
                  <a:close/>
                </a:path>
                <a:path w="107315" h="2528570">
                  <a:moveTo>
                    <a:pt x="49428" y="1408925"/>
                  </a:moveTo>
                  <a:lnTo>
                    <a:pt x="60832" y="1733892"/>
                  </a:lnTo>
                  <a:lnTo>
                    <a:pt x="79362" y="1745424"/>
                  </a:lnTo>
                  <a:lnTo>
                    <a:pt x="68160" y="1425841"/>
                  </a:lnTo>
                  <a:lnTo>
                    <a:pt x="49428" y="1408925"/>
                  </a:lnTo>
                  <a:close/>
                </a:path>
                <a:path w="107315" h="2528570">
                  <a:moveTo>
                    <a:pt x="0" y="647"/>
                  </a:moveTo>
                  <a:lnTo>
                    <a:pt x="48704" y="1388376"/>
                  </a:lnTo>
                  <a:lnTo>
                    <a:pt x="67436" y="1405293"/>
                  </a:lnTo>
                  <a:lnTo>
                    <a:pt x="18168" y="1295"/>
                  </a:lnTo>
                  <a:lnTo>
                    <a:pt x="4978" y="1295"/>
                  </a:lnTo>
                  <a:lnTo>
                    <a:pt x="2463" y="1066"/>
                  </a:lnTo>
                  <a:lnTo>
                    <a:pt x="0" y="647"/>
                  </a:lnTo>
                  <a:close/>
                </a:path>
                <a:path w="107315" h="2528570">
                  <a:moveTo>
                    <a:pt x="18122" y="0"/>
                  </a:moveTo>
                  <a:lnTo>
                    <a:pt x="14744" y="838"/>
                  </a:lnTo>
                  <a:lnTo>
                    <a:pt x="11201" y="1295"/>
                  </a:lnTo>
                  <a:lnTo>
                    <a:pt x="18168" y="1295"/>
                  </a:lnTo>
                  <a:lnTo>
                    <a:pt x="18122" y="0"/>
                  </a:lnTo>
                  <a:close/>
                </a:path>
              </a:pathLst>
            </a:custGeom>
            <a:solidFill>
              <a:srgbClr val="EF3D60">
                <a:alpha val="50999"/>
              </a:srgbClr>
            </a:solidFill>
          </p:spPr>
          <p:txBody>
            <a:bodyPr wrap="square" lIns="0" tIns="0" rIns="0" bIns="0" rtlCol="0"/>
            <a:lstStyle/>
            <a:p>
              <a:endParaRPr sz="2968"/>
            </a:p>
          </p:txBody>
        </p:sp>
        <p:sp>
          <p:nvSpPr>
            <p:cNvPr id="92" name="object 90">
              <a:extLst>
                <a:ext uri="{FF2B5EF4-FFF2-40B4-BE49-F238E27FC236}">
                  <a16:creationId xmlns:a16="http://schemas.microsoft.com/office/drawing/2014/main" id="{ACDB0A42-5178-6D47-94CF-AC602421FEC6}"/>
                </a:ext>
              </a:extLst>
            </p:cNvPr>
            <p:cNvSpPr/>
            <p:nvPr/>
          </p:nvSpPr>
          <p:spPr>
            <a:xfrm>
              <a:off x="9626573" y="2991211"/>
              <a:ext cx="1055370" cy="2131695"/>
            </a:xfrm>
            <a:custGeom>
              <a:avLst/>
              <a:gdLst/>
              <a:ahLst/>
              <a:cxnLst/>
              <a:rect l="l" t="t" r="r" b="b"/>
              <a:pathLst>
                <a:path w="1055370" h="2131695">
                  <a:moveTo>
                    <a:pt x="55892" y="2009686"/>
                  </a:moveTo>
                  <a:lnTo>
                    <a:pt x="0" y="2123859"/>
                  </a:lnTo>
                  <a:lnTo>
                    <a:pt x="5727" y="2125345"/>
                  </a:lnTo>
                  <a:lnTo>
                    <a:pt x="10985" y="2127961"/>
                  </a:lnTo>
                  <a:lnTo>
                    <a:pt x="15544" y="2131479"/>
                  </a:lnTo>
                  <a:lnTo>
                    <a:pt x="74548" y="2010968"/>
                  </a:lnTo>
                  <a:lnTo>
                    <a:pt x="55892" y="2009686"/>
                  </a:lnTo>
                  <a:close/>
                </a:path>
                <a:path w="1055370" h="2131695">
                  <a:moveTo>
                    <a:pt x="84747" y="1950745"/>
                  </a:moveTo>
                  <a:lnTo>
                    <a:pt x="64668" y="1991753"/>
                  </a:lnTo>
                  <a:lnTo>
                    <a:pt x="83337" y="1993036"/>
                  </a:lnTo>
                  <a:lnTo>
                    <a:pt x="102908" y="1953031"/>
                  </a:lnTo>
                  <a:lnTo>
                    <a:pt x="84747" y="1950745"/>
                  </a:lnTo>
                  <a:close/>
                </a:path>
                <a:path w="1055370" h="2131695">
                  <a:moveTo>
                    <a:pt x="280123" y="1551686"/>
                  </a:moveTo>
                  <a:lnTo>
                    <a:pt x="93065" y="1933765"/>
                  </a:lnTo>
                  <a:lnTo>
                    <a:pt x="111226" y="1936051"/>
                  </a:lnTo>
                  <a:lnTo>
                    <a:pt x="294906" y="1560868"/>
                  </a:lnTo>
                  <a:lnTo>
                    <a:pt x="280123" y="1551686"/>
                  </a:lnTo>
                  <a:close/>
                </a:path>
                <a:path w="1055370" h="2131695">
                  <a:moveTo>
                    <a:pt x="361505" y="1385455"/>
                  </a:moveTo>
                  <a:lnTo>
                    <a:pt x="286816" y="1537995"/>
                  </a:lnTo>
                  <a:lnTo>
                    <a:pt x="301612" y="1547190"/>
                  </a:lnTo>
                  <a:lnTo>
                    <a:pt x="374878" y="1397533"/>
                  </a:lnTo>
                  <a:lnTo>
                    <a:pt x="361505" y="1385455"/>
                  </a:lnTo>
                  <a:close/>
                </a:path>
                <a:path w="1055370" h="2131695">
                  <a:moveTo>
                    <a:pt x="1039799" y="0"/>
                  </a:moveTo>
                  <a:lnTo>
                    <a:pt x="368261" y="1371663"/>
                  </a:lnTo>
                  <a:lnTo>
                    <a:pt x="381634" y="1383741"/>
                  </a:lnTo>
                  <a:lnTo>
                    <a:pt x="1055357" y="7619"/>
                  </a:lnTo>
                  <a:lnTo>
                    <a:pt x="1049616" y="6134"/>
                  </a:lnTo>
                  <a:lnTo>
                    <a:pt x="1044346" y="3505"/>
                  </a:lnTo>
                  <a:lnTo>
                    <a:pt x="1039799" y="0"/>
                  </a:lnTo>
                  <a:close/>
                </a:path>
              </a:pathLst>
            </a:custGeom>
            <a:solidFill>
              <a:srgbClr val="EF3D60">
                <a:alpha val="50999"/>
              </a:srgbClr>
            </a:solidFill>
          </p:spPr>
          <p:txBody>
            <a:bodyPr wrap="square" lIns="0" tIns="0" rIns="0" bIns="0" rtlCol="0"/>
            <a:lstStyle/>
            <a:p>
              <a:endParaRPr sz="2968"/>
            </a:p>
          </p:txBody>
        </p:sp>
        <p:sp>
          <p:nvSpPr>
            <p:cNvPr id="93" name="object 91">
              <a:extLst>
                <a:ext uri="{FF2B5EF4-FFF2-40B4-BE49-F238E27FC236}">
                  <a16:creationId xmlns:a16="http://schemas.microsoft.com/office/drawing/2014/main" id="{EA537DEA-4134-CF4D-85F4-EF278847C18D}"/>
                </a:ext>
              </a:extLst>
            </p:cNvPr>
            <p:cNvSpPr/>
            <p:nvPr/>
          </p:nvSpPr>
          <p:spPr>
            <a:xfrm>
              <a:off x="8639054" y="2923595"/>
              <a:ext cx="967740" cy="2198370"/>
            </a:xfrm>
            <a:custGeom>
              <a:avLst/>
              <a:gdLst/>
              <a:ahLst/>
              <a:cxnLst/>
              <a:rect l="l" t="t" r="r" b="b"/>
              <a:pathLst>
                <a:path w="967740" h="2198370">
                  <a:moveTo>
                    <a:pt x="894816" y="2067140"/>
                  </a:moveTo>
                  <a:lnTo>
                    <a:pt x="951636" y="2197963"/>
                  </a:lnTo>
                  <a:lnTo>
                    <a:pt x="956360" y="2194636"/>
                  </a:lnTo>
                  <a:lnTo>
                    <a:pt x="961770" y="2192235"/>
                  </a:lnTo>
                  <a:lnTo>
                    <a:pt x="967625" y="2191004"/>
                  </a:lnTo>
                  <a:lnTo>
                    <a:pt x="914412" y="2068474"/>
                  </a:lnTo>
                  <a:lnTo>
                    <a:pt x="894816" y="2067140"/>
                  </a:lnTo>
                  <a:close/>
                </a:path>
                <a:path w="967740" h="2198370">
                  <a:moveTo>
                    <a:pt x="862114" y="1991855"/>
                  </a:moveTo>
                  <a:lnTo>
                    <a:pt x="886523" y="2048052"/>
                  </a:lnTo>
                  <a:lnTo>
                    <a:pt x="906119" y="2049386"/>
                  </a:lnTo>
                  <a:lnTo>
                    <a:pt x="882230" y="1994395"/>
                  </a:lnTo>
                  <a:lnTo>
                    <a:pt x="862114" y="1991855"/>
                  </a:lnTo>
                  <a:close/>
                </a:path>
                <a:path w="967740" h="2198370">
                  <a:moveTo>
                    <a:pt x="490461" y="1136180"/>
                  </a:moveTo>
                  <a:lnTo>
                    <a:pt x="853833" y="1972779"/>
                  </a:lnTo>
                  <a:lnTo>
                    <a:pt x="873937" y="1975307"/>
                  </a:lnTo>
                  <a:lnTo>
                    <a:pt x="516508" y="1152372"/>
                  </a:lnTo>
                  <a:lnTo>
                    <a:pt x="490461" y="1136180"/>
                  </a:lnTo>
                  <a:close/>
                </a:path>
                <a:path w="967740" h="2198370">
                  <a:moveTo>
                    <a:pt x="16001" y="0"/>
                  </a:moveTo>
                  <a:lnTo>
                    <a:pt x="11264" y="3327"/>
                  </a:lnTo>
                  <a:lnTo>
                    <a:pt x="5854" y="5727"/>
                  </a:lnTo>
                  <a:lnTo>
                    <a:pt x="0" y="6959"/>
                  </a:lnTo>
                  <a:lnTo>
                    <a:pt x="455129" y="1054823"/>
                  </a:lnTo>
                  <a:lnTo>
                    <a:pt x="461274" y="1061456"/>
                  </a:lnTo>
                  <a:lnTo>
                    <a:pt x="465939" y="1069260"/>
                  </a:lnTo>
                  <a:lnTo>
                    <a:pt x="468901" y="1078012"/>
                  </a:lnTo>
                  <a:lnTo>
                    <a:pt x="469938" y="1087488"/>
                  </a:lnTo>
                  <a:lnTo>
                    <a:pt x="469925" y="1088885"/>
                  </a:lnTo>
                  <a:lnTo>
                    <a:pt x="479844" y="1111732"/>
                  </a:lnTo>
                  <a:lnTo>
                    <a:pt x="505891" y="1127925"/>
                  </a:lnTo>
                  <a:lnTo>
                    <a:pt x="16001" y="0"/>
                  </a:lnTo>
                  <a:close/>
                </a:path>
              </a:pathLst>
            </a:custGeom>
            <a:solidFill>
              <a:srgbClr val="EF3D60">
                <a:alpha val="50999"/>
              </a:srgbClr>
            </a:solidFill>
          </p:spPr>
          <p:txBody>
            <a:bodyPr wrap="square" lIns="0" tIns="0" rIns="0" bIns="0" rtlCol="0"/>
            <a:lstStyle/>
            <a:p>
              <a:endParaRPr sz="2968"/>
            </a:p>
          </p:txBody>
        </p:sp>
        <p:sp>
          <p:nvSpPr>
            <p:cNvPr id="94" name="object 92">
              <a:extLst>
                <a:ext uri="{FF2B5EF4-FFF2-40B4-BE49-F238E27FC236}">
                  <a16:creationId xmlns:a16="http://schemas.microsoft.com/office/drawing/2014/main" id="{85F62C88-DD32-A14C-BC40-E75B9853FEE8}"/>
                </a:ext>
              </a:extLst>
            </p:cNvPr>
            <p:cNvSpPr/>
            <p:nvPr/>
          </p:nvSpPr>
          <p:spPr>
            <a:xfrm>
              <a:off x="9654204" y="4755143"/>
              <a:ext cx="1062990" cy="390525"/>
            </a:xfrm>
            <a:custGeom>
              <a:avLst/>
              <a:gdLst/>
              <a:ahLst/>
              <a:cxnLst/>
              <a:rect l="l" t="t" r="r" b="b"/>
              <a:pathLst>
                <a:path w="1062990" h="390525">
                  <a:moveTo>
                    <a:pt x="322529" y="265874"/>
                  </a:moveTo>
                  <a:lnTo>
                    <a:pt x="0" y="381977"/>
                  </a:lnTo>
                  <a:lnTo>
                    <a:pt x="1358" y="384606"/>
                  </a:lnTo>
                  <a:lnTo>
                    <a:pt x="2451" y="387375"/>
                  </a:lnTo>
                  <a:lnTo>
                    <a:pt x="3263" y="390271"/>
                  </a:lnTo>
                  <a:lnTo>
                    <a:pt x="12992" y="389483"/>
                  </a:lnTo>
                  <a:lnTo>
                    <a:pt x="350977" y="267817"/>
                  </a:lnTo>
                  <a:lnTo>
                    <a:pt x="322529" y="265874"/>
                  </a:lnTo>
                  <a:close/>
                </a:path>
                <a:path w="1062990" h="390525">
                  <a:moveTo>
                    <a:pt x="416305" y="232117"/>
                  </a:moveTo>
                  <a:lnTo>
                    <a:pt x="365772" y="250304"/>
                  </a:lnTo>
                  <a:lnTo>
                    <a:pt x="394220" y="252247"/>
                  </a:lnTo>
                  <a:lnTo>
                    <a:pt x="441375" y="235280"/>
                  </a:lnTo>
                  <a:lnTo>
                    <a:pt x="416305" y="232117"/>
                  </a:lnTo>
                  <a:close/>
                </a:path>
                <a:path w="1062990" h="390525">
                  <a:moveTo>
                    <a:pt x="765251" y="106489"/>
                  </a:moveTo>
                  <a:lnTo>
                    <a:pt x="453389" y="218757"/>
                  </a:lnTo>
                  <a:lnTo>
                    <a:pt x="478459" y="221919"/>
                  </a:lnTo>
                  <a:lnTo>
                    <a:pt x="777671" y="114211"/>
                  </a:lnTo>
                  <a:lnTo>
                    <a:pt x="765251" y="106489"/>
                  </a:lnTo>
                  <a:close/>
                </a:path>
                <a:path w="1062990" h="390525">
                  <a:moveTo>
                    <a:pt x="840714" y="79324"/>
                  </a:moveTo>
                  <a:lnTo>
                    <a:pt x="783437" y="99949"/>
                  </a:lnTo>
                  <a:lnTo>
                    <a:pt x="795845" y="107657"/>
                  </a:lnTo>
                  <a:lnTo>
                    <a:pt x="850353" y="88036"/>
                  </a:lnTo>
                  <a:lnTo>
                    <a:pt x="840714" y="79324"/>
                  </a:lnTo>
                  <a:close/>
                </a:path>
                <a:path w="1062990" h="390525">
                  <a:moveTo>
                    <a:pt x="1061084" y="0"/>
                  </a:moveTo>
                  <a:lnTo>
                    <a:pt x="856449" y="73660"/>
                  </a:lnTo>
                  <a:lnTo>
                    <a:pt x="866114" y="82372"/>
                  </a:lnTo>
                  <a:lnTo>
                    <a:pt x="1062583" y="11645"/>
                  </a:lnTo>
                  <a:lnTo>
                    <a:pt x="1061084" y="0"/>
                  </a:lnTo>
                  <a:close/>
                </a:path>
              </a:pathLst>
            </a:custGeom>
            <a:solidFill>
              <a:srgbClr val="EF3D60">
                <a:alpha val="50999"/>
              </a:srgbClr>
            </a:solidFill>
          </p:spPr>
          <p:txBody>
            <a:bodyPr wrap="square" lIns="0" tIns="0" rIns="0" bIns="0" rtlCol="0"/>
            <a:lstStyle/>
            <a:p>
              <a:endParaRPr sz="2968"/>
            </a:p>
          </p:txBody>
        </p:sp>
        <p:sp>
          <p:nvSpPr>
            <p:cNvPr id="95" name="object 93">
              <a:extLst>
                <a:ext uri="{FF2B5EF4-FFF2-40B4-BE49-F238E27FC236}">
                  <a16:creationId xmlns:a16="http://schemas.microsoft.com/office/drawing/2014/main" id="{C7872DB5-62CF-FC4E-851D-48ADA2AF2458}"/>
                </a:ext>
              </a:extLst>
            </p:cNvPr>
            <p:cNvSpPr/>
            <p:nvPr/>
          </p:nvSpPr>
          <p:spPr>
            <a:xfrm>
              <a:off x="9627127" y="5199088"/>
              <a:ext cx="242570" cy="1771650"/>
            </a:xfrm>
            <a:custGeom>
              <a:avLst/>
              <a:gdLst/>
              <a:ahLst/>
              <a:cxnLst/>
              <a:rect l="l" t="t" r="r" b="b"/>
              <a:pathLst>
                <a:path w="242570" h="1771650">
                  <a:moveTo>
                    <a:pt x="240385" y="1758594"/>
                  </a:moveTo>
                  <a:lnTo>
                    <a:pt x="234200" y="1771548"/>
                  </a:lnTo>
                  <a:lnTo>
                    <a:pt x="236308" y="1771243"/>
                  </a:lnTo>
                  <a:lnTo>
                    <a:pt x="238455" y="1771078"/>
                  </a:lnTo>
                  <a:lnTo>
                    <a:pt x="242083" y="1771078"/>
                  </a:lnTo>
                  <a:lnTo>
                    <a:pt x="240385" y="1758594"/>
                  </a:lnTo>
                  <a:close/>
                </a:path>
                <a:path w="242570" h="1771650">
                  <a:moveTo>
                    <a:pt x="242083" y="1771078"/>
                  </a:moveTo>
                  <a:lnTo>
                    <a:pt x="241122" y="1771078"/>
                  </a:lnTo>
                  <a:lnTo>
                    <a:pt x="242087" y="1771103"/>
                  </a:lnTo>
                  <a:close/>
                </a:path>
                <a:path w="242570" h="1771650">
                  <a:moveTo>
                    <a:pt x="114414" y="830834"/>
                  </a:moveTo>
                  <a:lnTo>
                    <a:pt x="101345" y="843051"/>
                  </a:lnTo>
                  <a:lnTo>
                    <a:pt x="224929" y="1753222"/>
                  </a:lnTo>
                  <a:lnTo>
                    <a:pt x="236385" y="1729193"/>
                  </a:lnTo>
                  <a:lnTo>
                    <a:pt x="114414" y="830834"/>
                  </a:lnTo>
                  <a:close/>
                </a:path>
                <a:path w="242570" h="1771650">
                  <a:moveTo>
                    <a:pt x="96291" y="697369"/>
                  </a:moveTo>
                  <a:lnTo>
                    <a:pt x="82994" y="707872"/>
                  </a:lnTo>
                  <a:lnTo>
                    <a:pt x="98894" y="824941"/>
                  </a:lnTo>
                  <a:lnTo>
                    <a:pt x="111963" y="812723"/>
                  </a:lnTo>
                  <a:lnTo>
                    <a:pt x="96291" y="697369"/>
                  </a:lnTo>
                  <a:close/>
                </a:path>
                <a:path w="242570" h="1771650">
                  <a:moveTo>
                    <a:pt x="1612" y="0"/>
                  </a:moveTo>
                  <a:lnTo>
                    <a:pt x="0" y="177"/>
                  </a:lnTo>
                  <a:lnTo>
                    <a:pt x="30746" y="323037"/>
                  </a:lnTo>
                  <a:lnTo>
                    <a:pt x="80352" y="688416"/>
                  </a:lnTo>
                  <a:lnTo>
                    <a:pt x="93649" y="677900"/>
                  </a:lnTo>
                  <a:lnTo>
                    <a:pt x="1612" y="0"/>
                  </a:lnTo>
                  <a:close/>
                </a:path>
              </a:pathLst>
            </a:custGeom>
            <a:solidFill>
              <a:srgbClr val="EF3D60">
                <a:alpha val="50999"/>
              </a:srgbClr>
            </a:solidFill>
          </p:spPr>
          <p:txBody>
            <a:bodyPr wrap="square" lIns="0" tIns="0" rIns="0" bIns="0" rtlCol="0"/>
            <a:lstStyle/>
            <a:p>
              <a:endParaRPr sz="2968"/>
            </a:p>
          </p:txBody>
        </p:sp>
        <p:sp>
          <p:nvSpPr>
            <p:cNvPr id="96" name="object 94">
              <a:extLst>
                <a:ext uri="{FF2B5EF4-FFF2-40B4-BE49-F238E27FC236}">
                  <a16:creationId xmlns:a16="http://schemas.microsoft.com/office/drawing/2014/main" id="{B8382C22-C6E6-E34E-8385-FB06FF9B029A}"/>
                </a:ext>
              </a:extLst>
            </p:cNvPr>
            <p:cNvSpPr/>
            <p:nvPr/>
          </p:nvSpPr>
          <p:spPr>
            <a:xfrm>
              <a:off x="9612328" y="5199269"/>
              <a:ext cx="190500" cy="1841500"/>
            </a:xfrm>
            <a:custGeom>
              <a:avLst/>
              <a:gdLst/>
              <a:ahLst/>
              <a:cxnLst/>
              <a:rect l="l" t="t" r="r" b="b"/>
              <a:pathLst>
                <a:path w="190500" h="1841500">
                  <a:moveTo>
                    <a:pt x="96786" y="860983"/>
                  </a:moveTo>
                  <a:lnTo>
                    <a:pt x="83057" y="873823"/>
                  </a:lnTo>
                  <a:lnTo>
                    <a:pt x="175196" y="1841220"/>
                  </a:lnTo>
                  <a:lnTo>
                    <a:pt x="178854" y="1840230"/>
                  </a:lnTo>
                  <a:lnTo>
                    <a:pt x="182702" y="1839696"/>
                  </a:lnTo>
                  <a:lnTo>
                    <a:pt x="189992" y="1839696"/>
                  </a:lnTo>
                  <a:lnTo>
                    <a:pt x="96786" y="860983"/>
                  </a:lnTo>
                  <a:close/>
                </a:path>
                <a:path w="190500" h="1841500">
                  <a:moveTo>
                    <a:pt x="189992" y="1839696"/>
                  </a:moveTo>
                  <a:lnTo>
                    <a:pt x="187782" y="1839696"/>
                  </a:lnTo>
                  <a:lnTo>
                    <a:pt x="188899" y="1839747"/>
                  </a:lnTo>
                  <a:lnTo>
                    <a:pt x="190004" y="1839823"/>
                  </a:lnTo>
                  <a:close/>
                </a:path>
                <a:path w="190500" h="1841500">
                  <a:moveTo>
                    <a:pt x="83286" y="719162"/>
                  </a:moveTo>
                  <a:lnTo>
                    <a:pt x="69380" y="730135"/>
                  </a:lnTo>
                  <a:lnTo>
                    <a:pt x="81279" y="855078"/>
                  </a:lnTo>
                  <a:lnTo>
                    <a:pt x="94995" y="842238"/>
                  </a:lnTo>
                  <a:lnTo>
                    <a:pt x="83286" y="719162"/>
                  </a:lnTo>
                  <a:close/>
                </a:path>
                <a:path w="190500" h="1841500">
                  <a:moveTo>
                    <a:pt x="14808" y="0"/>
                  </a:moveTo>
                  <a:lnTo>
                    <a:pt x="12623" y="241"/>
                  </a:lnTo>
                  <a:lnTo>
                    <a:pt x="9728" y="876"/>
                  </a:lnTo>
                  <a:lnTo>
                    <a:pt x="6705" y="1219"/>
                  </a:lnTo>
                  <a:lnTo>
                    <a:pt x="3619" y="1244"/>
                  </a:lnTo>
                  <a:lnTo>
                    <a:pt x="0" y="1638"/>
                  </a:lnTo>
                  <a:lnTo>
                    <a:pt x="67475" y="710095"/>
                  </a:lnTo>
                  <a:lnTo>
                    <a:pt x="81381" y="699122"/>
                  </a:lnTo>
                  <a:lnTo>
                    <a:pt x="14808" y="0"/>
                  </a:lnTo>
                  <a:close/>
                </a:path>
              </a:pathLst>
            </a:custGeom>
            <a:solidFill>
              <a:srgbClr val="EF3D60">
                <a:alpha val="50999"/>
              </a:srgbClr>
            </a:solidFill>
          </p:spPr>
          <p:txBody>
            <a:bodyPr wrap="square" lIns="0" tIns="0" rIns="0" bIns="0" rtlCol="0"/>
            <a:lstStyle/>
            <a:p>
              <a:endParaRPr sz="2968"/>
            </a:p>
          </p:txBody>
        </p:sp>
        <p:sp>
          <p:nvSpPr>
            <p:cNvPr id="97" name="object 95">
              <a:extLst>
                <a:ext uri="{FF2B5EF4-FFF2-40B4-BE49-F238E27FC236}">
                  <a16:creationId xmlns:a16="http://schemas.microsoft.com/office/drawing/2014/main" id="{1386EDD7-8259-474E-A767-580FFFEFFCB8}"/>
                </a:ext>
              </a:extLst>
            </p:cNvPr>
            <p:cNvSpPr/>
            <p:nvPr/>
          </p:nvSpPr>
          <p:spPr>
            <a:xfrm>
              <a:off x="10781711" y="5093839"/>
              <a:ext cx="1335405" cy="1685289"/>
            </a:xfrm>
            <a:custGeom>
              <a:avLst/>
              <a:gdLst/>
              <a:ahLst/>
              <a:cxnLst/>
              <a:rect l="l" t="t" r="r" b="b"/>
              <a:pathLst>
                <a:path w="1335404" h="1685290">
                  <a:moveTo>
                    <a:pt x="581901" y="720953"/>
                  </a:moveTo>
                  <a:lnTo>
                    <a:pt x="572503" y="735241"/>
                  </a:lnTo>
                  <a:lnTo>
                    <a:pt x="1322336" y="1685035"/>
                  </a:lnTo>
                  <a:lnTo>
                    <a:pt x="1325905" y="1680933"/>
                  </a:lnTo>
                  <a:lnTo>
                    <a:pt x="1330210" y="1677517"/>
                  </a:lnTo>
                  <a:lnTo>
                    <a:pt x="1335074" y="1674977"/>
                  </a:lnTo>
                  <a:lnTo>
                    <a:pt x="581901" y="720953"/>
                  </a:lnTo>
                  <a:close/>
                </a:path>
                <a:path w="1335404" h="1685290">
                  <a:moveTo>
                    <a:pt x="12750" y="0"/>
                  </a:moveTo>
                  <a:lnTo>
                    <a:pt x="9182" y="4102"/>
                  </a:lnTo>
                  <a:lnTo>
                    <a:pt x="4864" y="7531"/>
                  </a:lnTo>
                  <a:lnTo>
                    <a:pt x="0" y="10071"/>
                  </a:lnTo>
                  <a:lnTo>
                    <a:pt x="562330" y="722363"/>
                  </a:lnTo>
                  <a:lnTo>
                    <a:pt x="571728" y="708075"/>
                  </a:lnTo>
                  <a:lnTo>
                    <a:pt x="12750" y="0"/>
                  </a:lnTo>
                  <a:close/>
                </a:path>
              </a:pathLst>
            </a:custGeom>
            <a:solidFill>
              <a:srgbClr val="EF3D60">
                <a:alpha val="50999"/>
              </a:srgbClr>
            </a:solidFill>
          </p:spPr>
          <p:txBody>
            <a:bodyPr wrap="square" lIns="0" tIns="0" rIns="0" bIns="0" rtlCol="0"/>
            <a:lstStyle/>
            <a:p>
              <a:endParaRPr sz="2968"/>
            </a:p>
          </p:txBody>
        </p:sp>
        <p:sp>
          <p:nvSpPr>
            <p:cNvPr id="98" name="object 96">
              <a:extLst>
                <a:ext uri="{FF2B5EF4-FFF2-40B4-BE49-F238E27FC236}">
                  <a16:creationId xmlns:a16="http://schemas.microsoft.com/office/drawing/2014/main" id="{5926BBF9-2A62-464B-BCF3-3B1A982A4DD8}"/>
                </a:ext>
              </a:extLst>
            </p:cNvPr>
            <p:cNvSpPr/>
            <p:nvPr/>
          </p:nvSpPr>
          <p:spPr>
            <a:xfrm>
              <a:off x="10754815" y="6671653"/>
              <a:ext cx="3810" cy="1270"/>
            </a:xfrm>
            <a:custGeom>
              <a:avLst/>
              <a:gdLst/>
              <a:ahLst/>
              <a:cxnLst/>
              <a:rect l="l" t="t" r="r" b="b"/>
              <a:pathLst>
                <a:path w="3809" h="1270">
                  <a:moveTo>
                    <a:pt x="0" y="1269"/>
                  </a:moveTo>
                  <a:lnTo>
                    <a:pt x="3738" y="1269"/>
                  </a:lnTo>
                  <a:lnTo>
                    <a:pt x="3738" y="0"/>
                  </a:lnTo>
                  <a:lnTo>
                    <a:pt x="0" y="0"/>
                  </a:lnTo>
                  <a:lnTo>
                    <a:pt x="0" y="1269"/>
                  </a:lnTo>
                  <a:close/>
                </a:path>
              </a:pathLst>
            </a:custGeom>
            <a:solidFill>
              <a:srgbClr val="EF3D60">
                <a:alpha val="50999"/>
              </a:srgbClr>
            </a:solidFill>
          </p:spPr>
          <p:txBody>
            <a:bodyPr wrap="square" lIns="0" tIns="0" rIns="0" bIns="0" rtlCol="0"/>
            <a:lstStyle/>
            <a:p>
              <a:endParaRPr sz="2968"/>
            </a:p>
          </p:txBody>
        </p:sp>
        <p:sp>
          <p:nvSpPr>
            <p:cNvPr id="99" name="object 97">
              <a:extLst>
                <a:ext uri="{FF2B5EF4-FFF2-40B4-BE49-F238E27FC236}">
                  <a16:creationId xmlns:a16="http://schemas.microsoft.com/office/drawing/2014/main" id="{ACFBF38F-657A-BC41-9740-DEFD6DAA9766}"/>
                </a:ext>
              </a:extLst>
            </p:cNvPr>
            <p:cNvSpPr/>
            <p:nvPr/>
          </p:nvSpPr>
          <p:spPr>
            <a:xfrm>
              <a:off x="10761604" y="5108282"/>
              <a:ext cx="0" cy="1563370"/>
            </a:xfrm>
            <a:custGeom>
              <a:avLst/>
              <a:gdLst/>
              <a:ahLst/>
              <a:cxnLst/>
              <a:rect l="l" t="t" r="r" b="b"/>
              <a:pathLst>
                <a:path h="1563370">
                  <a:moveTo>
                    <a:pt x="0" y="0"/>
                  </a:moveTo>
                  <a:lnTo>
                    <a:pt x="0" y="1563369"/>
                  </a:lnTo>
                </a:path>
              </a:pathLst>
            </a:custGeom>
            <a:ln w="13576">
              <a:solidFill>
                <a:srgbClr val="EF3D60"/>
              </a:solidFill>
            </a:ln>
          </p:spPr>
          <p:txBody>
            <a:bodyPr wrap="square" lIns="0" tIns="0" rIns="0" bIns="0" rtlCol="0"/>
            <a:lstStyle/>
            <a:p>
              <a:endParaRPr sz="2968"/>
            </a:p>
          </p:txBody>
        </p:sp>
        <p:sp>
          <p:nvSpPr>
            <p:cNvPr id="100" name="object 98">
              <a:extLst>
                <a:ext uri="{FF2B5EF4-FFF2-40B4-BE49-F238E27FC236}">
                  <a16:creationId xmlns:a16="http://schemas.microsoft.com/office/drawing/2014/main" id="{2915DFBB-B576-9B40-AF4F-5E3CE55DAE26}"/>
                </a:ext>
              </a:extLst>
            </p:cNvPr>
            <p:cNvSpPr/>
            <p:nvPr/>
          </p:nvSpPr>
          <p:spPr>
            <a:xfrm>
              <a:off x="10763934" y="6672224"/>
              <a:ext cx="5080" cy="635"/>
            </a:xfrm>
            <a:custGeom>
              <a:avLst/>
              <a:gdLst/>
              <a:ahLst/>
              <a:cxnLst/>
              <a:rect l="l" t="t" r="r" b="b"/>
              <a:pathLst>
                <a:path w="5079" h="634">
                  <a:moveTo>
                    <a:pt x="4457" y="0"/>
                  </a:moveTo>
                  <a:lnTo>
                    <a:pt x="0" y="0"/>
                  </a:lnTo>
                  <a:lnTo>
                    <a:pt x="2341" y="190"/>
                  </a:lnTo>
                  <a:lnTo>
                    <a:pt x="4457" y="520"/>
                  </a:lnTo>
                  <a:lnTo>
                    <a:pt x="4457" y="0"/>
                  </a:lnTo>
                  <a:close/>
                </a:path>
              </a:pathLst>
            </a:custGeom>
            <a:solidFill>
              <a:srgbClr val="EF3D60">
                <a:alpha val="50999"/>
              </a:srgbClr>
            </a:solidFill>
          </p:spPr>
          <p:txBody>
            <a:bodyPr wrap="square" lIns="0" tIns="0" rIns="0" bIns="0" rtlCol="0"/>
            <a:lstStyle/>
            <a:p>
              <a:endParaRPr sz="2968"/>
            </a:p>
          </p:txBody>
        </p:sp>
        <p:sp>
          <p:nvSpPr>
            <p:cNvPr id="101" name="object 99">
              <a:extLst>
                <a:ext uri="{FF2B5EF4-FFF2-40B4-BE49-F238E27FC236}">
                  <a16:creationId xmlns:a16="http://schemas.microsoft.com/office/drawing/2014/main" id="{3C11B6C5-1FDF-CB4A-871C-30EE6B3048ED}"/>
                </a:ext>
              </a:extLst>
            </p:cNvPr>
            <p:cNvSpPr/>
            <p:nvPr/>
          </p:nvSpPr>
          <p:spPr>
            <a:xfrm>
              <a:off x="10763934" y="5108295"/>
              <a:ext cx="5080" cy="635"/>
            </a:xfrm>
            <a:custGeom>
              <a:avLst/>
              <a:gdLst/>
              <a:ahLst/>
              <a:cxnLst/>
              <a:rect l="l" t="t" r="r" b="b"/>
              <a:pathLst>
                <a:path w="5079" h="635">
                  <a:moveTo>
                    <a:pt x="4457" y="0"/>
                  </a:moveTo>
                  <a:lnTo>
                    <a:pt x="2260" y="342"/>
                  </a:lnTo>
                  <a:lnTo>
                    <a:pt x="0" y="520"/>
                  </a:lnTo>
                  <a:lnTo>
                    <a:pt x="4457" y="520"/>
                  </a:lnTo>
                  <a:lnTo>
                    <a:pt x="4457" y="0"/>
                  </a:lnTo>
                  <a:close/>
                </a:path>
              </a:pathLst>
            </a:custGeom>
            <a:solidFill>
              <a:srgbClr val="EF3D60">
                <a:alpha val="50999"/>
              </a:srgbClr>
            </a:solidFill>
          </p:spPr>
          <p:txBody>
            <a:bodyPr wrap="square" lIns="0" tIns="0" rIns="0" bIns="0" rtlCol="0"/>
            <a:lstStyle/>
            <a:p>
              <a:endParaRPr sz="2968"/>
            </a:p>
          </p:txBody>
        </p:sp>
        <p:sp>
          <p:nvSpPr>
            <p:cNvPr id="102" name="object 100">
              <a:extLst>
                <a:ext uri="{FF2B5EF4-FFF2-40B4-BE49-F238E27FC236}">
                  <a16:creationId xmlns:a16="http://schemas.microsoft.com/office/drawing/2014/main" id="{0490D1A9-E12F-D34D-92B9-B315CE0DA72E}"/>
                </a:ext>
              </a:extLst>
            </p:cNvPr>
            <p:cNvSpPr/>
            <p:nvPr/>
          </p:nvSpPr>
          <p:spPr>
            <a:xfrm>
              <a:off x="9366787" y="5098418"/>
              <a:ext cx="1369060" cy="1273175"/>
            </a:xfrm>
            <a:custGeom>
              <a:avLst/>
              <a:gdLst/>
              <a:ahLst/>
              <a:cxnLst/>
              <a:rect l="l" t="t" r="r" b="b"/>
              <a:pathLst>
                <a:path w="1369059" h="1273175">
                  <a:moveTo>
                    <a:pt x="1366659" y="0"/>
                  </a:moveTo>
                  <a:lnTo>
                    <a:pt x="1250594" y="91706"/>
                  </a:lnTo>
                  <a:lnTo>
                    <a:pt x="0" y="1261681"/>
                  </a:lnTo>
                  <a:lnTo>
                    <a:pt x="3987" y="1264704"/>
                  </a:lnTo>
                  <a:lnTo>
                    <a:pt x="7429" y="1268387"/>
                  </a:lnTo>
                  <a:lnTo>
                    <a:pt x="10172" y="1272578"/>
                  </a:lnTo>
                  <a:lnTo>
                    <a:pt x="1368691" y="1638"/>
                  </a:lnTo>
                  <a:lnTo>
                    <a:pt x="1367993" y="1104"/>
                  </a:lnTo>
                  <a:lnTo>
                    <a:pt x="1366659" y="0"/>
                  </a:lnTo>
                  <a:close/>
                </a:path>
              </a:pathLst>
            </a:custGeom>
            <a:solidFill>
              <a:srgbClr val="EF3D60">
                <a:alpha val="50999"/>
              </a:srgbClr>
            </a:solidFill>
          </p:spPr>
          <p:txBody>
            <a:bodyPr wrap="square" lIns="0" tIns="0" rIns="0" bIns="0" rtlCol="0"/>
            <a:lstStyle/>
            <a:p>
              <a:endParaRPr sz="2968"/>
            </a:p>
          </p:txBody>
        </p:sp>
        <p:sp>
          <p:nvSpPr>
            <p:cNvPr id="103" name="object 101">
              <a:extLst>
                <a:ext uri="{FF2B5EF4-FFF2-40B4-BE49-F238E27FC236}">
                  <a16:creationId xmlns:a16="http://schemas.microsoft.com/office/drawing/2014/main" id="{7F4C7C21-845D-4645-9F41-286AE95F5C71}"/>
                </a:ext>
              </a:extLst>
            </p:cNvPr>
            <p:cNvSpPr/>
            <p:nvPr/>
          </p:nvSpPr>
          <p:spPr>
            <a:xfrm>
              <a:off x="10799229" y="3435048"/>
              <a:ext cx="1952625" cy="1610995"/>
            </a:xfrm>
            <a:custGeom>
              <a:avLst/>
              <a:gdLst/>
              <a:ahLst/>
              <a:cxnLst/>
              <a:rect l="l" t="t" r="r" b="b"/>
              <a:pathLst>
                <a:path w="1952625" h="1610995">
                  <a:moveTo>
                    <a:pt x="66789" y="1556664"/>
                  </a:moveTo>
                  <a:lnTo>
                    <a:pt x="0" y="1608607"/>
                  </a:lnTo>
                  <a:lnTo>
                    <a:pt x="698" y="1609839"/>
                  </a:lnTo>
                  <a:lnTo>
                    <a:pt x="1016" y="1610474"/>
                  </a:lnTo>
                  <a:lnTo>
                    <a:pt x="66789" y="1556664"/>
                  </a:lnTo>
                  <a:close/>
                </a:path>
                <a:path w="1952625" h="1610995">
                  <a:moveTo>
                    <a:pt x="260451" y="1374825"/>
                  </a:moveTo>
                  <a:lnTo>
                    <a:pt x="39903" y="1555280"/>
                  </a:lnTo>
                  <a:lnTo>
                    <a:pt x="20231" y="1577848"/>
                  </a:lnTo>
                  <a:lnTo>
                    <a:pt x="276987" y="1378140"/>
                  </a:lnTo>
                  <a:lnTo>
                    <a:pt x="260451" y="1374825"/>
                  </a:lnTo>
                  <a:close/>
                </a:path>
                <a:path w="1952625" h="1610995">
                  <a:moveTo>
                    <a:pt x="630999" y="1071651"/>
                  </a:moveTo>
                  <a:lnTo>
                    <a:pt x="271691" y="1365631"/>
                  </a:lnTo>
                  <a:lnTo>
                    <a:pt x="288696" y="1369034"/>
                  </a:lnTo>
                  <a:lnTo>
                    <a:pt x="438772" y="1252308"/>
                  </a:lnTo>
                  <a:lnTo>
                    <a:pt x="643851" y="1084503"/>
                  </a:lnTo>
                  <a:lnTo>
                    <a:pt x="630999" y="1071651"/>
                  </a:lnTo>
                  <a:close/>
                </a:path>
                <a:path w="1952625" h="1610995">
                  <a:moveTo>
                    <a:pt x="755751" y="969568"/>
                  </a:moveTo>
                  <a:lnTo>
                    <a:pt x="642366" y="1062342"/>
                  </a:lnTo>
                  <a:lnTo>
                    <a:pt x="655218" y="1075194"/>
                  </a:lnTo>
                  <a:lnTo>
                    <a:pt x="765187" y="985227"/>
                  </a:lnTo>
                  <a:lnTo>
                    <a:pt x="755751" y="969568"/>
                  </a:lnTo>
                  <a:close/>
                </a:path>
                <a:path w="1952625" h="1610995">
                  <a:moveTo>
                    <a:pt x="957237" y="804710"/>
                  </a:moveTo>
                  <a:lnTo>
                    <a:pt x="768959" y="958761"/>
                  </a:lnTo>
                  <a:lnTo>
                    <a:pt x="778383" y="974420"/>
                  </a:lnTo>
                  <a:lnTo>
                    <a:pt x="950696" y="833437"/>
                  </a:lnTo>
                  <a:lnTo>
                    <a:pt x="950480" y="831710"/>
                  </a:lnTo>
                  <a:lnTo>
                    <a:pt x="950379" y="819518"/>
                  </a:lnTo>
                  <a:lnTo>
                    <a:pt x="952893" y="811479"/>
                  </a:lnTo>
                  <a:lnTo>
                    <a:pt x="957237" y="804710"/>
                  </a:lnTo>
                  <a:close/>
                </a:path>
                <a:path w="1952625" h="1610995">
                  <a:moveTo>
                    <a:pt x="989444" y="778357"/>
                  </a:moveTo>
                  <a:lnTo>
                    <a:pt x="978065" y="787679"/>
                  </a:lnTo>
                  <a:lnTo>
                    <a:pt x="981938" y="786168"/>
                  </a:lnTo>
                  <a:lnTo>
                    <a:pt x="986066" y="785202"/>
                  </a:lnTo>
                  <a:lnTo>
                    <a:pt x="990384" y="784872"/>
                  </a:lnTo>
                  <a:lnTo>
                    <a:pt x="989444" y="778357"/>
                  </a:lnTo>
                  <a:close/>
                </a:path>
                <a:path w="1952625" h="1610995">
                  <a:moveTo>
                    <a:pt x="1051369" y="727697"/>
                  </a:moveTo>
                  <a:lnTo>
                    <a:pt x="1006335" y="764552"/>
                  </a:lnTo>
                  <a:lnTo>
                    <a:pt x="1009345" y="785456"/>
                  </a:lnTo>
                  <a:lnTo>
                    <a:pt x="1052753" y="749935"/>
                  </a:lnTo>
                  <a:lnTo>
                    <a:pt x="1051369" y="727697"/>
                  </a:lnTo>
                  <a:close/>
                </a:path>
                <a:path w="1952625" h="1610995">
                  <a:moveTo>
                    <a:pt x="1298092" y="525830"/>
                  </a:moveTo>
                  <a:lnTo>
                    <a:pt x="1063421" y="717842"/>
                  </a:lnTo>
                  <a:lnTo>
                    <a:pt x="1064806" y="740067"/>
                  </a:lnTo>
                  <a:lnTo>
                    <a:pt x="1292618" y="553669"/>
                  </a:lnTo>
                  <a:lnTo>
                    <a:pt x="1298092" y="525830"/>
                  </a:lnTo>
                  <a:close/>
                </a:path>
                <a:path w="1952625" h="1610995">
                  <a:moveTo>
                    <a:pt x="1446326" y="404545"/>
                  </a:moveTo>
                  <a:lnTo>
                    <a:pt x="1320152" y="507784"/>
                  </a:lnTo>
                  <a:lnTo>
                    <a:pt x="1314678" y="535622"/>
                  </a:lnTo>
                  <a:lnTo>
                    <a:pt x="1436839" y="435673"/>
                  </a:lnTo>
                  <a:lnTo>
                    <a:pt x="1446326" y="404545"/>
                  </a:lnTo>
                  <a:close/>
                </a:path>
                <a:path w="1952625" h="1610995">
                  <a:moveTo>
                    <a:pt x="1940750" y="0"/>
                  </a:moveTo>
                  <a:lnTo>
                    <a:pt x="1467243" y="387438"/>
                  </a:lnTo>
                  <a:lnTo>
                    <a:pt x="1457756" y="418566"/>
                  </a:lnTo>
                  <a:lnTo>
                    <a:pt x="1952193" y="13995"/>
                  </a:lnTo>
                  <a:lnTo>
                    <a:pt x="1947481" y="10198"/>
                  </a:lnTo>
                  <a:lnTo>
                    <a:pt x="1943557" y="5435"/>
                  </a:lnTo>
                  <a:lnTo>
                    <a:pt x="1940750" y="0"/>
                  </a:lnTo>
                  <a:close/>
                </a:path>
              </a:pathLst>
            </a:custGeom>
            <a:solidFill>
              <a:srgbClr val="EF3D60">
                <a:alpha val="50999"/>
              </a:srgbClr>
            </a:solidFill>
          </p:spPr>
          <p:txBody>
            <a:bodyPr wrap="square" lIns="0" tIns="0" rIns="0" bIns="0" rtlCol="0"/>
            <a:lstStyle/>
            <a:p>
              <a:endParaRPr sz="2968"/>
            </a:p>
          </p:txBody>
        </p:sp>
        <p:sp>
          <p:nvSpPr>
            <p:cNvPr id="104" name="object 102">
              <a:extLst>
                <a:ext uri="{FF2B5EF4-FFF2-40B4-BE49-F238E27FC236}">
                  <a16:creationId xmlns:a16="http://schemas.microsoft.com/office/drawing/2014/main" id="{FF5EC812-3856-5242-BC68-AF731949123E}"/>
                </a:ext>
              </a:extLst>
            </p:cNvPr>
            <p:cNvSpPr/>
            <p:nvPr/>
          </p:nvSpPr>
          <p:spPr>
            <a:xfrm>
              <a:off x="10779572" y="3538207"/>
              <a:ext cx="1018540" cy="1489710"/>
            </a:xfrm>
            <a:custGeom>
              <a:avLst/>
              <a:gdLst/>
              <a:ahLst/>
              <a:cxnLst/>
              <a:rect l="l" t="t" r="r" b="b"/>
              <a:pathLst>
                <a:path w="1018540" h="1489710">
                  <a:moveTo>
                    <a:pt x="162051" y="1248054"/>
                  </a:moveTo>
                  <a:lnTo>
                    <a:pt x="0" y="1487639"/>
                  </a:lnTo>
                  <a:lnTo>
                    <a:pt x="1054" y="1488122"/>
                  </a:lnTo>
                  <a:lnTo>
                    <a:pt x="2095" y="1488643"/>
                  </a:lnTo>
                  <a:lnTo>
                    <a:pt x="3098" y="1489202"/>
                  </a:lnTo>
                  <a:lnTo>
                    <a:pt x="63106" y="1420418"/>
                  </a:lnTo>
                  <a:lnTo>
                    <a:pt x="177596" y="1251165"/>
                  </a:lnTo>
                  <a:lnTo>
                    <a:pt x="162051" y="1248054"/>
                  </a:lnTo>
                  <a:close/>
                </a:path>
                <a:path w="1018540" h="1489710">
                  <a:moveTo>
                    <a:pt x="472008" y="789851"/>
                  </a:moveTo>
                  <a:lnTo>
                    <a:pt x="168871" y="1237970"/>
                  </a:lnTo>
                  <a:lnTo>
                    <a:pt x="184416" y="1241082"/>
                  </a:lnTo>
                  <a:lnTo>
                    <a:pt x="482523" y="800379"/>
                  </a:lnTo>
                  <a:lnTo>
                    <a:pt x="472008" y="789851"/>
                  </a:lnTo>
                  <a:close/>
                </a:path>
                <a:path w="1018540" h="1489710">
                  <a:moveTo>
                    <a:pt x="608114" y="588619"/>
                  </a:moveTo>
                  <a:lnTo>
                    <a:pt x="480352" y="777506"/>
                  </a:lnTo>
                  <a:lnTo>
                    <a:pt x="490867" y="788035"/>
                  </a:lnTo>
                  <a:lnTo>
                    <a:pt x="616432" y="602424"/>
                  </a:lnTo>
                  <a:lnTo>
                    <a:pt x="608114" y="588619"/>
                  </a:lnTo>
                  <a:close/>
                </a:path>
                <a:path w="1018540" h="1489710">
                  <a:moveTo>
                    <a:pt x="928408" y="115125"/>
                  </a:moveTo>
                  <a:lnTo>
                    <a:pt x="618553" y="573214"/>
                  </a:lnTo>
                  <a:lnTo>
                    <a:pt x="626859" y="587006"/>
                  </a:lnTo>
                  <a:lnTo>
                    <a:pt x="931506" y="136626"/>
                  </a:lnTo>
                  <a:lnTo>
                    <a:pt x="928408" y="115125"/>
                  </a:lnTo>
                  <a:close/>
                </a:path>
                <a:path w="1018540" h="1489710">
                  <a:moveTo>
                    <a:pt x="1006284" y="0"/>
                  </a:moveTo>
                  <a:lnTo>
                    <a:pt x="943978" y="92113"/>
                  </a:lnTo>
                  <a:lnTo>
                    <a:pt x="947077" y="113626"/>
                  </a:lnTo>
                  <a:lnTo>
                    <a:pt x="1018374" y="8204"/>
                  </a:lnTo>
                  <a:lnTo>
                    <a:pt x="1013891" y="6159"/>
                  </a:lnTo>
                  <a:lnTo>
                    <a:pt x="1009802" y="3378"/>
                  </a:lnTo>
                  <a:lnTo>
                    <a:pt x="1006284" y="0"/>
                  </a:lnTo>
                  <a:close/>
                </a:path>
              </a:pathLst>
            </a:custGeom>
            <a:solidFill>
              <a:srgbClr val="EF3D60">
                <a:alpha val="50999"/>
              </a:srgbClr>
            </a:solidFill>
          </p:spPr>
          <p:txBody>
            <a:bodyPr wrap="square" lIns="0" tIns="0" rIns="0" bIns="0" rtlCol="0"/>
            <a:lstStyle/>
            <a:p>
              <a:endParaRPr sz="2968"/>
            </a:p>
          </p:txBody>
        </p:sp>
        <p:sp>
          <p:nvSpPr>
            <p:cNvPr id="105" name="object 103">
              <a:extLst>
                <a:ext uri="{FF2B5EF4-FFF2-40B4-BE49-F238E27FC236}">
                  <a16:creationId xmlns:a16="http://schemas.microsoft.com/office/drawing/2014/main" id="{3F18CB44-5673-EC49-B933-5D328C4B25E4}"/>
                </a:ext>
              </a:extLst>
            </p:cNvPr>
            <p:cNvSpPr/>
            <p:nvPr/>
          </p:nvSpPr>
          <p:spPr>
            <a:xfrm>
              <a:off x="10577563" y="3686209"/>
              <a:ext cx="175260" cy="1337945"/>
            </a:xfrm>
            <a:custGeom>
              <a:avLst/>
              <a:gdLst/>
              <a:ahLst/>
              <a:cxnLst/>
              <a:rect l="l" t="t" r="r" b="b"/>
              <a:pathLst>
                <a:path w="175259" h="1337945">
                  <a:moveTo>
                    <a:pt x="12395" y="0"/>
                  </a:moveTo>
                  <a:lnTo>
                    <a:pt x="8661" y="1041"/>
                  </a:lnTo>
                  <a:lnTo>
                    <a:pt x="4724" y="1600"/>
                  </a:lnTo>
                  <a:lnTo>
                    <a:pt x="1" y="1600"/>
                  </a:lnTo>
                  <a:lnTo>
                    <a:pt x="172364" y="1337373"/>
                  </a:lnTo>
                  <a:lnTo>
                    <a:pt x="173177" y="1337144"/>
                  </a:lnTo>
                  <a:lnTo>
                    <a:pt x="174002" y="1336941"/>
                  </a:lnTo>
                  <a:lnTo>
                    <a:pt x="174840" y="1336763"/>
                  </a:lnTo>
                  <a:lnTo>
                    <a:pt x="171437" y="1232636"/>
                  </a:lnTo>
                  <a:lnTo>
                    <a:pt x="152844" y="1088491"/>
                  </a:lnTo>
                  <a:lnTo>
                    <a:pt x="147758" y="1082137"/>
                  </a:lnTo>
                  <a:lnTo>
                    <a:pt x="143925" y="1074883"/>
                  </a:lnTo>
                  <a:lnTo>
                    <a:pt x="141507" y="1066896"/>
                  </a:lnTo>
                  <a:lnTo>
                    <a:pt x="140665" y="1058341"/>
                  </a:lnTo>
                  <a:lnTo>
                    <a:pt x="140665" y="1050620"/>
                  </a:lnTo>
                  <a:lnTo>
                    <a:pt x="142684" y="1043368"/>
                  </a:lnTo>
                  <a:lnTo>
                    <a:pt x="146215" y="1037094"/>
                  </a:lnTo>
                  <a:lnTo>
                    <a:pt x="12601" y="1600"/>
                  </a:lnTo>
                  <a:lnTo>
                    <a:pt x="0" y="1587"/>
                  </a:lnTo>
                  <a:lnTo>
                    <a:pt x="12600" y="1587"/>
                  </a:lnTo>
                  <a:lnTo>
                    <a:pt x="12395" y="0"/>
                  </a:lnTo>
                  <a:close/>
                </a:path>
              </a:pathLst>
            </a:custGeom>
            <a:solidFill>
              <a:srgbClr val="EF3D60">
                <a:alpha val="50999"/>
              </a:srgbClr>
            </a:solidFill>
          </p:spPr>
          <p:txBody>
            <a:bodyPr wrap="square" lIns="0" tIns="0" rIns="0" bIns="0" rtlCol="0"/>
            <a:lstStyle/>
            <a:p>
              <a:endParaRPr sz="2968"/>
            </a:p>
          </p:txBody>
        </p:sp>
        <p:sp>
          <p:nvSpPr>
            <p:cNvPr id="106" name="object 104">
              <a:extLst>
                <a:ext uri="{FF2B5EF4-FFF2-40B4-BE49-F238E27FC236}">
                  <a16:creationId xmlns:a16="http://schemas.microsoft.com/office/drawing/2014/main" id="{9DC8C0B8-D8A8-AD46-A6DC-DB353352D7CD}"/>
                </a:ext>
              </a:extLst>
            </p:cNvPr>
            <p:cNvSpPr/>
            <p:nvPr/>
          </p:nvSpPr>
          <p:spPr>
            <a:xfrm>
              <a:off x="9367445" y="3805106"/>
              <a:ext cx="1367790" cy="1231900"/>
            </a:xfrm>
            <a:custGeom>
              <a:avLst/>
              <a:gdLst/>
              <a:ahLst/>
              <a:cxnLst/>
              <a:rect l="l" t="t" r="r" b="b"/>
              <a:pathLst>
                <a:path w="1367790" h="1231900">
                  <a:moveTo>
                    <a:pt x="9880" y="0"/>
                  </a:moveTo>
                  <a:lnTo>
                    <a:pt x="7226" y="4191"/>
                  </a:lnTo>
                  <a:lnTo>
                    <a:pt x="3886" y="7899"/>
                  </a:lnTo>
                  <a:lnTo>
                    <a:pt x="0" y="10960"/>
                  </a:lnTo>
                  <a:lnTo>
                    <a:pt x="1327124" y="1209700"/>
                  </a:lnTo>
                  <a:lnTo>
                    <a:pt x="1361871" y="1231303"/>
                  </a:lnTo>
                  <a:lnTo>
                    <a:pt x="1363560" y="1229436"/>
                  </a:lnTo>
                  <a:lnTo>
                    <a:pt x="1365389" y="1227721"/>
                  </a:lnTo>
                  <a:lnTo>
                    <a:pt x="1367370" y="1226159"/>
                  </a:lnTo>
                  <a:lnTo>
                    <a:pt x="9880" y="0"/>
                  </a:lnTo>
                  <a:close/>
                </a:path>
              </a:pathLst>
            </a:custGeom>
            <a:solidFill>
              <a:srgbClr val="EF3D60">
                <a:alpha val="50999"/>
              </a:srgbClr>
            </a:solidFill>
          </p:spPr>
          <p:txBody>
            <a:bodyPr wrap="square" lIns="0" tIns="0" rIns="0" bIns="0" rtlCol="0"/>
            <a:lstStyle/>
            <a:p>
              <a:endParaRPr sz="2968"/>
            </a:p>
          </p:txBody>
        </p:sp>
        <p:sp>
          <p:nvSpPr>
            <p:cNvPr id="107" name="object 105">
              <a:extLst>
                <a:ext uri="{FF2B5EF4-FFF2-40B4-BE49-F238E27FC236}">
                  <a16:creationId xmlns:a16="http://schemas.microsoft.com/office/drawing/2014/main" id="{D0B1B141-B76F-4D42-A067-6ADAB9E79EEB}"/>
                </a:ext>
              </a:extLst>
            </p:cNvPr>
            <p:cNvSpPr/>
            <p:nvPr/>
          </p:nvSpPr>
          <p:spPr>
            <a:xfrm>
              <a:off x="9097867" y="4027246"/>
              <a:ext cx="1631950" cy="1022350"/>
            </a:xfrm>
            <a:custGeom>
              <a:avLst/>
              <a:gdLst/>
              <a:ahLst/>
              <a:cxnLst/>
              <a:rect l="l" t="t" r="r" b="b"/>
              <a:pathLst>
                <a:path w="1631950" h="1022350">
                  <a:moveTo>
                    <a:pt x="8026" y="0"/>
                  </a:moveTo>
                  <a:lnTo>
                    <a:pt x="6108" y="4762"/>
                  </a:lnTo>
                  <a:lnTo>
                    <a:pt x="3378" y="9105"/>
                  </a:lnTo>
                  <a:lnTo>
                    <a:pt x="0" y="12865"/>
                  </a:lnTo>
                  <a:lnTo>
                    <a:pt x="927" y="13423"/>
                  </a:lnTo>
                  <a:lnTo>
                    <a:pt x="1623453" y="1022032"/>
                  </a:lnTo>
                  <a:lnTo>
                    <a:pt x="1625358" y="1017269"/>
                  </a:lnTo>
                  <a:lnTo>
                    <a:pt x="1628076" y="1012926"/>
                  </a:lnTo>
                  <a:lnTo>
                    <a:pt x="1631454" y="1009167"/>
                  </a:lnTo>
                  <a:lnTo>
                    <a:pt x="8026" y="0"/>
                  </a:lnTo>
                  <a:close/>
                </a:path>
              </a:pathLst>
            </a:custGeom>
            <a:solidFill>
              <a:srgbClr val="EF3D60">
                <a:alpha val="50999"/>
              </a:srgbClr>
            </a:solidFill>
          </p:spPr>
          <p:txBody>
            <a:bodyPr wrap="square" lIns="0" tIns="0" rIns="0" bIns="0" rtlCol="0"/>
            <a:lstStyle/>
            <a:p>
              <a:endParaRPr sz="2968"/>
            </a:p>
          </p:txBody>
        </p:sp>
        <p:sp>
          <p:nvSpPr>
            <p:cNvPr id="108" name="object 106">
              <a:extLst>
                <a:ext uri="{FF2B5EF4-FFF2-40B4-BE49-F238E27FC236}">
                  <a16:creationId xmlns:a16="http://schemas.microsoft.com/office/drawing/2014/main" id="{9D309EF7-ECDB-8942-92F6-0F1DA8E86EDC}"/>
                </a:ext>
              </a:extLst>
            </p:cNvPr>
            <p:cNvSpPr/>
            <p:nvPr/>
          </p:nvSpPr>
          <p:spPr>
            <a:xfrm>
              <a:off x="8933271" y="5085160"/>
              <a:ext cx="1800225" cy="1427480"/>
            </a:xfrm>
            <a:custGeom>
              <a:avLst/>
              <a:gdLst/>
              <a:ahLst/>
              <a:cxnLst/>
              <a:rect l="l" t="t" r="r" b="b"/>
              <a:pathLst>
                <a:path w="1800225" h="1427479">
                  <a:moveTo>
                    <a:pt x="1789696" y="0"/>
                  </a:moveTo>
                  <a:lnTo>
                    <a:pt x="0" y="1414043"/>
                  </a:lnTo>
                  <a:lnTo>
                    <a:pt x="4305" y="1417726"/>
                  </a:lnTo>
                  <a:lnTo>
                    <a:pt x="7886" y="1422222"/>
                  </a:lnTo>
                  <a:lnTo>
                    <a:pt x="10490" y="1427314"/>
                  </a:lnTo>
                  <a:lnTo>
                    <a:pt x="1800174" y="13258"/>
                  </a:lnTo>
                  <a:lnTo>
                    <a:pt x="1795881" y="9588"/>
                  </a:lnTo>
                  <a:lnTo>
                    <a:pt x="1792300" y="5079"/>
                  </a:lnTo>
                  <a:lnTo>
                    <a:pt x="1789696" y="0"/>
                  </a:lnTo>
                  <a:close/>
                </a:path>
              </a:pathLst>
            </a:custGeom>
            <a:solidFill>
              <a:srgbClr val="EF3D60">
                <a:alpha val="50999"/>
              </a:srgbClr>
            </a:solidFill>
          </p:spPr>
          <p:txBody>
            <a:bodyPr wrap="square" lIns="0" tIns="0" rIns="0" bIns="0" rtlCol="0"/>
            <a:lstStyle/>
            <a:p>
              <a:endParaRPr sz="2968"/>
            </a:p>
          </p:txBody>
        </p:sp>
        <p:sp>
          <p:nvSpPr>
            <p:cNvPr id="109" name="object 107">
              <a:extLst>
                <a:ext uri="{FF2B5EF4-FFF2-40B4-BE49-F238E27FC236}">
                  <a16:creationId xmlns:a16="http://schemas.microsoft.com/office/drawing/2014/main" id="{C5AB199B-8BEB-CE48-BD4A-6BA4137FE7C3}"/>
                </a:ext>
              </a:extLst>
            </p:cNvPr>
            <p:cNvSpPr/>
            <p:nvPr/>
          </p:nvSpPr>
          <p:spPr>
            <a:xfrm>
              <a:off x="8121467" y="5066438"/>
              <a:ext cx="2599055" cy="234315"/>
            </a:xfrm>
            <a:custGeom>
              <a:avLst/>
              <a:gdLst/>
              <a:ahLst/>
              <a:cxnLst/>
              <a:rect l="l" t="t" r="r" b="b"/>
              <a:pathLst>
                <a:path w="2599054" h="234314">
                  <a:moveTo>
                    <a:pt x="1450759" y="91351"/>
                  </a:moveTo>
                  <a:lnTo>
                    <a:pt x="0" y="215353"/>
                  </a:lnTo>
                  <a:lnTo>
                    <a:pt x="1244" y="219405"/>
                  </a:lnTo>
                  <a:lnTo>
                    <a:pt x="1930" y="223710"/>
                  </a:lnTo>
                  <a:lnTo>
                    <a:pt x="1803" y="231940"/>
                  </a:lnTo>
                  <a:lnTo>
                    <a:pt x="1574" y="233768"/>
                  </a:lnTo>
                  <a:lnTo>
                    <a:pt x="1455064" y="109524"/>
                  </a:lnTo>
                  <a:lnTo>
                    <a:pt x="1452397" y="104025"/>
                  </a:lnTo>
                  <a:lnTo>
                    <a:pt x="1450860" y="97853"/>
                  </a:lnTo>
                  <a:lnTo>
                    <a:pt x="1450759" y="91351"/>
                  </a:lnTo>
                  <a:close/>
                </a:path>
                <a:path w="2599054" h="234314">
                  <a:moveTo>
                    <a:pt x="2120569" y="48894"/>
                  </a:moveTo>
                  <a:lnTo>
                    <a:pt x="1537309" y="95542"/>
                  </a:lnTo>
                  <a:lnTo>
                    <a:pt x="1537042" y="97967"/>
                  </a:lnTo>
                  <a:lnTo>
                    <a:pt x="1536573" y="100329"/>
                  </a:lnTo>
                  <a:lnTo>
                    <a:pt x="1535912" y="102615"/>
                  </a:lnTo>
                  <a:lnTo>
                    <a:pt x="1974202" y="65150"/>
                  </a:lnTo>
                  <a:lnTo>
                    <a:pt x="2120569" y="48894"/>
                  </a:lnTo>
                  <a:close/>
                </a:path>
                <a:path w="2599054" h="234314">
                  <a:moveTo>
                    <a:pt x="2598572" y="11404"/>
                  </a:moveTo>
                  <a:lnTo>
                    <a:pt x="2583395" y="13080"/>
                  </a:lnTo>
                  <a:lnTo>
                    <a:pt x="2598674" y="11785"/>
                  </a:lnTo>
                  <a:lnTo>
                    <a:pt x="2598572" y="11404"/>
                  </a:lnTo>
                  <a:close/>
                </a:path>
                <a:path w="2599054" h="234314">
                  <a:moveTo>
                    <a:pt x="2519565" y="0"/>
                  </a:moveTo>
                  <a:lnTo>
                    <a:pt x="2464498" y="4698"/>
                  </a:lnTo>
                  <a:lnTo>
                    <a:pt x="2521610" y="139"/>
                  </a:lnTo>
                  <a:lnTo>
                    <a:pt x="2519565" y="0"/>
                  </a:lnTo>
                  <a:close/>
                </a:path>
              </a:pathLst>
            </a:custGeom>
            <a:solidFill>
              <a:srgbClr val="EF3D60">
                <a:alpha val="50999"/>
              </a:srgbClr>
            </a:solidFill>
          </p:spPr>
          <p:txBody>
            <a:bodyPr wrap="square" lIns="0" tIns="0" rIns="0" bIns="0" rtlCol="0"/>
            <a:lstStyle/>
            <a:p>
              <a:endParaRPr sz="2968"/>
            </a:p>
          </p:txBody>
        </p:sp>
        <p:sp>
          <p:nvSpPr>
            <p:cNvPr id="110" name="object 108">
              <a:extLst>
                <a:ext uri="{FF2B5EF4-FFF2-40B4-BE49-F238E27FC236}">
                  <a16:creationId xmlns:a16="http://schemas.microsoft.com/office/drawing/2014/main" id="{DD8A8EC2-02BF-ED46-865E-ED089F505F75}"/>
                </a:ext>
              </a:extLst>
            </p:cNvPr>
            <p:cNvSpPr/>
            <p:nvPr/>
          </p:nvSpPr>
          <p:spPr>
            <a:xfrm>
              <a:off x="8121666" y="4875750"/>
              <a:ext cx="2556510" cy="191135"/>
            </a:xfrm>
            <a:custGeom>
              <a:avLst/>
              <a:gdLst/>
              <a:ahLst/>
              <a:cxnLst/>
              <a:rect l="l" t="t" r="r" b="b"/>
              <a:pathLst>
                <a:path w="2556509" h="191135">
                  <a:moveTo>
                    <a:pt x="1270" y="0"/>
                  </a:moveTo>
                  <a:lnTo>
                    <a:pt x="1562" y="2057"/>
                  </a:lnTo>
                  <a:lnTo>
                    <a:pt x="1727" y="4165"/>
                  </a:lnTo>
                  <a:lnTo>
                    <a:pt x="1727" y="10528"/>
                  </a:lnTo>
                  <a:lnTo>
                    <a:pt x="1117" y="14592"/>
                  </a:lnTo>
                  <a:lnTo>
                    <a:pt x="0" y="18440"/>
                  </a:lnTo>
                  <a:lnTo>
                    <a:pt x="2521407" y="190817"/>
                  </a:lnTo>
                  <a:lnTo>
                    <a:pt x="2555900" y="188061"/>
                  </a:lnTo>
                  <a:lnTo>
                    <a:pt x="2323719" y="158775"/>
                  </a:lnTo>
                  <a:lnTo>
                    <a:pt x="1270" y="0"/>
                  </a:lnTo>
                  <a:close/>
                </a:path>
              </a:pathLst>
            </a:custGeom>
            <a:solidFill>
              <a:srgbClr val="EF3D60">
                <a:alpha val="50999"/>
              </a:srgbClr>
            </a:solidFill>
          </p:spPr>
          <p:txBody>
            <a:bodyPr wrap="square" lIns="0" tIns="0" rIns="0" bIns="0" rtlCol="0"/>
            <a:lstStyle/>
            <a:p>
              <a:endParaRPr sz="2968"/>
            </a:p>
          </p:txBody>
        </p:sp>
        <p:sp>
          <p:nvSpPr>
            <p:cNvPr id="111" name="object 109">
              <a:extLst>
                <a:ext uri="{FF2B5EF4-FFF2-40B4-BE49-F238E27FC236}">
                  <a16:creationId xmlns:a16="http://schemas.microsoft.com/office/drawing/2014/main" id="{CA73CE31-B2C0-D340-B8DF-B1CFD29A93CA}"/>
                </a:ext>
              </a:extLst>
            </p:cNvPr>
            <p:cNvSpPr/>
            <p:nvPr/>
          </p:nvSpPr>
          <p:spPr>
            <a:xfrm>
              <a:off x="8258612" y="4740979"/>
              <a:ext cx="2462530" cy="323215"/>
            </a:xfrm>
            <a:custGeom>
              <a:avLst/>
              <a:gdLst/>
              <a:ahLst/>
              <a:cxnLst/>
              <a:rect l="l" t="t" r="r" b="b"/>
              <a:pathLst>
                <a:path w="2462529" h="323214">
                  <a:moveTo>
                    <a:pt x="2222" y="0"/>
                  </a:moveTo>
                  <a:lnTo>
                    <a:pt x="2311" y="1181"/>
                  </a:lnTo>
                  <a:lnTo>
                    <a:pt x="2374" y="8547"/>
                  </a:lnTo>
                  <a:lnTo>
                    <a:pt x="1523" y="13322"/>
                  </a:lnTo>
                  <a:lnTo>
                    <a:pt x="0" y="17767"/>
                  </a:lnTo>
                  <a:lnTo>
                    <a:pt x="2418956" y="322834"/>
                  </a:lnTo>
                  <a:lnTo>
                    <a:pt x="2459888" y="319557"/>
                  </a:lnTo>
                  <a:lnTo>
                    <a:pt x="2460243" y="316331"/>
                  </a:lnTo>
                  <a:lnTo>
                    <a:pt x="2460955" y="313207"/>
                  </a:lnTo>
                  <a:lnTo>
                    <a:pt x="2461983" y="310235"/>
                  </a:lnTo>
                  <a:lnTo>
                    <a:pt x="2222" y="0"/>
                  </a:lnTo>
                  <a:close/>
                </a:path>
              </a:pathLst>
            </a:custGeom>
            <a:solidFill>
              <a:srgbClr val="EF3D60">
                <a:alpha val="50999"/>
              </a:srgbClr>
            </a:solidFill>
          </p:spPr>
          <p:txBody>
            <a:bodyPr wrap="square" lIns="0" tIns="0" rIns="0" bIns="0" rtlCol="0"/>
            <a:lstStyle/>
            <a:p>
              <a:endParaRPr sz="2968"/>
            </a:p>
          </p:txBody>
        </p:sp>
        <p:sp>
          <p:nvSpPr>
            <p:cNvPr id="112" name="object 110">
              <a:extLst>
                <a:ext uri="{FF2B5EF4-FFF2-40B4-BE49-F238E27FC236}">
                  <a16:creationId xmlns:a16="http://schemas.microsoft.com/office/drawing/2014/main" id="{5113F6B9-4FC8-134E-935C-608BEF64B0E4}"/>
                </a:ext>
              </a:extLst>
            </p:cNvPr>
            <p:cNvSpPr/>
            <p:nvPr/>
          </p:nvSpPr>
          <p:spPr>
            <a:xfrm>
              <a:off x="10796388" y="4284915"/>
              <a:ext cx="966469" cy="758825"/>
            </a:xfrm>
            <a:custGeom>
              <a:avLst/>
              <a:gdLst/>
              <a:ahLst/>
              <a:cxnLst/>
              <a:rect l="l" t="t" r="r" b="b"/>
              <a:pathLst>
                <a:path w="966470" h="758825">
                  <a:moveTo>
                    <a:pt x="279831" y="528269"/>
                  </a:moveTo>
                  <a:lnTo>
                    <a:pt x="23063" y="727976"/>
                  </a:lnTo>
                  <a:lnTo>
                    <a:pt x="0" y="754443"/>
                  </a:lnTo>
                  <a:lnTo>
                    <a:pt x="1015" y="755815"/>
                  </a:lnTo>
                  <a:lnTo>
                    <a:pt x="1968" y="757250"/>
                  </a:lnTo>
                  <a:lnTo>
                    <a:pt x="2844" y="758736"/>
                  </a:lnTo>
                  <a:lnTo>
                    <a:pt x="295224" y="531342"/>
                  </a:lnTo>
                  <a:lnTo>
                    <a:pt x="279831" y="528269"/>
                  </a:lnTo>
                  <a:close/>
                </a:path>
                <a:path w="966470" h="758825">
                  <a:moveTo>
                    <a:pt x="651344" y="239306"/>
                  </a:moveTo>
                  <a:lnTo>
                    <a:pt x="291541" y="519163"/>
                  </a:lnTo>
                  <a:lnTo>
                    <a:pt x="306933" y="522249"/>
                  </a:lnTo>
                  <a:lnTo>
                    <a:pt x="659841" y="247789"/>
                  </a:lnTo>
                  <a:lnTo>
                    <a:pt x="651344" y="239306"/>
                  </a:lnTo>
                  <a:close/>
                </a:path>
                <a:path w="966470" h="758825">
                  <a:moveTo>
                    <a:pt x="773442" y="144348"/>
                  </a:moveTo>
                  <a:lnTo>
                    <a:pt x="662990" y="230263"/>
                  </a:lnTo>
                  <a:lnTo>
                    <a:pt x="671474" y="238734"/>
                  </a:lnTo>
                  <a:lnTo>
                    <a:pt x="779627" y="154622"/>
                  </a:lnTo>
                  <a:lnTo>
                    <a:pt x="773442" y="144348"/>
                  </a:lnTo>
                  <a:close/>
                </a:path>
                <a:path w="966470" h="758825">
                  <a:moveTo>
                    <a:pt x="959027" y="0"/>
                  </a:moveTo>
                  <a:lnTo>
                    <a:pt x="786853" y="133908"/>
                  </a:lnTo>
                  <a:lnTo>
                    <a:pt x="793051" y="144183"/>
                  </a:lnTo>
                  <a:lnTo>
                    <a:pt x="966355" y="9410"/>
                  </a:lnTo>
                  <a:lnTo>
                    <a:pt x="963498" y="6629"/>
                  </a:lnTo>
                  <a:lnTo>
                    <a:pt x="961034" y="3467"/>
                  </a:lnTo>
                  <a:lnTo>
                    <a:pt x="959027" y="0"/>
                  </a:lnTo>
                  <a:close/>
                </a:path>
              </a:pathLst>
            </a:custGeom>
            <a:solidFill>
              <a:srgbClr val="EF3D60">
                <a:alpha val="50999"/>
              </a:srgbClr>
            </a:solidFill>
          </p:spPr>
          <p:txBody>
            <a:bodyPr wrap="square" lIns="0" tIns="0" rIns="0" bIns="0" rtlCol="0"/>
            <a:lstStyle/>
            <a:p>
              <a:endParaRPr sz="2968"/>
            </a:p>
          </p:txBody>
        </p:sp>
        <p:sp>
          <p:nvSpPr>
            <p:cNvPr id="113" name="object 111">
              <a:extLst>
                <a:ext uri="{FF2B5EF4-FFF2-40B4-BE49-F238E27FC236}">
                  <a16:creationId xmlns:a16="http://schemas.microsoft.com/office/drawing/2014/main" id="{D6E2C278-0221-0C41-9B6C-FB3C70EFA89B}"/>
                </a:ext>
              </a:extLst>
            </p:cNvPr>
            <p:cNvSpPr/>
            <p:nvPr/>
          </p:nvSpPr>
          <p:spPr>
            <a:xfrm>
              <a:off x="8740481" y="5077121"/>
              <a:ext cx="1979930" cy="220979"/>
            </a:xfrm>
            <a:custGeom>
              <a:avLst/>
              <a:gdLst/>
              <a:ahLst/>
              <a:cxnLst/>
              <a:rect l="l" t="t" r="r" b="b"/>
              <a:pathLst>
                <a:path w="1979929" h="220979">
                  <a:moveTo>
                    <a:pt x="844956" y="111163"/>
                  </a:moveTo>
                  <a:lnTo>
                    <a:pt x="0" y="205041"/>
                  </a:lnTo>
                  <a:lnTo>
                    <a:pt x="1193" y="208991"/>
                  </a:lnTo>
                  <a:lnTo>
                    <a:pt x="1816" y="213156"/>
                  </a:lnTo>
                  <a:lnTo>
                    <a:pt x="1714" y="220459"/>
                  </a:lnTo>
                  <a:lnTo>
                    <a:pt x="875461" y="123393"/>
                  </a:lnTo>
                  <a:lnTo>
                    <a:pt x="875157" y="123393"/>
                  </a:lnTo>
                  <a:lnTo>
                    <a:pt x="866585" y="122546"/>
                  </a:lnTo>
                  <a:lnTo>
                    <a:pt x="858585" y="120116"/>
                  </a:lnTo>
                  <a:lnTo>
                    <a:pt x="851320" y="116267"/>
                  </a:lnTo>
                  <a:lnTo>
                    <a:pt x="844956" y="111163"/>
                  </a:lnTo>
                  <a:close/>
                </a:path>
                <a:path w="1979929" h="220979">
                  <a:moveTo>
                    <a:pt x="1979345" y="0"/>
                  </a:moveTo>
                  <a:lnTo>
                    <a:pt x="1501559" y="38214"/>
                  </a:lnTo>
                  <a:lnTo>
                    <a:pt x="911479" y="103771"/>
                  </a:lnTo>
                  <a:lnTo>
                    <a:pt x="906254" y="110272"/>
                  </a:lnTo>
                  <a:lnTo>
                    <a:pt x="899898" y="115657"/>
                  </a:lnTo>
                  <a:lnTo>
                    <a:pt x="892581" y="119754"/>
                  </a:lnTo>
                  <a:lnTo>
                    <a:pt x="884478" y="122389"/>
                  </a:lnTo>
                  <a:lnTo>
                    <a:pt x="1979549" y="723"/>
                  </a:lnTo>
                  <a:lnTo>
                    <a:pt x="1979345" y="0"/>
                  </a:lnTo>
                  <a:close/>
                </a:path>
              </a:pathLst>
            </a:custGeom>
            <a:solidFill>
              <a:srgbClr val="EF3D60">
                <a:alpha val="50999"/>
              </a:srgbClr>
            </a:solidFill>
          </p:spPr>
          <p:txBody>
            <a:bodyPr wrap="square" lIns="0" tIns="0" rIns="0" bIns="0" rtlCol="0"/>
            <a:lstStyle/>
            <a:p>
              <a:endParaRPr sz="2968"/>
            </a:p>
          </p:txBody>
        </p:sp>
        <p:sp>
          <p:nvSpPr>
            <p:cNvPr id="114" name="object 112">
              <a:extLst>
                <a:ext uri="{FF2B5EF4-FFF2-40B4-BE49-F238E27FC236}">
                  <a16:creationId xmlns:a16="http://schemas.microsoft.com/office/drawing/2014/main" id="{C912CE21-E0F8-894F-B7F5-C5A2D1D80CB9}"/>
                </a:ext>
              </a:extLst>
            </p:cNvPr>
            <p:cNvSpPr/>
            <p:nvPr/>
          </p:nvSpPr>
          <p:spPr>
            <a:xfrm>
              <a:off x="10796742" y="5075661"/>
              <a:ext cx="2061845" cy="965200"/>
            </a:xfrm>
            <a:custGeom>
              <a:avLst/>
              <a:gdLst/>
              <a:ahLst/>
              <a:cxnLst/>
              <a:rect l="l" t="t" r="r" b="b"/>
              <a:pathLst>
                <a:path w="2061845" h="965200">
                  <a:moveTo>
                    <a:pt x="1725853" y="794664"/>
                  </a:moveTo>
                  <a:lnTo>
                    <a:pt x="1744078" y="821664"/>
                  </a:lnTo>
                  <a:lnTo>
                    <a:pt x="2054263" y="965073"/>
                  </a:lnTo>
                  <a:lnTo>
                    <a:pt x="2055609" y="959472"/>
                  </a:lnTo>
                  <a:lnTo>
                    <a:pt x="2058047" y="954290"/>
                  </a:lnTo>
                  <a:lnTo>
                    <a:pt x="2061337" y="949782"/>
                  </a:lnTo>
                  <a:lnTo>
                    <a:pt x="1725853" y="794664"/>
                  </a:lnTo>
                  <a:close/>
                </a:path>
                <a:path w="2061845" h="965200">
                  <a:moveTo>
                    <a:pt x="1199807" y="551446"/>
                  </a:moveTo>
                  <a:lnTo>
                    <a:pt x="1202270" y="571157"/>
                  </a:lnTo>
                  <a:lnTo>
                    <a:pt x="1715681" y="808532"/>
                  </a:lnTo>
                  <a:lnTo>
                    <a:pt x="1697456" y="781532"/>
                  </a:lnTo>
                  <a:lnTo>
                    <a:pt x="1199807" y="551446"/>
                  </a:lnTo>
                  <a:close/>
                </a:path>
                <a:path w="2061845" h="965200">
                  <a:moveTo>
                    <a:pt x="809180" y="370840"/>
                  </a:moveTo>
                  <a:lnTo>
                    <a:pt x="799807" y="385076"/>
                  </a:lnTo>
                  <a:lnTo>
                    <a:pt x="1186865" y="564032"/>
                  </a:lnTo>
                  <a:lnTo>
                    <a:pt x="1184402" y="544322"/>
                  </a:lnTo>
                  <a:lnTo>
                    <a:pt x="809180" y="370840"/>
                  </a:lnTo>
                  <a:close/>
                </a:path>
                <a:path w="2061845" h="965200">
                  <a:moveTo>
                    <a:pt x="7099" y="0"/>
                  </a:moveTo>
                  <a:lnTo>
                    <a:pt x="5740" y="5588"/>
                  </a:lnTo>
                  <a:lnTo>
                    <a:pt x="3302" y="10769"/>
                  </a:lnTo>
                  <a:lnTo>
                    <a:pt x="0" y="15290"/>
                  </a:lnTo>
                  <a:lnTo>
                    <a:pt x="785520" y="378472"/>
                  </a:lnTo>
                  <a:lnTo>
                    <a:pt x="794893" y="364236"/>
                  </a:lnTo>
                  <a:lnTo>
                    <a:pt x="7099" y="0"/>
                  </a:lnTo>
                  <a:close/>
                </a:path>
              </a:pathLst>
            </a:custGeom>
            <a:solidFill>
              <a:srgbClr val="EF3D60">
                <a:alpha val="50999"/>
              </a:srgbClr>
            </a:solidFill>
          </p:spPr>
          <p:txBody>
            <a:bodyPr wrap="square" lIns="0" tIns="0" rIns="0" bIns="0" rtlCol="0"/>
            <a:lstStyle/>
            <a:p>
              <a:endParaRPr sz="2968"/>
            </a:p>
          </p:txBody>
        </p:sp>
        <p:sp>
          <p:nvSpPr>
            <p:cNvPr id="115" name="object 113">
              <a:extLst>
                <a:ext uri="{FF2B5EF4-FFF2-40B4-BE49-F238E27FC236}">
                  <a16:creationId xmlns:a16="http://schemas.microsoft.com/office/drawing/2014/main" id="{B40D307E-49CD-FC4C-A384-A96834D95B9A}"/>
                </a:ext>
              </a:extLst>
            </p:cNvPr>
            <p:cNvSpPr/>
            <p:nvPr/>
          </p:nvSpPr>
          <p:spPr>
            <a:xfrm>
              <a:off x="10782682" y="3120363"/>
              <a:ext cx="1677035" cy="1919605"/>
            </a:xfrm>
            <a:custGeom>
              <a:avLst/>
              <a:gdLst/>
              <a:ahLst/>
              <a:cxnLst/>
              <a:rect l="l" t="t" r="r" b="b"/>
              <a:pathLst>
                <a:path w="1677034" h="1919604">
                  <a:moveTo>
                    <a:pt x="202679" y="1674647"/>
                  </a:moveTo>
                  <a:lnTo>
                    <a:pt x="0" y="1907057"/>
                  </a:lnTo>
                  <a:lnTo>
                    <a:pt x="5372" y="1910029"/>
                  </a:lnTo>
                  <a:lnTo>
                    <a:pt x="10032" y="1914105"/>
                  </a:lnTo>
                  <a:lnTo>
                    <a:pt x="13703" y="1918995"/>
                  </a:lnTo>
                  <a:lnTo>
                    <a:pt x="223215" y="1678749"/>
                  </a:lnTo>
                  <a:lnTo>
                    <a:pt x="202679" y="1674647"/>
                  </a:lnTo>
                  <a:close/>
                </a:path>
                <a:path w="1677034" h="1919604">
                  <a:moveTo>
                    <a:pt x="544220" y="1283030"/>
                  </a:moveTo>
                  <a:lnTo>
                    <a:pt x="211175" y="1664906"/>
                  </a:lnTo>
                  <a:lnTo>
                    <a:pt x="231711" y="1669008"/>
                  </a:lnTo>
                  <a:lnTo>
                    <a:pt x="557098" y="1295908"/>
                  </a:lnTo>
                  <a:lnTo>
                    <a:pt x="544220" y="1283030"/>
                  </a:lnTo>
                  <a:close/>
                </a:path>
                <a:path w="1677034" h="1919604">
                  <a:moveTo>
                    <a:pt x="678700" y="1128826"/>
                  </a:moveTo>
                  <a:lnTo>
                    <a:pt x="553859" y="1271981"/>
                  </a:lnTo>
                  <a:lnTo>
                    <a:pt x="566737" y="1284858"/>
                  </a:lnTo>
                  <a:lnTo>
                    <a:pt x="688543" y="1145184"/>
                  </a:lnTo>
                  <a:lnTo>
                    <a:pt x="678700" y="1128826"/>
                  </a:lnTo>
                  <a:close/>
                </a:path>
                <a:path w="1677034" h="1919604">
                  <a:moveTo>
                    <a:pt x="964018" y="801674"/>
                  </a:moveTo>
                  <a:lnTo>
                    <a:pt x="690359" y="1115466"/>
                  </a:lnTo>
                  <a:lnTo>
                    <a:pt x="700214" y="1131824"/>
                  </a:lnTo>
                  <a:lnTo>
                    <a:pt x="967435" y="825411"/>
                  </a:lnTo>
                  <a:lnTo>
                    <a:pt x="964018" y="801674"/>
                  </a:lnTo>
                  <a:close/>
                </a:path>
                <a:path w="1677034" h="1919604">
                  <a:moveTo>
                    <a:pt x="1046899" y="706628"/>
                  </a:moveTo>
                  <a:lnTo>
                    <a:pt x="980211" y="783094"/>
                  </a:lnTo>
                  <a:lnTo>
                    <a:pt x="983627" y="806843"/>
                  </a:lnTo>
                  <a:lnTo>
                    <a:pt x="1048524" y="732434"/>
                  </a:lnTo>
                  <a:lnTo>
                    <a:pt x="1046899" y="706628"/>
                  </a:lnTo>
                  <a:close/>
                </a:path>
                <a:path w="1677034" h="1919604">
                  <a:moveTo>
                    <a:pt x="1426400" y="271487"/>
                  </a:moveTo>
                  <a:lnTo>
                    <a:pt x="1058735" y="693064"/>
                  </a:lnTo>
                  <a:lnTo>
                    <a:pt x="1060348" y="718870"/>
                  </a:lnTo>
                  <a:lnTo>
                    <a:pt x="1419390" y="307200"/>
                  </a:lnTo>
                  <a:lnTo>
                    <a:pt x="1426400" y="271487"/>
                  </a:lnTo>
                  <a:close/>
                </a:path>
                <a:path w="1677034" h="1919604">
                  <a:moveTo>
                    <a:pt x="1663166" y="0"/>
                  </a:moveTo>
                  <a:lnTo>
                    <a:pt x="1450301" y="244081"/>
                  </a:lnTo>
                  <a:lnTo>
                    <a:pt x="1443291" y="279793"/>
                  </a:lnTo>
                  <a:lnTo>
                    <a:pt x="1676882" y="11937"/>
                  </a:lnTo>
                  <a:lnTo>
                    <a:pt x="1671510" y="8966"/>
                  </a:lnTo>
                  <a:lnTo>
                    <a:pt x="1666836" y="4876"/>
                  </a:lnTo>
                  <a:lnTo>
                    <a:pt x="1663166" y="0"/>
                  </a:lnTo>
                  <a:close/>
                </a:path>
              </a:pathLst>
            </a:custGeom>
            <a:solidFill>
              <a:srgbClr val="EF3D60">
                <a:alpha val="50999"/>
              </a:srgbClr>
            </a:solidFill>
          </p:spPr>
          <p:txBody>
            <a:bodyPr wrap="square" lIns="0" tIns="0" rIns="0" bIns="0" rtlCol="0"/>
            <a:lstStyle/>
            <a:p>
              <a:endParaRPr sz="2968"/>
            </a:p>
          </p:txBody>
        </p:sp>
        <p:sp>
          <p:nvSpPr>
            <p:cNvPr id="116" name="object 114">
              <a:extLst>
                <a:ext uri="{FF2B5EF4-FFF2-40B4-BE49-F238E27FC236}">
                  <a16:creationId xmlns:a16="http://schemas.microsoft.com/office/drawing/2014/main" id="{20AC794A-4D45-1640-BF9A-7ABFA6883A2F}"/>
                </a:ext>
              </a:extLst>
            </p:cNvPr>
            <p:cNvSpPr/>
            <p:nvPr/>
          </p:nvSpPr>
          <p:spPr>
            <a:xfrm>
              <a:off x="10686415" y="2999233"/>
              <a:ext cx="81915" cy="2023745"/>
            </a:xfrm>
            <a:custGeom>
              <a:avLst/>
              <a:gdLst/>
              <a:ahLst/>
              <a:cxnLst/>
              <a:rect l="l" t="t" r="r" b="b"/>
              <a:pathLst>
                <a:path w="81915" h="2023745">
                  <a:moveTo>
                    <a:pt x="78752" y="1933346"/>
                  </a:moveTo>
                  <a:lnTo>
                    <a:pt x="78752" y="2022894"/>
                  </a:lnTo>
                  <a:lnTo>
                    <a:pt x="79743" y="2022970"/>
                  </a:lnTo>
                  <a:lnTo>
                    <a:pt x="81686" y="2023224"/>
                  </a:lnTo>
                  <a:lnTo>
                    <a:pt x="78752" y="1933346"/>
                  </a:lnTo>
                  <a:close/>
                </a:path>
                <a:path w="81915" h="2023745">
                  <a:moveTo>
                    <a:pt x="58204" y="1785277"/>
                  </a:moveTo>
                  <a:lnTo>
                    <a:pt x="65989" y="2023732"/>
                  </a:lnTo>
                  <a:lnTo>
                    <a:pt x="67830" y="2023338"/>
                  </a:lnTo>
                  <a:lnTo>
                    <a:pt x="69710" y="2023059"/>
                  </a:lnTo>
                  <a:lnTo>
                    <a:pt x="71628" y="2022894"/>
                  </a:lnTo>
                  <a:lnTo>
                    <a:pt x="71628" y="1788591"/>
                  </a:lnTo>
                  <a:lnTo>
                    <a:pt x="66903" y="1788198"/>
                  </a:lnTo>
                  <a:lnTo>
                    <a:pt x="62382" y="1787055"/>
                  </a:lnTo>
                  <a:lnTo>
                    <a:pt x="58204" y="1785277"/>
                  </a:lnTo>
                  <a:close/>
                </a:path>
                <a:path w="81915" h="2023745">
                  <a:moveTo>
                    <a:pt x="25730" y="789393"/>
                  </a:moveTo>
                  <a:lnTo>
                    <a:pt x="55638" y="1706562"/>
                  </a:lnTo>
                  <a:lnTo>
                    <a:pt x="60401" y="1704149"/>
                  </a:lnTo>
                  <a:lnTo>
                    <a:pt x="65646" y="1702600"/>
                  </a:lnTo>
                  <a:lnTo>
                    <a:pt x="71208" y="1702092"/>
                  </a:lnTo>
                  <a:lnTo>
                    <a:pt x="58826" y="1322400"/>
                  </a:lnTo>
                  <a:lnTo>
                    <a:pt x="58064" y="1299476"/>
                  </a:lnTo>
                  <a:lnTo>
                    <a:pt x="41960" y="805624"/>
                  </a:lnTo>
                  <a:lnTo>
                    <a:pt x="25730" y="789393"/>
                  </a:lnTo>
                  <a:close/>
                </a:path>
                <a:path w="81915" h="2023745">
                  <a:moveTo>
                    <a:pt x="0" y="507"/>
                  </a:moveTo>
                  <a:lnTo>
                    <a:pt x="25031" y="767994"/>
                  </a:lnTo>
                  <a:lnTo>
                    <a:pt x="41262" y="784237"/>
                  </a:lnTo>
                  <a:lnTo>
                    <a:pt x="15716" y="977"/>
                  </a:lnTo>
                  <a:lnTo>
                    <a:pt x="4254" y="977"/>
                  </a:lnTo>
                  <a:lnTo>
                    <a:pt x="2095" y="812"/>
                  </a:lnTo>
                  <a:lnTo>
                    <a:pt x="0" y="507"/>
                  </a:lnTo>
                  <a:close/>
                </a:path>
                <a:path w="81915" h="2023745">
                  <a:moveTo>
                    <a:pt x="15684" y="0"/>
                  </a:moveTo>
                  <a:lnTo>
                    <a:pt x="12712" y="635"/>
                  </a:lnTo>
                  <a:lnTo>
                    <a:pt x="9626" y="977"/>
                  </a:lnTo>
                  <a:lnTo>
                    <a:pt x="15716" y="977"/>
                  </a:lnTo>
                  <a:lnTo>
                    <a:pt x="15684" y="0"/>
                  </a:lnTo>
                  <a:close/>
                </a:path>
              </a:pathLst>
            </a:custGeom>
            <a:solidFill>
              <a:srgbClr val="EF3D60">
                <a:alpha val="50999"/>
              </a:srgbClr>
            </a:solidFill>
          </p:spPr>
          <p:txBody>
            <a:bodyPr wrap="square" lIns="0" tIns="0" rIns="0" bIns="0" rtlCol="0"/>
            <a:lstStyle/>
            <a:p>
              <a:endParaRPr sz="2968"/>
            </a:p>
          </p:txBody>
        </p:sp>
        <p:sp>
          <p:nvSpPr>
            <p:cNvPr id="117" name="object 115">
              <a:extLst>
                <a:ext uri="{FF2B5EF4-FFF2-40B4-BE49-F238E27FC236}">
                  <a16:creationId xmlns:a16="http://schemas.microsoft.com/office/drawing/2014/main" id="{96B114CA-7004-814D-866F-6CDFBE23EC0B}"/>
                </a:ext>
              </a:extLst>
            </p:cNvPr>
            <p:cNvSpPr/>
            <p:nvPr/>
          </p:nvSpPr>
          <p:spPr>
            <a:xfrm>
              <a:off x="10761606" y="4787820"/>
              <a:ext cx="0" cy="233679"/>
            </a:xfrm>
            <a:custGeom>
              <a:avLst/>
              <a:gdLst/>
              <a:ahLst/>
              <a:cxnLst/>
              <a:rect l="l" t="t" r="r" b="b"/>
              <a:pathLst>
                <a:path h="233679">
                  <a:moveTo>
                    <a:pt x="0" y="0"/>
                  </a:moveTo>
                  <a:lnTo>
                    <a:pt x="0" y="233679"/>
                  </a:lnTo>
                </a:path>
              </a:pathLst>
            </a:custGeom>
            <a:ln w="7124">
              <a:solidFill>
                <a:srgbClr val="EF3D60"/>
              </a:solidFill>
            </a:ln>
          </p:spPr>
          <p:txBody>
            <a:bodyPr wrap="square" lIns="0" tIns="0" rIns="0" bIns="0" rtlCol="0"/>
            <a:lstStyle/>
            <a:p>
              <a:endParaRPr sz="2968"/>
            </a:p>
          </p:txBody>
        </p:sp>
        <p:sp>
          <p:nvSpPr>
            <p:cNvPr id="118" name="object 116">
              <a:extLst>
                <a:ext uri="{FF2B5EF4-FFF2-40B4-BE49-F238E27FC236}">
                  <a16:creationId xmlns:a16="http://schemas.microsoft.com/office/drawing/2014/main" id="{EC1D4A99-2E59-FB49-B54B-C696629CBA1F}"/>
                </a:ext>
              </a:extLst>
            </p:cNvPr>
            <p:cNvSpPr/>
            <p:nvPr/>
          </p:nvSpPr>
          <p:spPr>
            <a:xfrm>
              <a:off x="10762832" y="5021982"/>
              <a:ext cx="2540" cy="635"/>
            </a:xfrm>
            <a:custGeom>
              <a:avLst/>
              <a:gdLst/>
              <a:ahLst/>
              <a:cxnLst/>
              <a:rect l="l" t="t" r="r" b="b"/>
              <a:pathLst>
                <a:path w="2540" h="635">
                  <a:moveTo>
                    <a:pt x="2336" y="0"/>
                  </a:moveTo>
                  <a:lnTo>
                    <a:pt x="0" y="0"/>
                  </a:lnTo>
                  <a:lnTo>
                    <a:pt x="1168" y="50"/>
                  </a:lnTo>
                  <a:lnTo>
                    <a:pt x="2336" y="152"/>
                  </a:lnTo>
                  <a:lnTo>
                    <a:pt x="2336" y="0"/>
                  </a:lnTo>
                  <a:close/>
                </a:path>
              </a:pathLst>
            </a:custGeom>
            <a:solidFill>
              <a:srgbClr val="EF3D60">
                <a:alpha val="50999"/>
              </a:srgbClr>
            </a:solidFill>
          </p:spPr>
          <p:txBody>
            <a:bodyPr wrap="square" lIns="0" tIns="0" rIns="0" bIns="0" rtlCol="0"/>
            <a:lstStyle/>
            <a:p>
              <a:endParaRPr sz="2968"/>
            </a:p>
          </p:txBody>
        </p:sp>
        <p:sp>
          <p:nvSpPr>
            <p:cNvPr id="119" name="object 117">
              <a:extLst>
                <a:ext uri="{FF2B5EF4-FFF2-40B4-BE49-F238E27FC236}">
                  <a16:creationId xmlns:a16="http://schemas.microsoft.com/office/drawing/2014/main" id="{05EB878A-D437-7F46-802E-03F5A18CDFD7}"/>
                </a:ext>
              </a:extLst>
            </p:cNvPr>
            <p:cNvSpPr/>
            <p:nvPr/>
          </p:nvSpPr>
          <p:spPr>
            <a:xfrm>
              <a:off x="10762832" y="4787832"/>
              <a:ext cx="2540" cy="635"/>
            </a:xfrm>
            <a:custGeom>
              <a:avLst/>
              <a:gdLst/>
              <a:ahLst/>
              <a:cxnLst/>
              <a:rect l="l" t="t" r="r" b="b"/>
              <a:pathLst>
                <a:path w="2540" h="635">
                  <a:moveTo>
                    <a:pt x="2336" y="0"/>
                  </a:moveTo>
                  <a:lnTo>
                    <a:pt x="1168" y="88"/>
                  </a:lnTo>
                  <a:lnTo>
                    <a:pt x="0" y="139"/>
                  </a:lnTo>
                  <a:lnTo>
                    <a:pt x="2336" y="139"/>
                  </a:lnTo>
                  <a:lnTo>
                    <a:pt x="2336" y="0"/>
                  </a:lnTo>
                  <a:close/>
                </a:path>
              </a:pathLst>
            </a:custGeom>
            <a:solidFill>
              <a:srgbClr val="EF3D60">
                <a:alpha val="50999"/>
              </a:srgbClr>
            </a:solidFill>
          </p:spPr>
          <p:txBody>
            <a:bodyPr wrap="square" lIns="0" tIns="0" rIns="0" bIns="0" rtlCol="0"/>
            <a:lstStyle/>
            <a:p>
              <a:endParaRPr sz="2968"/>
            </a:p>
          </p:txBody>
        </p:sp>
        <p:sp>
          <p:nvSpPr>
            <p:cNvPr id="120" name="object 118">
              <a:extLst>
                <a:ext uri="{FF2B5EF4-FFF2-40B4-BE49-F238E27FC236}">
                  <a16:creationId xmlns:a16="http://schemas.microsoft.com/office/drawing/2014/main" id="{07A12070-F6EA-F24D-895F-3426D53284D9}"/>
                </a:ext>
              </a:extLst>
            </p:cNvPr>
            <p:cNvSpPr/>
            <p:nvPr/>
          </p:nvSpPr>
          <p:spPr>
            <a:xfrm>
              <a:off x="9878344" y="5107405"/>
              <a:ext cx="873125" cy="1870710"/>
            </a:xfrm>
            <a:custGeom>
              <a:avLst/>
              <a:gdLst/>
              <a:ahLst/>
              <a:cxnLst/>
              <a:rect l="l" t="t" r="r" b="b"/>
              <a:pathLst>
                <a:path w="873125" h="1870709">
                  <a:moveTo>
                    <a:pt x="872274" y="0"/>
                  </a:moveTo>
                  <a:lnTo>
                    <a:pt x="432295" y="921829"/>
                  </a:lnTo>
                  <a:lnTo>
                    <a:pt x="0" y="1864055"/>
                  </a:lnTo>
                  <a:lnTo>
                    <a:pt x="5257" y="1865363"/>
                  </a:lnTo>
                  <a:lnTo>
                    <a:pt x="10147" y="1867649"/>
                  </a:lnTo>
                  <a:lnTo>
                    <a:pt x="14439" y="1870684"/>
                  </a:lnTo>
                  <a:lnTo>
                    <a:pt x="872693" y="114"/>
                  </a:lnTo>
                  <a:lnTo>
                    <a:pt x="872274" y="0"/>
                  </a:lnTo>
                  <a:close/>
                </a:path>
              </a:pathLst>
            </a:custGeom>
            <a:solidFill>
              <a:srgbClr val="EF3D60">
                <a:alpha val="50999"/>
              </a:srgbClr>
            </a:solidFill>
          </p:spPr>
          <p:txBody>
            <a:bodyPr wrap="square" lIns="0" tIns="0" rIns="0" bIns="0" rtlCol="0"/>
            <a:lstStyle/>
            <a:p>
              <a:endParaRPr sz="2968"/>
            </a:p>
          </p:txBody>
        </p:sp>
        <p:sp>
          <p:nvSpPr>
            <p:cNvPr id="121" name="object 119">
              <a:extLst>
                <a:ext uri="{FF2B5EF4-FFF2-40B4-BE49-F238E27FC236}">
                  <a16:creationId xmlns:a16="http://schemas.microsoft.com/office/drawing/2014/main" id="{93703778-A6B9-B54F-BCBF-CC6E982AB40E}"/>
                </a:ext>
              </a:extLst>
            </p:cNvPr>
            <p:cNvSpPr/>
            <p:nvPr/>
          </p:nvSpPr>
          <p:spPr>
            <a:xfrm>
              <a:off x="9810017" y="5100344"/>
              <a:ext cx="941069" cy="1947545"/>
            </a:xfrm>
            <a:custGeom>
              <a:avLst/>
              <a:gdLst/>
              <a:ahLst/>
              <a:cxnLst/>
              <a:rect l="l" t="t" r="r" b="b"/>
              <a:pathLst>
                <a:path w="941070" h="1947545">
                  <a:moveTo>
                    <a:pt x="14490" y="1909699"/>
                  </a:moveTo>
                  <a:lnTo>
                    <a:pt x="0" y="1940039"/>
                  </a:lnTo>
                  <a:lnTo>
                    <a:pt x="5372" y="1941436"/>
                  </a:lnTo>
                  <a:lnTo>
                    <a:pt x="10337" y="1943849"/>
                  </a:lnTo>
                  <a:lnTo>
                    <a:pt x="14681" y="1947037"/>
                  </a:lnTo>
                  <a:lnTo>
                    <a:pt x="20307" y="1935238"/>
                  </a:lnTo>
                  <a:lnTo>
                    <a:pt x="16522" y="1928787"/>
                  </a:lnTo>
                  <a:lnTo>
                    <a:pt x="14350" y="1921268"/>
                  </a:lnTo>
                  <a:lnTo>
                    <a:pt x="14389" y="1910867"/>
                  </a:lnTo>
                  <a:lnTo>
                    <a:pt x="14490" y="1909699"/>
                  </a:lnTo>
                  <a:close/>
                </a:path>
                <a:path w="941070" h="1947545">
                  <a:moveTo>
                    <a:pt x="925855" y="0"/>
                  </a:moveTo>
                  <a:lnTo>
                    <a:pt x="27787" y="1881822"/>
                  </a:lnTo>
                  <a:lnTo>
                    <a:pt x="32857" y="1877666"/>
                  </a:lnTo>
                  <a:lnTo>
                    <a:pt x="38523" y="1874304"/>
                  </a:lnTo>
                  <a:lnTo>
                    <a:pt x="44702" y="1871817"/>
                  </a:lnTo>
                  <a:lnTo>
                    <a:pt x="51307" y="1870290"/>
                  </a:lnTo>
                  <a:lnTo>
                    <a:pt x="940600" y="7061"/>
                  </a:lnTo>
                  <a:lnTo>
                    <a:pt x="935202" y="5651"/>
                  </a:lnTo>
                  <a:lnTo>
                    <a:pt x="930211" y="3225"/>
                  </a:lnTo>
                  <a:lnTo>
                    <a:pt x="925855" y="0"/>
                  </a:lnTo>
                  <a:close/>
                </a:path>
              </a:pathLst>
            </a:custGeom>
            <a:solidFill>
              <a:srgbClr val="EF3D60">
                <a:alpha val="50999"/>
              </a:srgbClr>
            </a:solidFill>
          </p:spPr>
          <p:txBody>
            <a:bodyPr wrap="square" lIns="0" tIns="0" rIns="0" bIns="0" rtlCol="0"/>
            <a:lstStyle/>
            <a:p>
              <a:endParaRPr sz="2968"/>
            </a:p>
          </p:txBody>
        </p:sp>
        <p:sp>
          <p:nvSpPr>
            <p:cNvPr id="122" name="object 120">
              <a:extLst>
                <a:ext uri="{FF2B5EF4-FFF2-40B4-BE49-F238E27FC236}">
                  <a16:creationId xmlns:a16="http://schemas.microsoft.com/office/drawing/2014/main" id="{CAE627BE-D628-EA46-9C80-8AAA6119C322}"/>
                </a:ext>
              </a:extLst>
            </p:cNvPr>
            <p:cNvSpPr/>
            <p:nvPr/>
          </p:nvSpPr>
          <p:spPr>
            <a:xfrm>
              <a:off x="9657460" y="4969441"/>
              <a:ext cx="2208530" cy="193040"/>
            </a:xfrm>
            <a:custGeom>
              <a:avLst/>
              <a:gdLst/>
              <a:ahLst/>
              <a:cxnLst/>
              <a:rect l="l" t="t" r="r" b="b"/>
              <a:pathLst>
                <a:path w="2208529" h="193039">
                  <a:moveTo>
                    <a:pt x="1061034" y="91097"/>
                  </a:moveTo>
                  <a:lnTo>
                    <a:pt x="0" y="175971"/>
                  </a:lnTo>
                  <a:lnTo>
                    <a:pt x="1041" y="179692"/>
                  </a:lnTo>
                  <a:lnTo>
                    <a:pt x="1587" y="183603"/>
                  </a:lnTo>
                  <a:lnTo>
                    <a:pt x="1498" y="190931"/>
                  </a:lnTo>
                  <a:lnTo>
                    <a:pt x="1320" y="192544"/>
                  </a:lnTo>
                  <a:lnTo>
                    <a:pt x="1062367" y="107683"/>
                  </a:lnTo>
                  <a:lnTo>
                    <a:pt x="1061326" y="103949"/>
                  </a:lnTo>
                  <a:lnTo>
                    <a:pt x="1060767" y="100025"/>
                  </a:lnTo>
                  <a:lnTo>
                    <a:pt x="1060856" y="92697"/>
                  </a:lnTo>
                  <a:lnTo>
                    <a:pt x="1061034" y="91097"/>
                  </a:lnTo>
                  <a:close/>
                </a:path>
                <a:path w="2208529" h="193039">
                  <a:moveTo>
                    <a:pt x="2199944" y="0"/>
                  </a:moveTo>
                  <a:lnTo>
                    <a:pt x="1146022" y="84302"/>
                  </a:lnTo>
                  <a:lnTo>
                    <a:pt x="1147038" y="88011"/>
                  </a:lnTo>
                  <a:lnTo>
                    <a:pt x="1147610" y="91922"/>
                  </a:lnTo>
                  <a:lnTo>
                    <a:pt x="1147508" y="99263"/>
                  </a:lnTo>
                  <a:lnTo>
                    <a:pt x="1147318" y="100888"/>
                  </a:lnTo>
                  <a:lnTo>
                    <a:pt x="2208364" y="16027"/>
                  </a:lnTo>
                  <a:lnTo>
                    <a:pt x="2207336" y="12306"/>
                  </a:lnTo>
                  <a:lnTo>
                    <a:pt x="2206777" y="8369"/>
                  </a:lnTo>
                  <a:lnTo>
                    <a:pt x="2206879" y="1384"/>
                  </a:lnTo>
                  <a:lnTo>
                    <a:pt x="2199944" y="0"/>
                  </a:lnTo>
                  <a:close/>
                </a:path>
              </a:pathLst>
            </a:custGeom>
            <a:solidFill>
              <a:srgbClr val="EF3D60">
                <a:alpha val="50999"/>
              </a:srgbClr>
            </a:solidFill>
          </p:spPr>
          <p:txBody>
            <a:bodyPr wrap="square" lIns="0" tIns="0" rIns="0" bIns="0" rtlCol="0"/>
            <a:lstStyle/>
            <a:p>
              <a:endParaRPr sz="2968"/>
            </a:p>
          </p:txBody>
        </p:sp>
        <p:sp>
          <p:nvSpPr>
            <p:cNvPr id="123" name="object 121">
              <a:extLst>
                <a:ext uri="{FF2B5EF4-FFF2-40B4-BE49-F238E27FC236}">
                  <a16:creationId xmlns:a16="http://schemas.microsoft.com/office/drawing/2014/main" id="{D0E4CDD2-0945-C040-B432-594FB18D982D}"/>
                </a:ext>
              </a:extLst>
            </p:cNvPr>
            <p:cNvSpPr/>
            <p:nvPr/>
          </p:nvSpPr>
          <p:spPr>
            <a:xfrm>
              <a:off x="11941290" y="4995422"/>
              <a:ext cx="1739264" cy="1602740"/>
            </a:xfrm>
            <a:custGeom>
              <a:avLst/>
              <a:gdLst/>
              <a:ahLst/>
              <a:cxnLst/>
              <a:rect l="l" t="t" r="r" b="b"/>
              <a:pathLst>
                <a:path w="1739265" h="1602740">
                  <a:moveTo>
                    <a:pt x="4000" y="0"/>
                  </a:moveTo>
                  <a:lnTo>
                    <a:pt x="2832" y="2044"/>
                  </a:lnTo>
                  <a:lnTo>
                    <a:pt x="1485" y="3975"/>
                  </a:lnTo>
                  <a:lnTo>
                    <a:pt x="0" y="5791"/>
                  </a:lnTo>
                  <a:lnTo>
                    <a:pt x="85674" y="99415"/>
                  </a:lnTo>
                  <a:lnTo>
                    <a:pt x="1738704" y="1602181"/>
                  </a:lnTo>
                  <a:lnTo>
                    <a:pt x="1738704" y="1577006"/>
                  </a:lnTo>
                  <a:lnTo>
                    <a:pt x="4000" y="0"/>
                  </a:lnTo>
                  <a:close/>
                </a:path>
              </a:pathLst>
            </a:custGeom>
            <a:solidFill>
              <a:srgbClr val="EF3D60">
                <a:alpha val="50999"/>
              </a:srgbClr>
            </a:solidFill>
          </p:spPr>
          <p:txBody>
            <a:bodyPr wrap="square" lIns="0" tIns="0" rIns="0" bIns="0" rtlCol="0"/>
            <a:lstStyle/>
            <a:p>
              <a:endParaRPr sz="2968"/>
            </a:p>
          </p:txBody>
        </p:sp>
        <p:sp>
          <p:nvSpPr>
            <p:cNvPr id="124" name="object 122">
              <a:extLst>
                <a:ext uri="{FF2B5EF4-FFF2-40B4-BE49-F238E27FC236}">
                  <a16:creationId xmlns:a16="http://schemas.microsoft.com/office/drawing/2014/main" id="{FE34210B-F429-3344-9C32-60B9F776ADA3}"/>
                </a:ext>
              </a:extLst>
            </p:cNvPr>
            <p:cNvSpPr/>
            <p:nvPr/>
          </p:nvSpPr>
          <p:spPr>
            <a:xfrm>
              <a:off x="11924796" y="5009736"/>
              <a:ext cx="1203960" cy="1767205"/>
            </a:xfrm>
            <a:custGeom>
              <a:avLst/>
              <a:gdLst/>
              <a:ahLst/>
              <a:cxnLst/>
              <a:rect l="l" t="t" r="r" b="b"/>
              <a:pathLst>
                <a:path w="1203959" h="1767204">
                  <a:moveTo>
                    <a:pt x="7175" y="0"/>
                  </a:moveTo>
                  <a:lnTo>
                    <a:pt x="4914" y="1524"/>
                  </a:lnTo>
                  <a:lnTo>
                    <a:pt x="2514" y="2844"/>
                  </a:lnTo>
                  <a:lnTo>
                    <a:pt x="0" y="3924"/>
                  </a:lnTo>
                  <a:lnTo>
                    <a:pt x="1189964" y="1766785"/>
                  </a:lnTo>
                  <a:lnTo>
                    <a:pt x="1193800" y="1762975"/>
                  </a:lnTo>
                  <a:lnTo>
                    <a:pt x="1198346" y="1759877"/>
                  </a:lnTo>
                  <a:lnTo>
                    <a:pt x="1203388" y="1757705"/>
                  </a:lnTo>
                  <a:lnTo>
                    <a:pt x="44170" y="40436"/>
                  </a:lnTo>
                  <a:lnTo>
                    <a:pt x="7175" y="0"/>
                  </a:lnTo>
                  <a:close/>
                </a:path>
              </a:pathLst>
            </a:custGeom>
            <a:solidFill>
              <a:srgbClr val="EF3D60">
                <a:alpha val="50999"/>
              </a:srgbClr>
            </a:solidFill>
          </p:spPr>
          <p:txBody>
            <a:bodyPr wrap="square" lIns="0" tIns="0" rIns="0" bIns="0" rtlCol="0"/>
            <a:lstStyle/>
            <a:p>
              <a:endParaRPr sz="2968"/>
            </a:p>
          </p:txBody>
        </p:sp>
        <p:sp>
          <p:nvSpPr>
            <p:cNvPr id="125" name="object 123">
              <a:extLst>
                <a:ext uri="{FF2B5EF4-FFF2-40B4-BE49-F238E27FC236}">
                  <a16:creationId xmlns:a16="http://schemas.microsoft.com/office/drawing/2014/main" id="{F58EDCB0-BF1F-1849-AAA4-A9109E82FE12}"/>
                </a:ext>
              </a:extLst>
            </p:cNvPr>
            <p:cNvSpPr/>
            <p:nvPr/>
          </p:nvSpPr>
          <p:spPr>
            <a:xfrm>
              <a:off x="11905792" y="5015368"/>
              <a:ext cx="233045" cy="1750695"/>
            </a:xfrm>
            <a:custGeom>
              <a:avLst/>
              <a:gdLst/>
              <a:ahLst/>
              <a:cxnLst/>
              <a:rect l="l" t="t" r="r" b="b"/>
              <a:pathLst>
                <a:path w="233045" h="1750695">
                  <a:moveTo>
                    <a:pt x="14287" y="0"/>
                  </a:moveTo>
                  <a:lnTo>
                    <a:pt x="10350" y="1181"/>
                  </a:lnTo>
                  <a:lnTo>
                    <a:pt x="6172" y="1803"/>
                  </a:lnTo>
                  <a:lnTo>
                    <a:pt x="4" y="1803"/>
                  </a:lnTo>
                  <a:lnTo>
                    <a:pt x="218567" y="1750377"/>
                  </a:lnTo>
                  <a:lnTo>
                    <a:pt x="222516" y="1749183"/>
                  </a:lnTo>
                  <a:lnTo>
                    <a:pt x="226720" y="1748548"/>
                  </a:lnTo>
                  <a:lnTo>
                    <a:pt x="232849" y="1748548"/>
                  </a:lnTo>
                  <a:lnTo>
                    <a:pt x="14512" y="1803"/>
                  </a:lnTo>
                  <a:lnTo>
                    <a:pt x="1231" y="1803"/>
                  </a:lnTo>
                  <a:lnTo>
                    <a:pt x="0" y="1765"/>
                  </a:lnTo>
                  <a:lnTo>
                    <a:pt x="14508" y="1765"/>
                  </a:lnTo>
                  <a:lnTo>
                    <a:pt x="14287" y="0"/>
                  </a:lnTo>
                  <a:close/>
                </a:path>
                <a:path w="233045" h="1750695">
                  <a:moveTo>
                    <a:pt x="232849" y="1748548"/>
                  </a:moveTo>
                  <a:lnTo>
                    <a:pt x="231660" y="1748548"/>
                  </a:lnTo>
                  <a:lnTo>
                    <a:pt x="232854" y="1748586"/>
                  </a:lnTo>
                  <a:close/>
                </a:path>
              </a:pathLst>
            </a:custGeom>
            <a:solidFill>
              <a:srgbClr val="EF3D60">
                <a:alpha val="50999"/>
              </a:srgbClr>
            </a:solidFill>
          </p:spPr>
          <p:txBody>
            <a:bodyPr wrap="square" lIns="0" tIns="0" rIns="0" bIns="0" rtlCol="0"/>
            <a:lstStyle/>
            <a:p>
              <a:endParaRPr sz="2968"/>
            </a:p>
          </p:txBody>
        </p:sp>
        <p:sp>
          <p:nvSpPr>
            <p:cNvPr id="126" name="object 124">
              <a:extLst>
                <a:ext uri="{FF2B5EF4-FFF2-40B4-BE49-F238E27FC236}">
                  <a16:creationId xmlns:a16="http://schemas.microsoft.com/office/drawing/2014/main" id="{339950EA-EE1D-3040-A75E-4CBCB8FE6E63}"/>
                </a:ext>
              </a:extLst>
            </p:cNvPr>
            <p:cNvSpPr/>
            <p:nvPr/>
          </p:nvSpPr>
          <p:spPr>
            <a:xfrm>
              <a:off x="10778578" y="5005162"/>
              <a:ext cx="1112520" cy="1679575"/>
            </a:xfrm>
            <a:custGeom>
              <a:avLst/>
              <a:gdLst/>
              <a:ahLst/>
              <a:cxnLst/>
              <a:rect l="l" t="t" r="r" b="b"/>
              <a:pathLst>
                <a:path w="1112520" h="1679575">
                  <a:moveTo>
                    <a:pt x="1099083" y="0"/>
                  </a:moveTo>
                  <a:lnTo>
                    <a:pt x="0" y="1670481"/>
                  </a:lnTo>
                  <a:lnTo>
                    <a:pt x="4864" y="1672551"/>
                  </a:lnTo>
                  <a:lnTo>
                    <a:pt x="9271" y="1675460"/>
                  </a:lnTo>
                  <a:lnTo>
                    <a:pt x="13030" y="1679054"/>
                  </a:lnTo>
                  <a:lnTo>
                    <a:pt x="1112075" y="8559"/>
                  </a:lnTo>
                  <a:lnTo>
                    <a:pt x="1107224" y="6502"/>
                  </a:lnTo>
                  <a:lnTo>
                    <a:pt x="1102829" y="3581"/>
                  </a:lnTo>
                  <a:lnTo>
                    <a:pt x="1099083" y="0"/>
                  </a:lnTo>
                  <a:close/>
                </a:path>
              </a:pathLst>
            </a:custGeom>
            <a:solidFill>
              <a:srgbClr val="EF3D60">
                <a:alpha val="50999"/>
              </a:srgbClr>
            </a:solidFill>
          </p:spPr>
          <p:txBody>
            <a:bodyPr wrap="square" lIns="0" tIns="0" rIns="0" bIns="0" rtlCol="0"/>
            <a:lstStyle/>
            <a:p>
              <a:endParaRPr sz="2968"/>
            </a:p>
          </p:txBody>
        </p:sp>
        <p:sp>
          <p:nvSpPr>
            <p:cNvPr id="127" name="object 125">
              <a:extLst>
                <a:ext uri="{FF2B5EF4-FFF2-40B4-BE49-F238E27FC236}">
                  <a16:creationId xmlns:a16="http://schemas.microsoft.com/office/drawing/2014/main" id="{81FA7C6D-BC33-4D4E-8C0F-7DE4549A7B97}"/>
                </a:ext>
              </a:extLst>
            </p:cNvPr>
            <p:cNvSpPr/>
            <p:nvPr/>
          </p:nvSpPr>
          <p:spPr>
            <a:xfrm>
              <a:off x="11989486" y="3255211"/>
              <a:ext cx="1682114" cy="1643380"/>
            </a:xfrm>
            <a:custGeom>
              <a:avLst/>
              <a:gdLst/>
              <a:ahLst/>
              <a:cxnLst/>
              <a:rect l="l" t="t" r="r" b="b"/>
              <a:pathLst>
                <a:path w="1682115" h="1643379">
                  <a:moveTo>
                    <a:pt x="1669313" y="0"/>
                  </a:moveTo>
                  <a:lnTo>
                    <a:pt x="160896" y="1469783"/>
                  </a:lnTo>
                  <a:lnTo>
                    <a:pt x="0" y="1643367"/>
                  </a:lnTo>
                  <a:lnTo>
                    <a:pt x="42646" y="1609496"/>
                  </a:lnTo>
                  <a:lnTo>
                    <a:pt x="1681556" y="12585"/>
                  </a:lnTo>
                  <a:lnTo>
                    <a:pt x="1676679" y="9271"/>
                  </a:lnTo>
                  <a:lnTo>
                    <a:pt x="1672488" y="4978"/>
                  </a:lnTo>
                  <a:lnTo>
                    <a:pt x="1669313" y="0"/>
                  </a:lnTo>
                  <a:close/>
                </a:path>
              </a:pathLst>
            </a:custGeom>
            <a:solidFill>
              <a:srgbClr val="EF3D60">
                <a:alpha val="50999"/>
              </a:srgbClr>
            </a:solidFill>
          </p:spPr>
          <p:txBody>
            <a:bodyPr wrap="square" lIns="0" tIns="0" rIns="0" bIns="0" rtlCol="0"/>
            <a:lstStyle/>
            <a:p>
              <a:endParaRPr sz="2968"/>
            </a:p>
          </p:txBody>
        </p:sp>
        <p:sp>
          <p:nvSpPr>
            <p:cNvPr id="128" name="object 126">
              <a:extLst>
                <a:ext uri="{FF2B5EF4-FFF2-40B4-BE49-F238E27FC236}">
                  <a16:creationId xmlns:a16="http://schemas.microsoft.com/office/drawing/2014/main" id="{885294C2-6D47-7042-A258-927065FB699C}"/>
                </a:ext>
              </a:extLst>
            </p:cNvPr>
            <p:cNvSpPr/>
            <p:nvPr/>
          </p:nvSpPr>
          <p:spPr>
            <a:xfrm>
              <a:off x="11927309" y="3449068"/>
              <a:ext cx="836930" cy="1487805"/>
            </a:xfrm>
            <a:custGeom>
              <a:avLst/>
              <a:gdLst/>
              <a:ahLst/>
              <a:cxnLst/>
              <a:rect l="l" t="t" r="r" b="b"/>
              <a:pathLst>
                <a:path w="836929" h="1487804">
                  <a:moveTo>
                    <a:pt x="824153" y="0"/>
                  </a:moveTo>
                  <a:lnTo>
                    <a:pt x="7404" y="1461706"/>
                  </a:lnTo>
                  <a:lnTo>
                    <a:pt x="0" y="1485976"/>
                  </a:lnTo>
                  <a:lnTo>
                    <a:pt x="914" y="1486433"/>
                  </a:lnTo>
                  <a:lnTo>
                    <a:pt x="1803" y="1486928"/>
                  </a:lnTo>
                  <a:lnTo>
                    <a:pt x="2667" y="1487449"/>
                  </a:lnTo>
                  <a:lnTo>
                    <a:pt x="4521" y="1485442"/>
                  </a:lnTo>
                  <a:lnTo>
                    <a:pt x="20358" y="1467561"/>
                  </a:lnTo>
                  <a:lnTo>
                    <a:pt x="836523" y="6934"/>
                  </a:lnTo>
                  <a:lnTo>
                    <a:pt x="832002" y="5308"/>
                  </a:lnTo>
                  <a:lnTo>
                    <a:pt x="827824" y="2946"/>
                  </a:lnTo>
                  <a:lnTo>
                    <a:pt x="824153" y="0"/>
                  </a:lnTo>
                  <a:close/>
                </a:path>
              </a:pathLst>
            </a:custGeom>
            <a:solidFill>
              <a:srgbClr val="EF3D60">
                <a:alpha val="50999"/>
              </a:srgbClr>
            </a:solidFill>
          </p:spPr>
          <p:txBody>
            <a:bodyPr wrap="square" lIns="0" tIns="0" rIns="0" bIns="0" rtlCol="0"/>
            <a:lstStyle/>
            <a:p>
              <a:endParaRPr sz="2968"/>
            </a:p>
          </p:txBody>
        </p:sp>
        <p:sp>
          <p:nvSpPr>
            <p:cNvPr id="129" name="object 127">
              <a:extLst>
                <a:ext uri="{FF2B5EF4-FFF2-40B4-BE49-F238E27FC236}">
                  <a16:creationId xmlns:a16="http://schemas.microsoft.com/office/drawing/2014/main" id="{BF400D81-009D-DF42-898B-1D32C0137F60}"/>
                </a:ext>
              </a:extLst>
            </p:cNvPr>
            <p:cNvSpPr/>
            <p:nvPr/>
          </p:nvSpPr>
          <p:spPr>
            <a:xfrm>
              <a:off x="11812276" y="3549357"/>
              <a:ext cx="98425" cy="1369695"/>
            </a:xfrm>
            <a:custGeom>
              <a:avLst/>
              <a:gdLst/>
              <a:ahLst/>
              <a:cxnLst/>
              <a:rect l="l" t="t" r="r" b="b"/>
              <a:pathLst>
                <a:path w="98425" h="1369695">
                  <a:moveTo>
                    <a:pt x="0" y="787"/>
                  </a:moveTo>
                  <a:lnTo>
                    <a:pt x="76949" y="1230972"/>
                  </a:lnTo>
                  <a:lnTo>
                    <a:pt x="96901" y="1369390"/>
                  </a:lnTo>
                  <a:lnTo>
                    <a:pt x="97942" y="1364081"/>
                  </a:lnTo>
                  <a:lnTo>
                    <a:pt x="12695" y="939"/>
                  </a:lnTo>
                  <a:lnTo>
                    <a:pt x="2400" y="939"/>
                  </a:lnTo>
                  <a:lnTo>
                    <a:pt x="1193" y="889"/>
                  </a:lnTo>
                  <a:lnTo>
                    <a:pt x="0" y="787"/>
                  </a:lnTo>
                  <a:close/>
                </a:path>
                <a:path w="98425" h="1369695">
                  <a:moveTo>
                    <a:pt x="12636" y="0"/>
                  </a:moveTo>
                  <a:lnTo>
                    <a:pt x="9728" y="609"/>
                  </a:lnTo>
                  <a:lnTo>
                    <a:pt x="6718" y="939"/>
                  </a:lnTo>
                  <a:lnTo>
                    <a:pt x="12695" y="939"/>
                  </a:lnTo>
                  <a:lnTo>
                    <a:pt x="12636" y="0"/>
                  </a:lnTo>
                  <a:close/>
                </a:path>
              </a:pathLst>
            </a:custGeom>
            <a:solidFill>
              <a:srgbClr val="EF3D60">
                <a:alpha val="50999"/>
              </a:srgbClr>
            </a:solidFill>
          </p:spPr>
          <p:txBody>
            <a:bodyPr wrap="square" lIns="0" tIns="0" rIns="0" bIns="0" rtlCol="0"/>
            <a:lstStyle/>
            <a:p>
              <a:endParaRPr sz="2968"/>
            </a:p>
          </p:txBody>
        </p:sp>
        <p:sp>
          <p:nvSpPr>
            <p:cNvPr id="130" name="object 128">
              <a:extLst>
                <a:ext uri="{FF2B5EF4-FFF2-40B4-BE49-F238E27FC236}">
                  <a16:creationId xmlns:a16="http://schemas.microsoft.com/office/drawing/2014/main" id="{F51F2F5E-CDD1-3849-B6DE-A67203C283F4}"/>
                </a:ext>
              </a:extLst>
            </p:cNvPr>
            <p:cNvSpPr/>
            <p:nvPr/>
          </p:nvSpPr>
          <p:spPr>
            <a:xfrm>
              <a:off x="10603332" y="3669464"/>
              <a:ext cx="1275080" cy="1279525"/>
            </a:xfrm>
            <a:custGeom>
              <a:avLst/>
              <a:gdLst/>
              <a:ahLst/>
              <a:cxnLst/>
              <a:rect l="l" t="t" r="r" b="b"/>
              <a:pathLst>
                <a:path w="1275079" h="1279525">
                  <a:moveTo>
                    <a:pt x="10350" y="0"/>
                  </a:moveTo>
                  <a:lnTo>
                    <a:pt x="7505" y="4013"/>
                  </a:lnTo>
                  <a:lnTo>
                    <a:pt x="4000" y="7518"/>
                  </a:lnTo>
                  <a:lnTo>
                    <a:pt x="0" y="10350"/>
                  </a:lnTo>
                  <a:lnTo>
                    <a:pt x="1268869" y="1279220"/>
                  </a:lnTo>
                  <a:lnTo>
                    <a:pt x="1270685" y="1276654"/>
                  </a:lnTo>
                  <a:lnTo>
                    <a:pt x="1272768" y="1274305"/>
                  </a:lnTo>
                  <a:lnTo>
                    <a:pt x="1275079" y="1272197"/>
                  </a:lnTo>
                  <a:lnTo>
                    <a:pt x="1263827" y="1253515"/>
                  </a:lnTo>
                  <a:lnTo>
                    <a:pt x="10350" y="0"/>
                  </a:lnTo>
                  <a:close/>
                </a:path>
              </a:pathLst>
            </a:custGeom>
            <a:solidFill>
              <a:srgbClr val="EF3D60">
                <a:alpha val="50999"/>
              </a:srgbClr>
            </a:solidFill>
          </p:spPr>
          <p:txBody>
            <a:bodyPr wrap="square" lIns="0" tIns="0" rIns="0" bIns="0" rtlCol="0"/>
            <a:lstStyle/>
            <a:p>
              <a:endParaRPr sz="2968"/>
            </a:p>
          </p:txBody>
        </p:sp>
        <p:sp>
          <p:nvSpPr>
            <p:cNvPr id="131" name="object 129">
              <a:extLst>
                <a:ext uri="{FF2B5EF4-FFF2-40B4-BE49-F238E27FC236}">
                  <a16:creationId xmlns:a16="http://schemas.microsoft.com/office/drawing/2014/main" id="{48C9F8F9-5346-6A42-810C-8D3A25083370}"/>
                </a:ext>
              </a:extLst>
            </p:cNvPr>
            <p:cNvSpPr/>
            <p:nvPr/>
          </p:nvSpPr>
          <p:spPr>
            <a:xfrm>
              <a:off x="11931835" y="3396047"/>
              <a:ext cx="1374775" cy="1538605"/>
            </a:xfrm>
            <a:custGeom>
              <a:avLst/>
              <a:gdLst/>
              <a:ahLst/>
              <a:cxnLst/>
              <a:rect l="l" t="t" r="r" b="b"/>
              <a:pathLst>
                <a:path w="1374775" h="1538604">
                  <a:moveTo>
                    <a:pt x="1362544" y="0"/>
                  </a:moveTo>
                  <a:lnTo>
                    <a:pt x="0" y="1538465"/>
                  </a:lnTo>
                  <a:lnTo>
                    <a:pt x="477405" y="1023353"/>
                  </a:lnTo>
                  <a:lnTo>
                    <a:pt x="1374432" y="10515"/>
                  </a:lnTo>
                  <a:lnTo>
                    <a:pt x="1369847" y="7772"/>
                  </a:lnTo>
                  <a:lnTo>
                    <a:pt x="1365821" y="4191"/>
                  </a:lnTo>
                  <a:lnTo>
                    <a:pt x="1362544" y="0"/>
                  </a:lnTo>
                  <a:close/>
                </a:path>
              </a:pathLst>
            </a:custGeom>
            <a:solidFill>
              <a:srgbClr val="EF3D60">
                <a:alpha val="50999"/>
              </a:srgbClr>
            </a:solidFill>
          </p:spPr>
          <p:txBody>
            <a:bodyPr wrap="square" lIns="0" tIns="0" rIns="0" bIns="0" rtlCol="0"/>
            <a:lstStyle/>
            <a:p>
              <a:endParaRPr sz="2968"/>
            </a:p>
          </p:txBody>
        </p:sp>
        <p:sp>
          <p:nvSpPr>
            <p:cNvPr id="132" name="object 130">
              <a:extLst>
                <a:ext uri="{FF2B5EF4-FFF2-40B4-BE49-F238E27FC236}">
                  <a16:creationId xmlns:a16="http://schemas.microsoft.com/office/drawing/2014/main" id="{B5817CEB-4B9A-F245-8269-D61099C30B7A}"/>
                </a:ext>
              </a:extLst>
            </p:cNvPr>
            <p:cNvSpPr/>
            <p:nvPr/>
          </p:nvSpPr>
          <p:spPr>
            <a:xfrm>
              <a:off x="11795435" y="4305698"/>
              <a:ext cx="62865" cy="387985"/>
            </a:xfrm>
            <a:custGeom>
              <a:avLst/>
              <a:gdLst/>
              <a:ahLst/>
              <a:cxnLst/>
              <a:rect l="l" t="t" r="r" b="b"/>
              <a:pathLst>
                <a:path w="62865" h="387985">
                  <a:moveTo>
                    <a:pt x="6540" y="0"/>
                  </a:moveTo>
                  <a:lnTo>
                    <a:pt x="4406" y="444"/>
                  </a:lnTo>
                  <a:lnTo>
                    <a:pt x="2222" y="736"/>
                  </a:lnTo>
                  <a:lnTo>
                    <a:pt x="0" y="850"/>
                  </a:lnTo>
                  <a:lnTo>
                    <a:pt x="62356" y="387438"/>
                  </a:lnTo>
                  <a:lnTo>
                    <a:pt x="6540" y="0"/>
                  </a:lnTo>
                  <a:close/>
                </a:path>
              </a:pathLst>
            </a:custGeom>
            <a:solidFill>
              <a:srgbClr val="EF3D60">
                <a:alpha val="50999"/>
              </a:srgbClr>
            </a:solidFill>
          </p:spPr>
          <p:txBody>
            <a:bodyPr wrap="square" lIns="0" tIns="0" rIns="0" bIns="0" rtlCol="0"/>
            <a:lstStyle/>
            <a:p>
              <a:endParaRPr sz="2968"/>
            </a:p>
          </p:txBody>
        </p:sp>
        <p:sp>
          <p:nvSpPr>
            <p:cNvPr id="133" name="object 131">
              <a:extLst>
                <a:ext uri="{FF2B5EF4-FFF2-40B4-BE49-F238E27FC236}">
                  <a16:creationId xmlns:a16="http://schemas.microsoft.com/office/drawing/2014/main" id="{B09DC091-C323-334D-A0BB-5673B1C1C0E0}"/>
                </a:ext>
              </a:extLst>
            </p:cNvPr>
            <p:cNvSpPr/>
            <p:nvPr/>
          </p:nvSpPr>
          <p:spPr>
            <a:xfrm>
              <a:off x="11931972" y="5001209"/>
              <a:ext cx="937260" cy="1022350"/>
            </a:xfrm>
            <a:custGeom>
              <a:avLst/>
              <a:gdLst/>
              <a:ahLst/>
              <a:cxnLst/>
              <a:rect l="l" t="t" r="r" b="b"/>
              <a:pathLst>
                <a:path w="937259" h="1022350">
                  <a:moveTo>
                    <a:pt x="9321" y="0"/>
                  </a:moveTo>
                  <a:lnTo>
                    <a:pt x="6654" y="3276"/>
                  </a:lnTo>
                  <a:lnTo>
                    <a:pt x="3505" y="6159"/>
                  </a:lnTo>
                  <a:lnTo>
                    <a:pt x="0" y="8521"/>
                  </a:lnTo>
                  <a:lnTo>
                    <a:pt x="927569" y="1022337"/>
                  </a:lnTo>
                  <a:lnTo>
                    <a:pt x="930236" y="1019060"/>
                  </a:lnTo>
                  <a:lnTo>
                    <a:pt x="933373" y="1016190"/>
                  </a:lnTo>
                  <a:lnTo>
                    <a:pt x="936866" y="1013815"/>
                  </a:lnTo>
                  <a:lnTo>
                    <a:pt x="9321" y="0"/>
                  </a:lnTo>
                  <a:close/>
                </a:path>
              </a:pathLst>
            </a:custGeom>
            <a:solidFill>
              <a:srgbClr val="EF3D60">
                <a:alpha val="50999"/>
              </a:srgbClr>
            </a:solidFill>
          </p:spPr>
          <p:txBody>
            <a:bodyPr wrap="square" lIns="0" tIns="0" rIns="0" bIns="0" rtlCol="0"/>
            <a:lstStyle/>
            <a:p>
              <a:endParaRPr sz="2968"/>
            </a:p>
          </p:txBody>
        </p:sp>
        <p:sp>
          <p:nvSpPr>
            <p:cNvPr id="134" name="object 132">
              <a:extLst>
                <a:ext uri="{FF2B5EF4-FFF2-40B4-BE49-F238E27FC236}">
                  <a16:creationId xmlns:a16="http://schemas.microsoft.com/office/drawing/2014/main" id="{3D3AC7A4-B6BE-BF40-A2ED-6F25CF38DC67}"/>
                </a:ext>
              </a:extLst>
            </p:cNvPr>
            <p:cNvSpPr/>
            <p:nvPr/>
          </p:nvSpPr>
          <p:spPr>
            <a:xfrm>
              <a:off x="11943084" y="3664763"/>
              <a:ext cx="1609725" cy="1289050"/>
            </a:xfrm>
            <a:custGeom>
              <a:avLst/>
              <a:gdLst/>
              <a:ahLst/>
              <a:cxnLst/>
              <a:rect l="l" t="t" r="r" b="b"/>
              <a:pathLst>
                <a:path w="1609725" h="1289050">
                  <a:moveTo>
                    <a:pt x="1599323" y="0"/>
                  </a:moveTo>
                  <a:lnTo>
                    <a:pt x="46405" y="1233817"/>
                  </a:lnTo>
                  <a:lnTo>
                    <a:pt x="0" y="1283893"/>
                  </a:lnTo>
                  <a:lnTo>
                    <a:pt x="1066" y="1285405"/>
                  </a:lnTo>
                  <a:lnTo>
                    <a:pt x="2044" y="1287005"/>
                  </a:lnTo>
                  <a:lnTo>
                    <a:pt x="2933" y="1288656"/>
                  </a:lnTo>
                  <a:lnTo>
                    <a:pt x="1609166" y="12382"/>
                  </a:lnTo>
                  <a:lnTo>
                    <a:pt x="1605178" y="8902"/>
                  </a:lnTo>
                  <a:lnTo>
                    <a:pt x="1601825" y="4711"/>
                  </a:lnTo>
                  <a:lnTo>
                    <a:pt x="1599323" y="0"/>
                  </a:lnTo>
                  <a:close/>
                </a:path>
              </a:pathLst>
            </a:custGeom>
            <a:solidFill>
              <a:srgbClr val="EF3D60">
                <a:alpha val="50999"/>
              </a:srgbClr>
            </a:solidFill>
          </p:spPr>
          <p:txBody>
            <a:bodyPr wrap="square" lIns="0" tIns="0" rIns="0" bIns="0" rtlCol="0"/>
            <a:lstStyle/>
            <a:p>
              <a:endParaRPr sz="2968"/>
            </a:p>
          </p:txBody>
        </p:sp>
        <p:sp>
          <p:nvSpPr>
            <p:cNvPr id="135" name="object 133">
              <a:extLst>
                <a:ext uri="{FF2B5EF4-FFF2-40B4-BE49-F238E27FC236}">
                  <a16:creationId xmlns:a16="http://schemas.microsoft.com/office/drawing/2014/main" id="{204C6DA6-857F-E847-AB88-492A057A52E2}"/>
                </a:ext>
              </a:extLst>
            </p:cNvPr>
            <p:cNvSpPr/>
            <p:nvPr/>
          </p:nvSpPr>
          <p:spPr>
            <a:xfrm>
              <a:off x="11909164" y="2446649"/>
              <a:ext cx="503555" cy="2484120"/>
            </a:xfrm>
            <a:custGeom>
              <a:avLst/>
              <a:gdLst/>
              <a:ahLst/>
              <a:cxnLst/>
              <a:rect l="l" t="t" r="r" b="b"/>
              <a:pathLst>
                <a:path w="503554" h="2484120">
                  <a:moveTo>
                    <a:pt x="485571" y="0"/>
                  </a:moveTo>
                  <a:lnTo>
                    <a:pt x="0" y="2472105"/>
                  </a:lnTo>
                  <a:lnTo>
                    <a:pt x="1689" y="2483815"/>
                  </a:lnTo>
                  <a:lnTo>
                    <a:pt x="2400" y="2483866"/>
                  </a:lnTo>
                  <a:lnTo>
                    <a:pt x="3797" y="2484018"/>
                  </a:lnTo>
                  <a:lnTo>
                    <a:pt x="38633" y="2369731"/>
                  </a:lnTo>
                  <a:lnTo>
                    <a:pt x="503402" y="3505"/>
                  </a:lnTo>
                  <a:lnTo>
                    <a:pt x="496608" y="3505"/>
                  </a:lnTo>
                  <a:lnTo>
                    <a:pt x="490829" y="2260"/>
                  </a:lnTo>
                  <a:lnTo>
                    <a:pt x="485571" y="0"/>
                  </a:lnTo>
                  <a:close/>
                </a:path>
              </a:pathLst>
            </a:custGeom>
            <a:solidFill>
              <a:srgbClr val="EF3D60">
                <a:alpha val="50999"/>
              </a:srgbClr>
            </a:solidFill>
          </p:spPr>
          <p:txBody>
            <a:bodyPr wrap="square" lIns="0" tIns="0" rIns="0" bIns="0" rtlCol="0"/>
            <a:lstStyle/>
            <a:p>
              <a:endParaRPr sz="2968"/>
            </a:p>
          </p:txBody>
        </p:sp>
        <p:sp>
          <p:nvSpPr>
            <p:cNvPr id="136" name="object 134">
              <a:extLst>
                <a:ext uri="{FF2B5EF4-FFF2-40B4-BE49-F238E27FC236}">
                  <a16:creationId xmlns:a16="http://schemas.microsoft.com/office/drawing/2014/main" id="{7D025ADA-DD7C-F84B-AA59-627B1964A148}"/>
                </a:ext>
              </a:extLst>
            </p:cNvPr>
            <p:cNvSpPr/>
            <p:nvPr/>
          </p:nvSpPr>
          <p:spPr>
            <a:xfrm>
              <a:off x="11929972" y="3119381"/>
              <a:ext cx="1697355" cy="1829435"/>
            </a:xfrm>
            <a:custGeom>
              <a:avLst/>
              <a:gdLst/>
              <a:ahLst/>
              <a:cxnLst/>
              <a:rect l="l" t="t" r="r" b="b"/>
              <a:pathLst>
                <a:path w="1697355" h="1829435">
                  <a:moveTo>
                    <a:pt x="1684134" y="0"/>
                  </a:moveTo>
                  <a:lnTo>
                    <a:pt x="1439887" y="263537"/>
                  </a:lnTo>
                  <a:lnTo>
                    <a:pt x="1436010" y="272067"/>
                  </a:lnTo>
                  <a:lnTo>
                    <a:pt x="1430461" y="279492"/>
                  </a:lnTo>
                  <a:lnTo>
                    <a:pt x="1423478" y="285569"/>
                  </a:lnTo>
                  <a:lnTo>
                    <a:pt x="1415300" y="290055"/>
                  </a:lnTo>
                  <a:lnTo>
                    <a:pt x="0" y="1817128"/>
                  </a:lnTo>
                  <a:lnTo>
                    <a:pt x="5168" y="1820240"/>
                  </a:lnTo>
                  <a:lnTo>
                    <a:pt x="9639" y="1824380"/>
                  </a:lnTo>
                  <a:lnTo>
                    <a:pt x="13106" y="1829282"/>
                  </a:lnTo>
                  <a:lnTo>
                    <a:pt x="1697240" y="12166"/>
                  </a:lnTo>
                  <a:lnTo>
                    <a:pt x="1692071" y="9055"/>
                  </a:lnTo>
                  <a:lnTo>
                    <a:pt x="1687614" y="4902"/>
                  </a:lnTo>
                  <a:lnTo>
                    <a:pt x="1684134" y="0"/>
                  </a:lnTo>
                  <a:close/>
                </a:path>
              </a:pathLst>
            </a:custGeom>
            <a:solidFill>
              <a:srgbClr val="EF3D60">
                <a:alpha val="50999"/>
              </a:srgbClr>
            </a:solidFill>
          </p:spPr>
          <p:txBody>
            <a:bodyPr wrap="square" lIns="0" tIns="0" rIns="0" bIns="0" rtlCol="0"/>
            <a:lstStyle/>
            <a:p>
              <a:endParaRPr sz="2968"/>
            </a:p>
          </p:txBody>
        </p:sp>
        <p:sp>
          <p:nvSpPr>
            <p:cNvPr id="137" name="object 135">
              <a:extLst>
                <a:ext uri="{FF2B5EF4-FFF2-40B4-BE49-F238E27FC236}">
                  <a16:creationId xmlns:a16="http://schemas.microsoft.com/office/drawing/2014/main" id="{FE6D3CF5-9E45-604A-B884-F454C07B44F7}"/>
                </a:ext>
              </a:extLst>
            </p:cNvPr>
            <p:cNvSpPr/>
            <p:nvPr/>
          </p:nvSpPr>
          <p:spPr>
            <a:xfrm>
              <a:off x="11912955" y="3133035"/>
              <a:ext cx="562610" cy="1802130"/>
            </a:xfrm>
            <a:custGeom>
              <a:avLst/>
              <a:gdLst/>
              <a:ahLst/>
              <a:cxnLst/>
              <a:rect l="l" t="t" r="r" b="b"/>
              <a:pathLst>
                <a:path w="562609" h="1802129">
                  <a:moveTo>
                    <a:pt x="547979" y="0"/>
                  </a:moveTo>
                  <a:lnTo>
                    <a:pt x="0" y="1797621"/>
                  </a:lnTo>
                  <a:lnTo>
                    <a:pt x="5118" y="1798256"/>
                  </a:lnTo>
                  <a:lnTo>
                    <a:pt x="9944" y="1799755"/>
                  </a:lnTo>
                  <a:lnTo>
                    <a:pt x="14363" y="1802002"/>
                  </a:lnTo>
                  <a:lnTo>
                    <a:pt x="562356" y="4368"/>
                  </a:lnTo>
                  <a:lnTo>
                    <a:pt x="557237" y="3746"/>
                  </a:lnTo>
                  <a:lnTo>
                    <a:pt x="552386" y="2235"/>
                  </a:lnTo>
                  <a:lnTo>
                    <a:pt x="547979" y="0"/>
                  </a:lnTo>
                  <a:close/>
                </a:path>
              </a:pathLst>
            </a:custGeom>
            <a:solidFill>
              <a:srgbClr val="EF3D60">
                <a:alpha val="50999"/>
              </a:srgbClr>
            </a:solidFill>
          </p:spPr>
          <p:txBody>
            <a:bodyPr wrap="square" lIns="0" tIns="0" rIns="0" bIns="0" rtlCol="0"/>
            <a:lstStyle/>
            <a:p>
              <a:endParaRPr sz="2968"/>
            </a:p>
          </p:txBody>
        </p:sp>
        <p:sp>
          <p:nvSpPr>
            <p:cNvPr id="138" name="object 136">
              <a:extLst>
                <a:ext uri="{FF2B5EF4-FFF2-40B4-BE49-F238E27FC236}">
                  <a16:creationId xmlns:a16="http://schemas.microsoft.com/office/drawing/2014/main" id="{CE9A2049-C9C7-EF4B-AD50-0DA04D358C0D}"/>
                </a:ext>
              </a:extLst>
            </p:cNvPr>
            <p:cNvSpPr/>
            <p:nvPr/>
          </p:nvSpPr>
          <p:spPr>
            <a:xfrm>
              <a:off x="10707636" y="2988914"/>
              <a:ext cx="1184910" cy="1953260"/>
            </a:xfrm>
            <a:custGeom>
              <a:avLst/>
              <a:gdLst/>
              <a:ahLst/>
              <a:cxnLst/>
              <a:rect l="l" t="t" r="r" b="b"/>
              <a:pathLst>
                <a:path w="1184909" h="1953260">
                  <a:moveTo>
                    <a:pt x="14452" y="0"/>
                  </a:moveTo>
                  <a:lnTo>
                    <a:pt x="10287" y="3784"/>
                  </a:lnTo>
                  <a:lnTo>
                    <a:pt x="5397" y="6769"/>
                  </a:lnTo>
                  <a:lnTo>
                    <a:pt x="0" y="8724"/>
                  </a:lnTo>
                  <a:lnTo>
                    <a:pt x="1170774" y="1952739"/>
                  </a:lnTo>
                  <a:lnTo>
                    <a:pt x="1174813" y="1949069"/>
                  </a:lnTo>
                  <a:lnTo>
                    <a:pt x="1179537" y="1946148"/>
                  </a:lnTo>
                  <a:lnTo>
                    <a:pt x="1184732" y="1944192"/>
                  </a:lnTo>
                  <a:lnTo>
                    <a:pt x="1184541" y="1942858"/>
                  </a:lnTo>
                  <a:lnTo>
                    <a:pt x="14452" y="0"/>
                  </a:lnTo>
                  <a:close/>
                </a:path>
              </a:pathLst>
            </a:custGeom>
            <a:solidFill>
              <a:srgbClr val="EF3D60">
                <a:alpha val="50999"/>
              </a:srgbClr>
            </a:solidFill>
          </p:spPr>
          <p:txBody>
            <a:bodyPr wrap="square" lIns="0" tIns="0" rIns="0" bIns="0" rtlCol="0"/>
            <a:lstStyle/>
            <a:p>
              <a:endParaRPr sz="2968"/>
            </a:p>
          </p:txBody>
        </p:sp>
        <p:sp>
          <p:nvSpPr>
            <p:cNvPr id="139" name="object 137">
              <a:extLst>
                <a:ext uri="{FF2B5EF4-FFF2-40B4-BE49-F238E27FC236}">
                  <a16:creationId xmlns:a16="http://schemas.microsoft.com/office/drawing/2014/main" id="{846F1F6C-7316-FB40-9709-9B1412E009E3}"/>
                </a:ext>
              </a:extLst>
            </p:cNvPr>
            <p:cNvSpPr/>
            <p:nvPr/>
          </p:nvSpPr>
          <p:spPr>
            <a:xfrm>
              <a:off x="11514805" y="2309848"/>
              <a:ext cx="396240" cy="2623820"/>
            </a:xfrm>
            <a:custGeom>
              <a:avLst/>
              <a:gdLst/>
              <a:ahLst/>
              <a:cxnLst/>
              <a:rect l="l" t="t" r="r" b="b"/>
              <a:pathLst>
                <a:path w="396240" h="2623820">
                  <a:moveTo>
                    <a:pt x="304863" y="1987638"/>
                  </a:moveTo>
                  <a:lnTo>
                    <a:pt x="299758" y="1991614"/>
                  </a:lnTo>
                  <a:lnTo>
                    <a:pt x="293738" y="1994471"/>
                  </a:lnTo>
                  <a:lnTo>
                    <a:pt x="287172" y="1995855"/>
                  </a:lnTo>
                  <a:lnTo>
                    <a:pt x="377558" y="2623261"/>
                  </a:lnTo>
                  <a:lnTo>
                    <a:pt x="382308" y="2621470"/>
                  </a:lnTo>
                  <a:lnTo>
                    <a:pt x="387464" y="2620492"/>
                  </a:lnTo>
                  <a:lnTo>
                    <a:pt x="396033" y="2620492"/>
                  </a:lnTo>
                  <a:lnTo>
                    <a:pt x="304863" y="1987638"/>
                  </a:lnTo>
                  <a:close/>
                </a:path>
                <a:path w="396240" h="2623820">
                  <a:moveTo>
                    <a:pt x="396033" y="2620492"/>
                  </a:moveTo>
                  <a:lnTo>
                    <a:pt x="393928" y="2620492"/>
                  </a:lnTo>
                  <a:lnTo>
                    <a:pt x="394995" y="2620530"/>
                  </a:lnTo>
                  <a:lnTo>
                    <a:pt x="396049" y="2620606"/>
                  </a:lnTo>
                  <a:close/>
                </a:path>
                <a:path w="396240" h="2623820">
                  <a:moveTo>
                    <a:pt x="293662" y="1909940"/>
                  </a:moveTo>
                  <a:lnTo>
                    <a:pt x="283819" y="1909940"/>
                  </a:lnTo>
                  <a:lnTo>
                    <a:pt x="289178" y="1911007"/>
                  </a:lnTo>
                  <a:lnTo>
                    <a:pt x="294093" y="1912937"/>
                  </a:lnTo>
                  <a:lnTo>
                    <a:pt x="293662" y="1909940"/>
                  </a:lnTo>
                  <a:close/>
                </a:path>
                <a:path w="396240" h="2623820">
                  <a:moveTo>
                    <a:pt x="0" y="2654"/>
                  </a:moveTo>
                  <a:lnTo>
                    <a:pt x="273862" y="1903564"/>
                  </a:lnTo>
                  <a:lnTo>
                    <a:pt x="274815" y="1910067"/>
                  </a:lnTo>
                  <a:lnTo>
                    <a:pt x="275932" y="1909991"/>
                  </a:lnTo>
                  <a:lnTo>
                    <a:pt x="277063" y="1909940"/>
                  </a:lnTo>
                  <a:lnTo>
                    <a:pt x="293662" y="1909940"/>
                  </a:lnTo>
                  <a:lnTo>
                    <a:pt x="18902" y="2768"/>
                  </a:lnTo>
                  <a:lnTo>
                    <a:pt x="2108" y="2768"/>
                  </a:lnTo>
                  <a:lnTo>
                    <a:pt x="1054" y="2730"/>
                  </a:lnTo>
                  <a:lnTo>
                    <a:pt x="0" y="2654"/>
                  </a:lnTo>
                  <a:close/>
                </a:path>
                <a:path w="396240" h="2623820">
                  <a:moveTo>
                    <a:pt x="18503" y="0"/>
                  </a:moveTo>
                  <a:lnTo>
                    <a:pt x="13728" y="1790"/>
                  </a:lnTo>
                  <a:lnTo>
                    <a:pt x="8572" y="2768"/>
                  </a:lnTo>
                  <a:lnTo>
                    <a:pt x="18902" y="2768"/>
                  </a:lnTo>
                  <a:lnTo>
                    <a:pt x="18503" y="0"/>
                  </a:lnTo>
                  <a:close/>
                </a:path>
              </a:pathLst>
            </a:custGeom>
            <a:solidFill>
              <a:srgbClr val="EF3D60">
                <a:alpha val="50999"/>
              </a:srgbClr>
            </a:solidFill>
          </p:spPr>
          <p:txBody>
            <a:bodyPr wrap="square" lIns="0" tIns="0" rIns="0" bIns="0" rtlCol="0"/>
            <a:lstStyle/>
            <a:p>
              <a:endParaRPr sz="2968"/>
            </a:p>
          </p:txBody>
        </p:sp>
        <p:sp>
          <p:nvSpPr>
            <p:cNvPr id="140" name="object 138">
              <a:extLst>
                <a:ext uri="{FF2B5EF4-FFF2-40B4-BE49-F238E27FC236}">
                  <a16:creationId xmlns:a16="http://schemas.microsoft.com/office/drawing/2014/main" id="{F95ABDDD-A979-D146-A393-C3CAF85F9510}"/>
                </a:ext>
              </a:extLst>
            </p:cNvPr>
            <p:cNvSpPr/>
            <p:nvPr/>
          </p:nvSpPr>
          <p:spPr>
            <a:xfrm>
              <a:off x="10802766" y="4747482"/>
              <a:ext cx="1064260" cy="223520"/>
            </a:xfrm>
            <a:custGeom>
              <a:avLst/>
              <a:gdLst/>
              <a:ahLst/>
              <a:cxnLst/>
              <a:rect l="l" t="t" r="r" b="b"/>
              <a:pathLst>
                <a:path w="1064259" h="223520">
                  <a:moveTo>
                    <a:pt x="2197" y="0"/>
                  </a:moveTo>
                  <a:lnTo>
                    <a:pt x="1943" y="3822"/>
                  </a:lnTo>
                  <a:lnTo>
                    <a:pt x="1193" y="7518"/>
                  </a:lnTo>
                  <a:lnTo>
                    <a:pt x="0" y="11010"/>
                  </a:lnTo>
                  <a:lnTo>
                    <a:pt x="1061567" y="223342"/>
                  </a:lnTo>
                  <a:lnTo>
                    <a:pt x="1061821" y="219519"/>
                  </a:lnTo>
                  <a:lnTo>
                    <a:pt x="1062570" y="215823"/>
                  </a:lnTo>
                  <a:lnTo>
                    <a:pt x="1063752" y="212331"/>
                  </a:lnTo>
                  <a:lnTo>
                    <a:pt x="2197" y="0"/>
                  </a:lnTo>
                  <a:close/>
                </a:path>
              </a:pathLst>
            </a:custGeom>
            <a:solidFill>
              <a:srgbClr val="EF3D60">
                <a:alpha val="50999"/>
              </a:srgbClr>
            </a:solidFill>
          </p:spPr>
          <p:txBody>
            <a:bodyPr wrap="square" lIns="0" tIns="0" rIns="0" bIns="0" rtlCol="0"/>
            <a:lstStyle/>
            <a:p>
              <a:endParaRPr sz="2968"/>
            </a:p>
          </p:txBody>
        </p:sp>
        <p:sp>
          <p:nvSpPr>
            <p:cNvPr id="141" name="object 139">
              <a:extLst>
                <a:ext uri="{FF2B5EF4-FFF2-40B4-BE49-F238E27FC236}">
                  <a16:creationId xmlns:a16="http://schemas.microsoft.com/office/drawing/2014/main" id="{4023F09F-9659-A04F-B0B1-2E71A3576545}"/>
                </a:ext>
              </a:extLst>
            </p:cNvPr>
            <p:cNvSpPr/>
            <p:nvPr/>
          </p:nvSpPr>
          <p:spPr>
            <a:xfrm>
              <a:off x="404266" y="5297036"/>
              <a:ext cx="86855" cy="86829"/>
            </a:xfrm>
            <a:prstGeom prst="rect">
              <a:avLst/>
            </a:prstGeom>
            <a:blipFill>
              <a:blip r:embed="rId3" cstate="print"/>
              <a:stretch>
                <a:fillRect/>
              </a:stretch>
            </a:blipFill>
          </p:spPr>
          <p:txBody>
            <a:bodyPr wrap="square" lIns="0" tIns="0" rIns="0" bIns="0" rtlCol="0"/>
            <a:lstStyle/>
            <a:p>
              <a:endParaRPr sz="2968"/>
            </a:p>
          </p:txBody>
        </p:sp>
        <p:sp>
          <p:nvSpPr>
            <p:cNvPr id="142" name="object 140">
              <a:extLst>
                <a:ext uri="{FF2B5EF4-FFF2-40B4-BE49-F238E27FC236}">
                  <a16:creationId xmlns:a16="http://schemas.microsoft.com/office/drawing/2014/main" id="{92A24C4B-406C-174D-A462-25823AE06CE1}"/>
                </a:ext>
              </a:extLst>
            </p:cNvPr>
            <p:cNvSpPr/>
            <p:nvPr/>
          </p:nvSpPr>
          <p:spPr>
            <a:xfrm>
              <a:off x="1871206" y="5480423"/>
              <a:ext cx="86842" cy="86829"/>
            </a:xfrm>
            <a:prstGeom prst="rect">
              <a:avLst/>
            </a:prstGeom>
            <a:blipFill>
              <a:blip r:embed="rId4" cstate="print"/>
              <a:stretch>
                <a:fillRect/>
              </a:stretch>
            </a:blipFill>
          </p:spPr>
          <p:txBody>
            <a:bodyPr wrap="square" lIns="0" tIns="0" rIns="0" bIns="0" rtlCol="0"/>
            <a:lstStyle/>
            <a:p>
              <a:endParaRPr sz="2968"/>
            </a:p>
          </p:txBody>
        </p:sp>
        <p:sp>
          <p:nvSpPr>
            <p:cNvPr id="143" name="object 141">
              <a:extLst>
                <a:ext uri="{FF2B5EF4-FFF2-40B4-BE49-F238E27FC236}">
                  <a16:creationId xmlns:a16="http://schemas.microsoft.com/office/drawing/2014/main" id="{C771624B-1E36-2C4D-B31D-793B7FBC6A14}"/>
                </a:ext>
              </a:extLst>
            </p:cNvPr>
            <p:cNvSpPr/>
            <p:nvPr/>
          </p:nvSpPr>
          <p:spPr>
            <a:xfrm>
              <a:off x="771050" y="4563622"/>
              <a:ext cx="86842" cy="86829"/>
            </a:xfrm>
            <a:prstGeom prst="rect">
              <a:avLst/>
            </a:prstGeom>
            <a:blipFill>
              <a:blip r:embed="rId5" cstate="print"/>
              <a:stretch>
                <a:fillRect/>
              </a:stretch>
            </a:blipFill>
          </p:spPr>
          <p:txBody>
            <a:bodyPr wrap="square" lIns="0" tIns="0" rIns="0" bIns="0" rtlCol="0"/>
            <a:lstStyle/>
            <a:p>
              <a:endParaRPr sz="2968"/>
            </a:p>
          </p:txBody>
        </p:sp>
        <p:sp>
          <p:nvSpPr>
            <p:cNvPr id="144" name="object 142">
              <a:extLst>
                <a:ext uri="{FF2B5EF4-FFF2-40B4-BE49-F238E27FC236}">
                  <a16:creationId xmlns:a16="http://schemas.microsoft.com/office/drawing/2014/main" id="{49936E75-CDCE-224E-BC77-E4727748A3B8}"/>
                </a:ext>
              </a:extLst>
            </p:cNvPr>
            <p:cNvSpPr/>
            <p:nvPr/>
          </p:nvSpPr>
          <p:spPr>
            <a:xfrm>
              <a:off x="3292170" y="5572064"/>
              <a:ext cx="86842" cy="86829"/>
            </a:xfrm>
            <a:prstGeom prst="rect">
              <a:avLst/>
            </a:prstGeom>
            <a:blipFill>
              <a:blip r:embed="rId6" cstate="print"/>
              <a:stretch>
                <a:fillRect/>
              </a:stretch>
            </a:blipFill>
          </p:spPr>
          <p:txBody>
            <a:bodyPr wrap="square" lIns="0" tIns="0" rIns="0" bIns="0" rtlCol="0"/>
            <a:lstStyle/>
            <a:p>
              <a:endParaRPr sz="2968"/>
            </a:p>
          </p:txBody>
        </p:sp>
        <p:sp>
          <p:nvSpPr>
            <p:cNvPr id="145" name="object 143">
              <a:extLst>
                <a:ext uri="{FF2B5EF4-FFF2-40B4-BE49-F238E27FC236}">
                  <a16:creationId xmlns:a16="http://schemas.microsoft.com/office/drawing/2014/main" id="{E53DF25D-ECC2-8043-8344-30D487A93740}"/>
                </a:ext>
              </a:extLst>
            </p:cNvPr>
            <p:cNvSpPr/>
            <p:nvPr/>
          </p:nvSpPr>
          <p:spPr>
            <a:xfrm>
              <a:off x="4621539" y="3371794"/>
              <a:ext cx="86842" cy="86829"/>
            </a:xfrm>
            <a:prstGeom prst="rect">
              <a:avLst/>
            </a:prstGeom>
            <a:blipFill>
              <a:blip r:embed="rId7" cstate="print"/>
              <a:stretch>
                <a:fillRect/>
              </a:stretch>
            </a:blipFill>
          </p:spPr>
          <p:txBody>
            <a:bodyPr wrap="square" lIns="0" tIns="0" rIns="0" bIns="0" rtlCol="0"/>
            <a:lstStyle/>
            <a:p>
              <a:endParaRPr sz="2968"/>
            </a:p>
          </p:txBody>
        </p:sp>
        <p:sp>
          <p:nvSpPr>
            <p:cNvPr id="146" name="object 144">
              <a:extLst>
                <a:ext uri="{FF2B5EF4-FFF2-40B4-BE49-F238E27FC236}">
                  <a16:creationId xmlns:a16="http://schemas.microsoft.com/office/drawing/2014/main" id="{23593EB5-8751-324A-97C9-8877287CAAF8}"/>
                </a:ext>
              </a:extLst>
            </p:cNvPr>
            <p:cNvSpPr/>
            <p:nvPr/>
          </p:nvSpPr>
          <p:spPr>
            <a:xfrm>
              <a:off x="3383864" y="4426083"/>
              <a:ext cx="86842" cy="86829"/>
            </a:xfrm>
            <a:prstGeom prst="rect">
              <a:avLst/>
            </a:prstGeom>
            <a:blipFill>
              <a:blip r:embed="rId8" cstate="print"/>
              <a:stretch>
                <a:fillRect/>
              </a:stretch>
            </a:blipFill>
          </p:spPr>
          <p:txBody>
            <a:bodyPr wrap="square" lIns="0" tIns="0" rIns="0" bIns="0" rtlCol="0"/>
            <a:lstStyle/>
            <a:p>
              <a:endParaRPr sz="2968"/>
            </a:p>
          </p:txBody>
        </p:sp>
        <p:sp>
          <p:nvSpPr>
            <p:cNvPr id="147" name="object 145">
              <a:extLst>
                <a:ext uri="{FF2B5EF4-FFF2-40B4-BE49-F238E27FC236}">
                  <a16:creationId xmlns:a16="http://schemas.microsoft.com/office/drawing/2014/main" id="{39841799-B685-EB41-8F4D-305517E45EE4}"/>
                </a:ext>
              </a:extLst>
            </p:cNvPr>
            <p:cNvSpPr/>
            <p:nvPr/>
          </p:nvSpPr>
          <p:spPr>
            <a:xfrm>
              <a:off x="2192088" y="4426083"/>
              <a:ext cx="86842" cy="86829"/>
            </a:xfrm>
            <a:prstGeom prst="rect">
              <a:avLst/>
            </a:prstGeom>
            <a:blipFill>
              <a:blip r:embed="rId9" cstate="print"/>
              <a:stretch>
                <a:fillRect/>
              </a:stretch>
            </a:blipFill>
          </p:spPr>
          <p:txBody>
            <a:bodyPr wrap="square" lIns="0" tIns="0" rIns="0" bIns="0" rtlCol="0"/>
            <a:lstStyle/>
            <a:p>
              <a:endParaRPr sz="2968"/>
            </a:p>
          </p:txBody>
        </p:sp>
        <p:sp>
          <p:nvSpPr>
            <p:cNvPr id="148" name="object 146">
              <a:extLst>
                <a:ext uri="{FF2B5EF4-FFF2-40B4-BE49-F238E27FC236}">
                  <a16:creationId xmlns:a16="http://schemas.microsoft.com/office/drawing/2014/main" id="{92AEDBEE-070E-304F-8048-AA16796F0EA7}"/>
                </a:ext>
              </a:extLst>
            </p:cNvPr>
            <p:cNvSpPr/>
            <p:nvPr/>
          </p:nvSpPr>
          <p:spPr>
            <a:xfrm>
              <a:off x="4621539" y="5572064"/>
              <a:ext cx="86842" cy="86829"/>
            </a:xfrm>
            <a:prstGeom prst="rect">
              <a:avLst/>
            </a:prstGeom>
            <a:blipFill>
              <a:blip r:embed="rId10" cstate="print"/>
              <a:stretch>
                <a:fillRect/>
              </a:stretch>
            </a:blipFill>
          </p:spPr>
          <p:txBody>
            <a:bodyPr wrap="square" lIns="0" tIns="0" rIns="0" bIns="0" rtlCol="0"/>
            <a:lstStyle/>
            <a:p>
              <a:endParaRPr sz="2968"/>
            </a:p>
          </p:txBody>
        </p:sp>
        <p:sp>
          <p:nvSpPr>
            <p:cNvPr id="149" name="object 147">
              <a:extLst>
                <a:ext uri="{FF2B5EF4-FFF2-40B4-BE49-F238E27FC236}">
                  <a16:creationId xmlns:a16="http://schemas.microsoft.com/office/drawing/2014/main" id="{AC7AF37A-A32F-6D48-B9D4-6398A0AF5326}"/>
                </a:ext>
              </a:extLst>
            </p:cNvPr>
            <p:cNvSpPr/>
            <p:nvPr/>
          </p:nvSpPr>
          <p:spPr>
            <a:xfrm>
              <a:off x="4438181" y="4288567"/>
              <a:ext cx="86855" cy="86829"/>
            </a:xfrm>
            <a:prstGeom prst="rect">
              <a:avLst/>
            </a:prstGeom>
            <a:blipFill>
              <a:blip r:embed="rId5" cstate="print"/>
              <a:stretch>
                <a:fillRect/>
              </a:stretch>
            </a:blipFill>
          </p:spPr>
          <p:txBody>
            <a:bodyPr wrap="square" lIns="0" tIns="0" rIns="0" bIns="0" rtlCol="0"/>
            <a:lstStyle/>
            <a:p>
              <a:endParaRPr sz="2968"/>
            </a:p>
          </p:txBody>
        </p:sp>
        <p:sp>
          <p:nvSpPr>
            <p:cNvPr id="150" name="object 148">
              <a:extLst>
                <a:ext uri="{FF2B5EF4-FFF2-40B4-BE49-F238E27FC236}">
                  <a16:creationId xmlns:a16="http://schemas.microsoft.com/office/drawing/2014/main" id="{2E52238F-EDB0-6D49-B694-CD8FB24CB70A}"/>
                </a:ext>
              </a:extLst>
            </p:cNvPr>
            <p:cNvSpPr/>
            <p:nvPr/>
          </p:nvSpPr>
          <p:spPr>
            <a:xfrm>
              <a:off x="4300688" y="3967669"/>
              <a:ext cx="86842" cy="86829"/>
            </a:xfrm>
            <a:prstGeom prst="rect">
              <a:avLst/>
            </a:prstGeom>
            <a:blipFill>
              <a:blip r:embed="rId11" cstate="print"/>
              <a:stretch>
                <a:fillRect/>
              </a:stretch>
            </a:blipFill>
          </p:spPr>
          <p:txBody>
            <a:bodyPr wrap="square" lIns="0" tIns="0" rIns="0" bIns="0" rtlCol="0"/>
            <a:lstStyle/>
            <a:p>
              <a:endParaRPr sz="2968"/>
            </a:p>
          </p:txBody>
        </p:sp>
        <p:sp>
          <p:nvSpPr>
            <p:cNvPr id="151" name="object 149">
              <a:extLst>
                <a:ext uri="{FF2B5EF4-FFF2-40B4-BE49-F238E27FC236}">
                  <a16:creationId xmlns:a16="http://schemas.microsoft.com/office/drawing/2014/main" id="{7AA1BCB2-3CB1-C24E-9974-5C805A7C33C6}"/>
                </a:ext>
              </a:extLst>
            </p:cNvPr>
            <p:cNvSpPr/>
            <p:nvPr/>
          </p:nvSpPr>
          <p:spPr>
            <a:xfrm>
              <a:off x="6455115" y="5572064"/>
              <a:ext cx="86842" cy="86829"/>
            </a:xfrm>
            <a:prstGeom prst="rect">
              <a:avLst/>
            </a:prstGeom>
            <a:blipFill>
              <a:blip r:embed="rId12" cstate="print"/>
              <a:stretch>
                <a:fillRect/>
              </a:stretch>
            </a:blipFill>
          </p:spPr>
          <p:txBody>
            <a:bodyPr wrap="square" lIns="0" tIns="0" rIns="0" bIns="0" rtlCol="0"/>
            <a:lstStyle/>
            <a:p>
              <a:endParaRPr sz="2968"/>
            </a:p>
          </p:txBody>
        </p:sp>
        <p:sp>
          <p:nvSpPr>
            <p:cNvPr id="152" name="object 150">
              <a:extLst>
                <a:ext uri="{FF2B5EF4-FFF2-40B4-BE49-F238E27FC236}">
                  <a16:creationId xmlns:a16="http://schemas.microsoft.com/office/drawing/2014/main" id="{1352DFD0-C6E9-D74D-B7E6-51F82FD307DD}"/>
                </a:ext>
              </a:extLst>
            </p:cNvPr>
            <p:cNvSpPr/>
            <p:nvPr/>
          </p:nvSpPr>
          <p:spPr>
            <a:xfrm>
              <a:off x="6776041" y="5113680"/>
              <a:ext cx="86855" cy="86829"/>
            </a:xfrm>
            <a:prstGeom prst="rect">
              <a:avLst/>
            </a:prstGeom>
            <a:blipFill>
              <a:blip r:embed="rId13" cstate="print"/>
              <a:stretch>
                <a:fillRect/>
              </a:stretch>
            </a:blipFill>
          </p:spPr>
          <p:txBody>
            <a:bodyPr wrap="square" lIns="0" tIns="0" rIns="0" bIns="0" rtlCol="0"/>
            <a:lstStyle/>
            <a:p>
              <a:endParaRPr sz="2968"/>
            </a:p>
          </p:txBody>
        </p:sp>
        <p:sp>
          <p:nvSpPr>
            <p:cNvPr id="153" name="object 151">
              <a:extLst>
                <a:ext uri="{FF2B5EF4-FFF2-40B4-BE49-F238E27FC236}">
                  <a16:creationId xmlns:a16="http://schemas.microsoft.com/office/drawing/2014/main" id="{45DBF576-EFE7-584A-9AD9-FA938A393DBC}"/>
                </a:ext>
              </a:extLst>
            </p:cNvPr>
            <p:cNvSpPr/>
            <p:nvPr/>
          </p:nvSpPr>
          <p:spPr>
            <a:xfrm>
              <a:off x="5446699" y="4151030"/>
              <a:ext cx="86842" cy="86829"/>
            </a:xfrm>
            <a:prstGeom prst="rect">
              <a:avLst/>
            </a:prstGeom>
            <a:blipFill>
              <a:blip r:embed="rId14" cstate="print"/>
              <a:stretch>
                <a:fillRect/>
              </a:stretch>
            </a:blipFill>
          </p:spPr>
          <p:txBody>
            <a:bodyPr wrap="square" lIns="0" tIns="0" rIns="0" bIns="0" rtlCol="0"/>
            <a:lstStyle/>
            <a:p>
              <a:endParaRPr sz="2968"/>
            </a:p>
          </p:txBody>
        </p:sp>
        <p:sp>
          <p:nvSpPr>
            <p:cNvPr id="154" name="object 152">
              <a:extLst>
                <a:ext uri="{FF2B5EF4-FFF2-40B4-BE49-F238E27FC236}">
                  <a16:creationId xmlns:a16="http://schemas.microsoft.com/office/drawing/2014/main" id="{3BE204FC-6419-364F-945D-C1B6BC42BED3}"/>
                </a:ext>
              </a:extLst>
            </p:cNvPr>
            <p:cNvSpPr/>
            <p:nvPr/>
          </p:nvSpPr>
          <p:spPr>
            <a:xfrm>
              <a:off x="6867662" y="4059340"/>
              <a:ext cx="86842" cy="86829"/>
            </a:xfrm>
            <a:prstGeom prst="rect">
              <a:avLst/>
            </a:prstGeom>
            <a:blipFill>
              <a:blip r:embed="rId5" cstate="print"/>
              <a:stretch>
                <a:fillRect/>
              </a:stretch>
            </a:blipFill>
          </p:spPr>
          <p:txBody>
            <a:bodyPr wrap="square" lIns="0" tIns="0" rIns="0" bIns="0" rtlCol="0"/>
            <a:lstStyle/>
            <a:p>
              <a:endParaRPr sz="2968"/>
            </a:p>
          </p:txBody>
        </p:sp>
        <p:sp>
          <p:nvSpPr>
            <p:cNvPr id="155" name="object 153">
              <a:extLst>
                <a:ext uri="{FF2B5EF4-FFF2-40B4-BE49-F238E27FC236}">
                  <a16:creationId xmlns:a16="http://schemas.microsoft.com/office/drawing/2014/main" id="{63AB7D36-FB04-FE42-938C-66B028AC0FC5}"/>
                </a:ext>
              </a:extLst>
            </p:cNvPr>
            <p:cNvSpPr/>
            <p:nvPr/>
          </p:nvSpPr>
          <p:spPr>
            <a:xfrm>
              <a:off x="5675805" y="4196852"/>
              <a:ext cx="86842" cy="86829"/>
            </a:xfrm>
            <a:prstGeom prst="rect">
              <a:avLst/>
            </a:prstGeom>
            <a:blipFill>
              <a:blip r:embed="rId5" cstate="print"/>
              <a:stretch>
                <a:fillRect/>
              </a:stretch>
            </a:blipFill>
          </p:spPr>
          <p:txBody>
            <a:bodyPr wrap="square" lIns="0" tIns="0" rIns="0" bIns="0" rtlCol="0"/>
            <a:lstStyle/>
            <a:p>
              <a:endParaRPr sz="2968"/>
            </a:p>
          </p:txBody>
        </p:sp>
        <p:sp>
          <p:nvSpPr>
            <p:cNvPr id="156" name="object 154">
              <a:extLst>
                <a:ext uri="{FF2B5EF4-FFF2-40B4-BE49-F238E27FC236}">
                  <a16:creationId xmlns:a16="http://schemas.microsoft.com/office/drawing/2014/main" id="{3DEFD01B-6507-AB49-A1F9-67149B247FB4}"/>
                </a:ext>
              </a:extLst>
            </p:cNvPr>
            <p:cNvSpPr/>
            <p:nvPr/>
          </p:nvSpPr>
          <p:spPr>
            <a:xfrm>
              <a:off x="7784486" y="5434552"/>
              <a:ext cx="86842" cy="86829"/>
            </a:xfrm>
            <a:prstGeom prst="rect">
              <a:avLst/>
            </a:prstGeom>
            <a:blipFill>
              <a:blip r:embed="rId15" cstate="print"/>
              <a:stretch>
                <a:fillRect/>
              </a:stretch>
            </a:blipFill>
          </p:spPr>
          <p:txBody>
            <a:bodyPr wrap="square" lIns="0" tIns="0" rIns="0" bIns="0" rtlCol="0"/>
            <a:lstStyle/>
            <a:p>
              <a:endParaRPr sz="2968"/>
            </a:p>
          </p:txBody>
        </p:sp>
        <p:sp>
          <p:nvSpPr>
            <p:cNvPr id="157" name="object 155">
              <a:extLst>
                <a:ext uri="{FF2B5EF4-FFF2-40B4-BE49-F238E27FC236}">
                  <a16:creationId xmlns:a16="http://schemas.microsoft.com/office/drawing/2014/main" id="{3B0E0D49-07F4-404B-A979-599D7AF2369F}"/>
                </a:ext>
              </a:extLst>
            </p:cNvPr>
            <p:cNvSpPr/>
            <p:nvPr/>
          </p:nvSpPr>
          <p:spPr>
            <a:xfrm>
              <a:off x="8059511" y="5892963"/>
              <a:ext cx="86842" cy="86829"/>
            </a:xfrm>
            <a:prstGeom prst="rect">
              <a:avLst/>
            </a:prstGeom>
            <a:blipFill>
              <a:blip r:embed="rId16" cstate="print"/>
              <a:stretch>
                <a:fillRect/>
              </a:stretch>
            </a:blipFill>
          </p:spPr>
          <p:txBody>
            <a:bodyPr wrap="square" lIns="0" tIns="0" rIns="0" bIns="0" rtlCol="0"/>
            <a:lstStyle/>
            <a:p>
              <a:endParaRPr sz="2968"/>
            </a:p>
          </p:txBody>
        </p:sp>
        <p:sp>
          <p:nvSpPr>
            <p:cNvPr id="158" name="object 156">
              <a:extLst>
                <a:ext uri="{FF2B5EF4-FFF2-40B4-BE49-F238E27FC236}">
                  <a16:creationId xmlns:a16="http://schemas.microsoft.com/office/drawing/2014/main" id="{28C9ADB6-E938-384E-B543-B13628A64F21}"/>
                </a:ext>
              </a:extLst>
            </p:cNvPr>
            <p:cNvSpPr/>
            <p:nvPr/>
          </p:nvSpPr>
          <p:spPr>
            <a:xfrm>
              <a:off x="7967819" y="3967669"/>
              <a:ext cx="86842" cy="86829"/>
            </a:xfrm>
            <a:prstGeom prst="rect">
              <a:avLst/>
            </a:prstGeom>
            <a:blipFill>
              <a:blip r:embed="rId5" cstate="print"/>
              <a:stretch>
                <a:fillRect/>
              </a:stretch>
            </a:blipFill>
          </p:spPr>
          <p:txBody>
            <a:bodyPr wrap="square" lIns="0" tIns="0" rIns="0" bIns="0" rtlCol="0"/>
            <a:lstStyle/>
            <a:p>
              <a:endParaRPr sz="2968"/>
            </a:p>
          </p:txBody>
        </p:sp>
        <p:sp>
          <p:nvSpPr>
            <p:cNvPr id="159" name="object 157">
              <a:extLst>
                <a:ext uri="{FF2B5EF4-FFF2-40B4-BE49-F238E27FC236}">
                  <a16:creationId xmlns:a16="http://schemas.microsoft.com/office/drawing/2014/main" id="{A6BEFEC3-860E-2541-A541-C074D98558CE}"/>
                </a:ext>
              </a:extLst>
            </p:cNvPr>
            <p:cNvSpPr/>
            <p:nvPr/>
          </p:nvSpPr>
          <p:spPr>
            <a:xfrm>
              <a:off x="9480547" y="2500815"/>
              <a:ext cx="86842" cy="86829"/>
            </a:xfrm>
            <a:prstGeom prst="rect">
              <a:avLst/>
            </a:prstGeom>
            <a:blipFill>
              <a:blip r:embed="rId17" cstate="print"/>
              <a:stretch>
                <a:fillRect/>
              </a:stretch>
            </a:blipFill>
          </p:spPr>
          <p:txBody>
            <a:bodyPr wrap="square" lIns="0" tIns="0" rIns="0" bIns="0" rtlCol="0"/>
            <a:lstStyle/>
            <a:p>
              <a:endParaRPr sz="2968"/>
            </a:p>
          </p:txBody>
        </p:sp>
        <p:sp>
          <p:nvSpPr>
            <p:cNvPr id="160" name="object 158">
              <a:extLst>
                <a:ext uri="{FF2B5EF4-FFF2-40B4-BE49-F238E27FC236}">
                  <a16:creationId xmlns:a16="http://schemas.microsoft.com/office/drawing/2014/main" id="{2D222E04-6A27-7949-AABC-B530F9E62F83}"/>
                </a:ext>
              </a:extLst>
            </p:cNvPr>
            <p:cNvSpPr/>
            <p:nvPr/>
          </p:nvSpPr>
          <p:spPr>
            <a:xfrm>
              <a:off x="8586679" y="2844623"/>
              <a:ext cx="86842" cy="86855"/>
            </a:xfrm>
            <a:prstGeom prst="rect">
              <a:avLst/>
            </a:prstGeom>
            <a:blipFill>
              <a:blip r:embed="rId8" cstate="print"/>
              <a:stretch>
                <a:fillRect/>
              </a:stretch>
            </a:blipFill>
          </p:spPr>
          <p:txBody>
            <a:bodyPr wrap="square" lIns="0" tIns="0" rIns="0" bIns="0" rtlCol="0"/>
            <a:lstStyle/>
            <a:p>
              <a:endParaRPr sz="2968"/>
            </a:p>
          </p:txBody>
        </p:sp>
        <p:sp>
          <p:nvSpPr>
            <p:cNvPr id="161" name="object 159">
              <a:extLst>
                <a:ext uri="{FF2B5EF4-FFF2-40B4-BE49-F238E27FC236}">
                  <a16:creationId xmlns:a16="http://schemas.microsoft.com/office/drawing/2014/main" id="{01409612-F2E9-9F44-B30A-C8CC99CCB4CC}"/>
                </a:ext>
              </a:extLst>
            </p:cNvPr>
            <p:cNvSpPr/>
            <p:nvPr/>
          </p:nvSpPr>
          <p:spPr>
            <a:xfrm>
              <a:off x="9297188" y="6351327"/>
              <a:ext cx="86842" cy="86829"/>
            </a:xfrm>
            <a:prstGeom prst="rect">
              <a:avLst/>
            </a:prstGeom>
            <a:blipFill>
              <a:blip r:embed="rId18" cstate="print"/>
              <a:stretch>
                <a:fillRect/>
              </a:stretch>
            </a:blipFill>
          </p:spPr>
          <p:txBody>
            <a:bodyPr wrap="square" lIns="0" tIns="0" rIns="0" bIns="0" rtlCol="0"/>
            <a:lstStyle/>
            <a:p>
              <a:endParaRPr sz="2968"/>
            </a:p>
          </p:txBody>
        </p:sp>
        <p:sp>
          <p:nvSpPr>
            <p:cNvPr id="162" name="object 160">
              <a:extLst>
                <a:ext uri="{FF2B5EF4-FFF2-40B4-BE49-F238E27FC236}">
                  <a16:creationId xmlns:a16="http://schemas.microsoft.com/office/drawing/2014/main" id="{3A89ABBB-7302-2B4F-A971-A2241EB61362}"/>
                </a:ext>
              </a:extLst>
            </p:cNvPr>
            <p:cNvSpPr/>
            <p:nvPr/>
          </p:nvSpPr>
          <p:spPr>
            <a:xfrm>
              <a:off x="9297188" y="3738511"/>
              <a:ext cx="86842" cy="86829"/>
            </a:xfrm>
            <a:prstGeom prst="rect">
              <a:avLst/>
            </a:prstGeom>
            <a:blipFill>
              <a:blip r:embed="rId5" cstate="print"/>
              <a:stretch>
                <a:fillRect/>
              </a:stretch>
            </a:blipFill>
          </p:spPr>
          <p:txBody>
            <a:bodyPr wrap="square" lIns="0" tIns="0" rIns="0" bIns="0" rtlCol="0"/>
            <a:lstStyle/>
            <a:p>
              <a:endParaRPr sz="2968"/>
            </a:p>
          </p:txBody>
        </p:sp>
        <p:sp>
          <p:nvSpPr>
            <p:cNvPr id="163" name="object 161">
              <a:extLst>
                <a:ext uri="{FF2B5EF4-FFF2-40B4-BE49-F238E27FC236}">
                  <a16:creationId xmlns:a16="http://schemas.microsoft.com/office/drawing/2014/main" id="{F3E31A3B-7198-2647-A7AB-09DDA6ED58B3}"/>
                </a:ext>
              </a:extLst>
            </p:cNvPr>
            <p:cNvSpPr/>
            <p:nvPr/>
          </p:nvSpPr>
          <p:spPr>
            <a:xfrm>
              <a:off x="9022166" y="3967669"/>
              <a:ext cx="86829" cy="86829"/>
            </a:xfrm>
            <a:prstGeom prst="rect">
              <a:avLst/>
            </a:prstGeom>
            <a:blipFill>
              <a:blip r:embed="rId19" cstate="print"/>
              <a:stretch>
                <a:fillRect/>
              </a:stretch>
            </a:blipFill>
          </p:spPr>
          <p:txBody>
            <a:bodyPr wrap="square" lIns="0" tIns="0" rIns="0" bIns="0" rtlCol="0"/>
            <a:lstStyle/>
            <a:p>
              <a:endParaRPr sz="2968"/>
            </a:p>
          </p:txBody>
        </p:sp>
        <p:sp>
          <p:nvSpPr>
            <p:cNvPr id="164" name="object 162">
              <a:extLst>
                <a:ext uri="{FF2B5EF4-FFF2-40B4-BE49-F238E27FC236}">
                  <a16:creationId xmlns:a16="http://schemas.microsoft.com/office/drawing/2014/main" id="{7D8F6708-416E-9B46-81D1-6D80B1E8CCAA}"/>
                </a:ext>
              </a:extLst>
            </p:cNvPr>
            <p:cNvSpPr/>
            <p:nvPr/>
          </p:nvSpPr>
          <p:spPr>
            <a:xfrm>
              <a:off x="8861686" y="6488843"/>
              <a:ext cx="86842" cy="86829"/>
            </a:xfrm>
            <a:prstGeom prst="rect">
              <a:avLst/>
            </a:prstGeom>
            <a:blipFill>
              <a:blip r:embed="rId20" cstate="print"/>
              <a:stretch>
                <a:fillRect/>
              </a:stretch>
            </a:blipFill>
          </p:spPr>
          <p:txBody>
            <a:bodyPr wrap="square" lIns="0" tIns="0" rIns="0" bIns="0" rtlCol="0"/>
            <a:lstStyle/>
            <a:p>
              <a:endParaRPr sz="2968"/>
            </a:p>
          </p:txBody>
        </p:sp>
        <p:sp>
          <p:nvSpPr>
            <p:cNvPr id="165" name="object 163">
              <a:extLst>
                <a:ext uri="{FF2B5EF4-FFF2-40B4-BE49-F238E27FC236}">
                  <a16:creationId xmlns:a16="http://schemas.microsoft.com/office/drawing/2014/main" id="{33D95EE2-5BD7-6B48-8CC7-4A553E7E4B80}"/>
                </a:ext>
              </a:extLst>
            </p:cNvPr>
            <p:cNvSpPr/>
            <p:nvPr/>
          </p:nvSpPr>
          <p:spPr>
            <a:xfrm>
              <a:off x="8036555" y="5251191"/>
              <a:ext cx="86842" cy="86829"/>
            </a:xfrm>
            <a:prstGeom prst="rect">
              <a:avLst/>
            </a:prstGeom>
            <a:blipFill>
              <a:blip r:embed="rId21" cstate="print"/>
              <a:stretch>
                <a:fillRect/>
              </a:stretch>
            </a:blipFill>
          </p:spPr>
          <p:txBody>
            <a:bodyPr wrap="square" lIns="0" tIns="0" rIns="0" bIns="0" rtlCol="0"/>
            <a:lstStyle/>
            <a:p>
              <a:endParaRPr sz="2968"/>
            </a:p>
          </p:txBody>
        </p:sp>
        <p:sp>
          <p:nvSpPr>
            <p:cNvPr id="166" name="object 164">
              <a:extLst>
                <a:ext uri="{FF2B5EF4-FFF2-40B4-BE49-F238E27FC236}">
                  <a16:creationId xmlns:a16="http://schemas.microsoft.com/office/drawing/2014/main" id="{2C9E5CFC-58EB-1543-82C5-DED2B92F3AC6}"/>
                </a:ext>
              </a:extLst>
            </p:cNvPr>
            <p:cNvSpPr/>
            <p:nvPr/>
          </p:nvSpPr>
          <p:spPr>
            <a:xfrm>
              <a:off x="8036555" y="4838646"/>
              <a:ext cx="86842" cy="86829"/>
            </a:xfrm>
            <a:prstGeom prst="rect">
              <a:avLst/>
            </a:prstGeom>
            <a:blipFill>
              <a:blip r:embed="rId22" cstate="print"/>
              <a:stretch>
                <a:fillRect/>
              </a:stretch>
            </a:blipFill>
          </p:spPr>
          <p:txBody>
            <a:bodyPr wrap="square" lIns="0" tIns="0" rIns="0" bIns="0" rtlCol="0"/>
            <a:lstStyle/>
            <a:p>
              <a:endParaRPr sz="2968"/>
            </a:p>
          </p:txBody>
        </p:sp>
        <p:sp>
          <p:nvSpPr>
            <p:cNvPr id="167" name="object 165">
              <a:extLst>
                <a:ext uri="{FF2B5EF4-FFF2-40B4-BE49-F238E27FC236}">
                  <a16:creationId xmlns:a16="http://schemas.microsoft.com/office/drawing/2014/main" id="{09725869-73A3-9B4A-9CED-AA900FE22FF5}"/>
                </a:ext>
              </a:extLst>
            </p:cNvPr>
            <p:cNvSpPr/>
            <p:nvPr/>
          </p:nvSpPr>
          <p:spPr>
            <a:xfrm>
              <a:off x="8174141" y="4701136"/>
              <a:ext cx="86842" cy="86829"/>
            </a:xfrm>
            <a:prstGeom prst="rect">
              <a:avLst/>
            </a:prstGeom>
            <a:blipFill>
              <a:blip r:embed="rId23" cstate="print"/>
              <a:stretch>
                <a:fillRect/>
              </a:stretch>
            </a:blipFill>
          </p:spPr>
          <p:txBody>
            <a:bodyPr wrap="square" lIns="0" tIns="0" rIns="0" bIns="0" rtlCol="0"/>
            <a:lstStyle/>
            <a:p>
              <a:endParaRPr sz="2968"/>
            </a:p>
          </p:txBody>
        </p:sp>
        <p:sp>
          <p:nvSpPr>
            <p:cNvPr id="168" name="object 166">
              <a:extLst>
                <a:ext uri="{FF2B5EF4-FFF2-40B4-BE49-F238E27FC236}">
                  <a16:creationId xmlns:a16="http://schemas.microsoft.com/office/drawing/2014/main" id="{3F0A50C9-04F3-824C-8B5F-3491C0C39302}"/>
                </a:ext>
              </a:extLst>
            </p:cNvPr>
            <p:cNvSpPr/>
            <p:nvPr/>
          </p:nvSpPr>
          <p:spPr>
            <a:xfrm>
              <a:off x="8655462" y="5251191"/>
              <a:ext cx="86842" cy="86829"/>
            </a:xfrm>
            <a:prstGeom prst="rect">
              <a:avLst/>
            </a:prstGeom>
            <a:blipFill>
              <a:blip r:embed="rId24" cstate="print"/>
              <a:stretch>
                <a:fillRect/>
              </a:stretch>
            </a:blipFill>
          </p:spPr>
          <p:txBody>
            <a:bodyPr wrap="square" lIns="0" tIns="0" rIns="0" bIns="0" rtlCol="0"/>
            <a:lstStyle/>
            <a:p>
              <a:endParaRPr sz="2968"/>
            </a:p>
          </p:txBody>
        </p:sp>
        <p:sp>
          <p:nvSpPr>
            <p:cNvPr id="169" name="object 167">
              <a:extLst>
                <a:ext uri="{FF2B5EF4-FFF2-40B4-BE49-F238E27FC236}">
                  <a16:creationId xmlns:a16="http://schemas.microsoft.com/office/drawing/2014/main" id="{AA7885E8-8C5D-0B48-8DE8-2FA02802F4F3}"/>
                </a:ext>
              </a:extLst>
            </p:cNvPr>
            <p:cNvSpPr/>
            <p:nvPr/>
          </p:nvSpPr>
          <p:spPr>
            <a:xfrm>
              <a:off x="9755571" y="6970163"/>
              <a:ext cx="155627" cy="155637"/>
            </a:xfrm>
            <a:prstGeom prst="rect">
              <a:avLst/>
            </a:prstGeom>
            <a:blipFill>
              <a:blip r:embed="rId25" cstate="print"/>
              <a:stretch>
                <a:fillRect/>
              </a:stretch>
            </a:blipFill>
          </p:spPr>
          <p:txBody>
            <a:bodyPr wrap="square" lIns="0" tIns="0" rIns="0" bIns="0" rtlCol="0"/>
            <a:lstStyle/>
            <a:p>
              <a:endParaRPr sz="2968"/>
            </a:p>
          </p:txBody>
        </p:sp>
        <p:sp>
          <p:nvSpPr>
            <p:cNvPr id="170" name="object 168">
              <a:extLst>
                <a:ext uri="{FF2B5EF4-FFF2-40B4-BE49-F238E27FC236}">
                  <a16:creationId xmlns:a16="http://schemas.microsoft.com/office/drawing/2014/main" id="{8B1DC149-0E84-F14D-A7E8-D30ED244E3D8}"/>
                </a:ext>
              </a:extLst>
            </p:cNvPr>
            <p:cNvSpPr/>
            <p:nvPr/>
          </p:nvSpPr>
          <p:spPr>
            <a:xfrm>
              <a:off x="10718225" y="5021985"/>
              <a:ext cx="86842" cy="86829"/>
            </a:xfrm>
            <a:prstGeom prst="rect">
              <a:avLst/>
            </a:prstGeom>
            <a:blipFill>
              <a:blip r:embed="rId5" cstate="print"/>
              <a:stretch>
                <a:fillRect/>
              </a:stretch>
            </a:blipFill>
          </p:spPr>
          <p:txBody>
            <a:bodyPr wrap="square" lIns="0" tIns="0" rIns="0" bIns="0" rtlCol="0"/>
            <a:lstStyle/>
            <a:p>
              <a:endParaRPr sz="2968"/>
            </a:p>
          </p:txBody>
        </p:sp>
        <p:sp>
          <p:nvSpPr>
            <p:cNvPr id="171" name="object 169">
              <a:extLst>
                <a:ext uri="{FF2B5EF4-FFF2-40B4-BE49-F238E27FC236}">
                  <a16:creationId xmlns:a16="http://schemas.microsoft.com/office/drawing/2014/main" id="{FB9F356D-A1B0-614A-B70E-13E950AAA2B9}"/>
                </a:ext>
              </a:extLst>
            </p:cNvPr>
            <p:cNvSpPr/>
            <p:nvPr/>
          </p:nvSpPr>
          <p:spPr>
            <a:xfrm>
              <a:off x="13101936" y="6763925"/>
              <a:ext cx="86829" cy="86829"/>
            </a:xfrm>
            <a:prstGeom prst="rect">
              <a:avLst/>
            </a:prstGeom>
            <a:blipFill>
              <a:blip r:embed="rId26" cstate="print"/>
              <a:stretch>
                <a:fillRect/>
              </a:stretch>
            </a:blipFill>
          </p:spPr>
          <p:txBody>
            <a:bodyPr wrap="square" lIns="0" tIns="0" rIns="0" bIns="0" rtlCol="0"/>
            <a:lstStyle/>
            <a:p>
              <a:endParaRPr sz="2968"/>
            </a:p>
          </p:txBody>
        </p:sp>
        <p:sp>
          <p:nvSpPr>
            <p:cNvPr id="172" name="object 170">
              <a:extLst>
                <a:ext uri="{FF2B5EF4-FFF2-40B4-BE49-F238E27FC236}">
                  <a16:creationId xmlns:a16="http://schemas.microsoft.com/office/drawing/2014/main" id="{0B239F29-7789-1D43-9CD3-ABF6A0E4F980}"/>
                </a:ext>
              </a:extLst>
            </p:cNvPr>
            <p:cNvSpPr/>
            <p:nvPr/>
          </p:nvSpPr>
          <p:spPr>
            <a:xfrm>
              <a:off x="9572213" y="5113680"/>
              <a:ext cx="86842" cy="86829"/>
            </a:xfrm>
            <a:prstGeom prst="rect">
              <a:avLst/>
            </a:prstGeom>
            <a:blipFill>
              <a:blip r:embed="rId13" cstate="print"/>
              <a:stretch>
                <a:fillRect/>
              </a:stretch>
            </a:blipFill>
          </p:spPr>
          <p:txBody>
            <a:bodyPr wrap="square" lIns="0" tIns="0" rIns="0" bIns="0" rtlCol="0"/>
            <a:lstStyle/>
            <a:p>
              <a:endParaRPr sz="2968"/>
            </a:p>
          </p:txBody>
        </p:sp>
        <p:sp>
          <p:nvSpPr>
            <p:cNvPr id="173" name="object 171">
              <a:extLst>
                <a:ext uri="{FF2B5EF4-FFF2-40B4-BE49-F238E27FC236}">
                  <a16:creationId xmlns:a16="http://schemas.microsoft.com/office/drawing/2014/main" id="{92CCEC61-98B4-D64F-A7AA-3D6B75933E84}"/>
                </a:ext>
              </a:extLst>
            </p:cNvPr>
            <p:cNvSpPr/>
            <p:nvPr/>
          </p:nvSpPr>
          <p:spPr>
            <a:xfrm>
              <a:off x="12093432" y="6763921"/>
              <a:ext cx="86842" cy="86829"/>
            </a:xfrm>
            <a:prstGeom prst="rect">
              <a:avLst/>
            </a:prstGeom>
            <a:blipFill>
              <a:blip r:embed="rId27" cstate="print"/>
              <a:stretch>
                <a:fillRect/>
              </a:stretch>
            </a:blipFill>
          </p:spPr>
          <p:txBody>
            <a:bodyPr wrap="square" lIns="0" tIns="0" rIns="0" bIns="0" rtlCol="0"/>
            <a:lstStyle/>
            <a:p>
              <a:endParaRPr sz="2968"/>
            </a:p>
          </p:txBody>
        </p:sp>
        <p:sp>
          <p:nvSpPr>
            <p:cNvPr id="174" name="object 172">
              <a:extLst>
                <a:ext uri="{FF2B5EF4-FFF2-40B4-BE49-F238E27FC236}">
                  <a16:creationId xmlns:a16="http://schemas.microsoft.com/office/drawing/2014/main" id="{220726E1-B72C-7041-A2C4-84C577408D23}"/>
                </a:ext>
              </a:extLst>
            </p:cNvPr>
            <p:cNvSpPr/>
            <p:nvPr/>
          </p:nvSpPr>
          <p:spPr>
            <a:xfrm>
              <a:off x="10718225" y="6672226"/>
              <a:ext cx="86842" cy="86829"/>
            </a:xfrm>
            <a:prstGeom prst="rect">
              <a:avLst/>
            </a:prstGeom>
            <a:blipFill>
              <a:blip r:embed="rId28" cstate="print"/>
              <a:stretch>
                <a:fillRect/>
              </a:stretch>
            </a:blipFill>
          </p:spPr>
          <p:txBody>
            <a:bodyPr wrap="square" lIns="0" tIns="0" rIns="0" bIns="0" rtlCol="0"/>
            <a:lstStyle/>
            <a:p>
              <a:endParaRPr sz="2968"/>
            </a:p>
          </p:txBody>
        </p:sp>
        <p:sp>
          <p:nvSpPr>
            <p:cNvPr id="175" name="object 173">
              <a:extLst>
                <a:ext uri="{FF2B5EF4-FFF2-40B4-BE49-F238E27FC236}">
                  <a16:creationId xmlns:a16="http://schemas.microsoft.com/office/drawing/2014/main" id="{06B1D5F5-866A-7647-AB4B-89C6E62D7A35}"/>
                </a:ext>
              </a:extLst>
            </p:cNvPr>
            <p:cNvSpPr/>
            <p:nvPr/>
          </p:nvSpPr>
          <p:spPr>
            <a:xfrm>
              <a:off x="13651983" y="3191537"/>
              <a:ext cx="28575" cy="81280"/>
            </a:xfrm>
            <a:custGeom>
              <a:avLst/>
              <a:gdLst/>
              <a:ahLst/>
              <a:cxnLst/>
              <a:rect l="l" t="t" r="r" b="b"/>
              <a:pathLst>
                <a:path w="28575" h="81279">
                  <a:moveTo>
                    <a:pt x="28012" y="0"/>
                  </a:moveTo>
                  <a:lnTo>
                    <a:pt x="26510" y="303"/>
                  </a:lnTo>
                  <a:lnTo>
                    <a:pt x="12709" y="9609"/>
                  </a:lnTo>
                  <a:lnTo>
                    <a:pt x="3409" y="23411"/>
                  </a:lnTo>
                  <a:lnTo>
                    <a:pt x="0" y="40311"/>
                  </a:lnTo>
                  <a:lnTo>
                    <a:pt x="0" y="48909"/>
                  </a:lnTo>
                  <a:lnTo>
                    <a:pt x="24529" y="79419"/>
                  </a:lnTo>
                  <a:lnTo>
                    <a:pt x="28012" y="80797"/>
                  </a:lnTo>
                  <a:lnTo>
                    <a:pt x="28012" y="0"/>
                  </a:lnTo>
                  <a:close/>
                </a:path>
              </a:pathLst>
            </a:custGeom>
            <a:solidFill>
              <a:srgbClr val="EF3D60">
                <a:alpha val="50999"/>
              </a:srgbClr>
            </a:solidFill>
          </p:spPr>
          <p:txBody>
            <a:bodyPr wrap="square" lIns="0" tIns="0" rIns="0" bIns="0" rtlCol="0"/>
            <a:lstStyle/>
            <a:p>
              <a:endParaRPr sz="2968"/>
            </a:p>
          </p:txBody>
        </p:sp>
        <p:sp>
          <p:nvSpPr>
            <p:cNvPr id="176" name="object 174">
              <a:extLst>
                <a:ext uri="{FF2B5EF4-FFF2-40B4-BE49-F238E27FC236}">
                  <a16:creationId xmlns:a16="http://schemas.microsoft.com/office/drawing/2014/main" id="{218F58D9-47B5-624E-B4A6-F543D560358B}"/>
                </a:ext>
              </a:extLst>
            </p:cNvPr>
            <p:cNvSpPr/>
            <p:nvPr/>
          </p:nvSpPr>
          <p:spPr>
            <a:xfrm>
              <a:off x="12735158" y="3371744"/>
              <a:ext cx="86842" cy="86829"/>
            </a:xfrm>
            <a:prstGeom prst="rect">
              <a:avLst/>
            </a:prstGeom>
            <a:blipFill>
              <a:blip r:embed="rId5" cstate="print"/>
              <a:stretch>
                <a:fillRect/>
              </a:stretch>
            </a:blipFill>
          </p:spPr>
          <p:txBody>
            <a:bodyPr wrap="square" lIns="0" tIns="0" rIns="0" bIns="0" rtlCol="0"/>
            <a:lstStyle/>
            <a:p>
              <a:endParaRPr sz="2968"/>
            </a:p>
          </p:txBody>
        </p:sp>
        <p:sp>
          <p:nvSpPr>
            <p:cNvPr id="177" name="object 175">
              <a:extLst>
                <a:ext uri="{FF2B5EF4-FFF2-40B4-BE49-F238E27FC236}">
                  <a16:creationId xmlns:a16="http://schemas.microsoft.com/office/drawing/2014/main" id="{FBA7E2F2-033E-CA4D-901A-648AA60E088F}"/>
                </a:ext>
              </a:extLst>
            </p:cNvPr>
            <p:cNvSpPr/>
            <p:nvPr/>
          </p:nvSpPr>
          <p:spPr>
            <a:xfrm>
              <a:off x="11772488" y="3463461"/>
              <a:ext cx="86842" cy="86829"/>
            </a:xfrm>
            <a:prstGeom prst="rect">
              <a:avLst/>
            </a:prstGeom>
            <a:blipFill>
              <a:blip r:embed="rId5" cstate="print"/>
              <a:stretch>
                <a:fillRect/>
              </a:stretch>
            </a:blipFill>
          </p:spPr>
          <p:txBody>
            <a:bodyPr wrap="square" lIns="0" tIns="0" rIns="0" bIns="0" rtlCol="0"/>
            <a:lstStyle/>
            <a:p>
              <a:endParaRPr sz="2968"/>
            </a:p>
          </p:txBody>
        </p:sp>
        <p:sp>
          <p:nvSpPr>
            <p:cNvPr id="178" name="object 176">
              <a:extLst>
                <a:ext uri="{FF2B5EF4-FFF2-40B4-BE49-F238E27FC236}">
                  <a16:creationId xmlns:a16="http://schemas.microsoft.com/office/drawing/2014/main" id="{4B26D714-B366-814D-A6A3-162C43E86F02}"/>
                </a:ext>
              </a:extLst>
            </p:cNvPr>
            <p:cNvSpPr/>
            <p:nvPr/>
          </p:nvSpPr>
          <p:spPr>
            <a:xfrm>
              <a:off x="13285192" y="3325916"/>
              <a:ext cx="86842" cy="86842"/>
            </a:xfrm>
            <a:prstGeom prst="rect">
              <a:avLst/>
            </a:prstGeom>
            <a:blipFill>
              <a:blip r:embed="rId29" cstate="print"/>
              <a:stretch>
                <a:fillRect/>
              </a:stretch>
            </a:blipFill>
          </p:spPr>
          <p:txBody>
            <a:bodyPr wrap="square" lIns="0" tIns="0" rIns="0" bIns="0" rtlCol="0"/>
            <a:lstStyle/>
            <a:p>
              <a:endParaRPr sz="2968"/>
            </a:p>
          </p:txBody>
        </p:sp>
        <p:sp>
          <p:nvSpPr>
            <p:cNvPr id="179" name="object 177">
              <a:extLst>
                <a:ext uri="{FF2B5EF4-FFF2-40B4-BE49-F238E27FC236}">
                  <a16:creationId xmlns:a16="http://schemas.microsoft.com/office/drawing/2014/main" id="{87D813BD-1AB8-2447-AE4B-C300BC7C433E}"/>
                </a:ext>
              </a:extLst>
            </p:cNvPr>
            <p:cNvSpPr/>
            <p:nvPr/>
          </p:nvSpPr>
          <p:spPr>
            <a:xfrm>
              <a:off x="10534809" y="3600974"/>
              <a:ext cx="86842" cy="86829"/>
            </a:xfrm>
            <a:prstGeom prst="rect">
              <a:avLst/>
            </a:prstGeom>
            <a:blipFill>
              <a:blip r:embed="rId8" cstate="print"/>
              <a:stretch>
                <a:fillRect/>
              </a:stretch>
            </a:blipFill>
          </p:spPr>
          <p:txBody>
            <a:bodyPr wrap="square" lIns="0" tIns="0" rIns="0" bIns="0" rtlCol="0"/>
            <a:lstStyle/>
            <a:p>
              <a:endParaRPr sz="2968"/>
            </a:p>
          </p:txBody>
        </p:sp>
        <p:sp>
          <p:nvSpPr>
            <p:cNvPr id="180" name="object 178">
              <a:extLst>
                <a:ext uri="{FF2B5EF4-FFF2-40B4-BE49-F238E27FC236}">
                  <a16:creationId xmlns:a16="http://schemas.microsoft.com/office/drawing/2014/main" id="{82014BAD-5723-D243-8CD3-E18F15258A5A}"/>
                </a:ext>
              </a:extLst>
            </p:cNvPr>
            <p:cNvSpPr/>
            <p:nvPr/>
          </p:nvSpPr>
          <p:spPr>
            <a:xfrm>
              <a:off x="11749609" y="4219787"/>
              <a:ext cx="86829" cy="86829"/>
            </a:xfrm>
            <a:prstGeom prst="rect">
              <a:avLst/>
            </a:prstGeom>
            <a:blipFill>
              <a:blip r:embed="rId5" cstate="print"/>
              <a:stretch>
                <a:fillRect/>
              </a:stretch>
            </a:blipFill>
          </p:spPr>
          <p:txBody>
            <a:bodyPr wrap="square" lIns="0" tIns="0" rIns="0" bIns="0" rtlCol="0"/>
            <a:lstStyle/>
            <a:p>
              <a:endParaRPr sz="2968"/>
            </a:p>
          </p:txBody>
        </p:sp>
        <p:sp>
          <p:nvSpPr>
            <p:cNvPr id="181" name="object 179">
              <a:extLst>
                <a:ext uri="{FF2B5EF4-FFF2-40B4-BE49-F238E27FC236}">
                  <a16:creationId xmlns:a16="http://schemas.microsoft.com/office/drawing/2014/main" id="{14E08E82-D3A5-A74D-AB0E-3CDD8D09D9C8}"/>
                </a:ext>
              </a:extLst>
            </p:cNvPr>
            <p:cNvSpPr/>
            <p:nvPr/>
          </p:nvSpPr>
          <p:spPr>
            <a:xfrm>
              <a:off x="12849790" y="6007539"/>
              <a:ext cx="86842" cy="86829"/>
            </a:xfrm>
            <a:prstGeom prst="rect">
              <a:avLst/>
            </a:prstGeom>
            <a:blipFill>
              <a:blip r:embed="rId30" cstate="print"/>
              <a:stretch>
                <a:fillRect/>
              </a:stretch>
            </a:blipFill>
          </p:spPr>
          <p:txBody>
            <a:bodyPr wrap="square" lIns="0" tIns="0" rIns="0" bIns="0" rtlCol="0"/>
            <a:lstStyle/>
            <a:p>
              <a:endParaRPr sz="2968"/>
            </a:p>
          </p:txBody>
        </p:sp>
        <p:sp>
          <p:nvSpPr>
            <p:cNvPr id="182" name="object 180">
              <a:extLst>
                <a:ext uri="{FF2B5EF4-FFF2-40B4-BE49-F238E27FC236}">
                  <a16:creationId xmlns:a16="http://schemas.microsoft.com/office/drawing/2014/main" id="{AC0D7F21-AE53-DB4D-BA35-E85617987ABC}"/>
                </a:ext>
              </a:extLst>
            </p:cNvPr>
            <p:cNvSpPr/>
            <p:nvPr/>
          </p:nvSpPr>
          <p:spPr>
            <a:xfrm>
              <a:off x="13537333" y="3600974"/>
              <a:ext cx="86842" cy="86829"/>
            </a:xfrm>
            <a:prstGeom prst="rect">
              <a:avLst/>
            </a:prstGeom>
            <a:blipFill>
              <a:blip r:embed="rId31" cstate="print"/>
              <a:stretch>
                <a:fillRect/>
              </a:stretch>
            </a:blipFill>
          </p:spPr>
          <p:txBody>
            <a:bodyPr wrap="square" lIns="0" tIns="0" rIns="0" bIns="0" rtlCol="0"/>
            <a:lstStyle/>
            <a:p>
              <a:endParaRPr sz="2968"/>
            </a:p>
          </p:txBody>
        </p:sp>
        <p:sp>
          <p:nvSpPr>
            <p:cNvPr id="183" name="object 181">
              <a:extLst>
                <a:ext uri="{FF2B5EF4-FFF2-40B4-BE49-F238E27FC236}">
                  <a16:creationId xmlns:a16="http://schemas.microsoft.com/office/drawing/2014/main" id="{86863256-7DFA-F448-9CBC-46B05A8E9CC7}"/>
                </a:ext>
              </a:extLst>
            </p:cNvPr>
            <p:cNvSpPr/>
            <p:nvPr/>
          </p:nvSpPr>
          <p:spPr>
            <a:xfrm>
              <a:off x="12368441" y="2363320"/>
              <a:ext cx="86842" cy="86829"/>
            </a:xfrm>
            <a:prstGeom prst="rect">
              <a:avLst/>
            </a:prstGeom>
            <a:blipFill>
              <a:blip r:embed="rId32" cstate="print"/>
              <a:stretch>
                <a:fillRect/>
              </a:stretch>
            </a:blipFill>
          </p:spPr>
          <p:txBody>
            <a:bodyPr wrap="square" lIns="0" tIns="0" rIns="0" bIns="0" rtlCol="0"/>
            <a:lstStyle/>
            <a:p>
              <a:endParaRPr sz="2968"/>
            </a:p>
          </p:txBody>
        </p:sp>
        <p:sp>
          <p:nvSpPr>
            <p:cNvPr id="184" name="object 182">
              <a:extLst>
                <a:ext uri="{FF2B5EF4-FFF2-40B4-BE49-F238E27FC236}">
                  <a16:creationId xmlns:a16="http://schemas.microsoft.com/office/drawing/2014/main" id="{2500ACAD-F6A9-BB49-8B44-DC028FAF0B6E}"/>
                </a:ext>
              </a:extLst>
            </p:cNvPr>
            <p:cNvSpPr/>
            <p:nvPr/>
          </p:nvSpPr>
          <p:spPr>
            <a:xfrm>
              <a:off x="13606138" y="3050901"/>
              <a:ext cx="73857" cy="86829"/>
            </a:xfrm>
            <a:prstGeom prst="rect">
              <a:avLst/>
            </a:prstGeom>
            <a:blipFill>
              <a:blip r:embed="rId33" cstate="print"/>
              <a:stretch>
                <a:fillRect/>
              </a:stretch>
            </a:blipFill>
          </p:spPr>
          <p:txBody>
            <a:bodyPr wrap="square" lIns="0" tIns="0" rIns="0" bIns="0" rtlCol="0"/>
            <a:lstStyle/>
            <a:p>
              <a:endParaRPr sz="2968"/>
            </a:p>
          </p:txBody>
        </p:sp>
        <p:sp>
          <p:nvSpPr>
            <p:cNvPr id="185" name="object 183">
              <a:extLst>
                <a:ext uri="{FF2B5EF4-FFF2-40B4-BE49-F238E27FC236}">
                  <a16:creationId xmlns:a16="http://schemas.microsoft.com/office/drawing/2014/main" id="{CF4F3B22-E777-C647-A22F-7B572B48905A}"/>
                </a:ext>
              </a:extLst>
            </p:cNvPr>
            <p:cNvSpPr/>
            <p:nvPr/>
          </p:nvSpPr>
          <p:spPr>
            <a:xfrm>
              <a:off x="12437171" y="3050901"/>
              <a:ext cx="86840" cy="86829"/>
            </a:xfrm>
            <a:prstGeom prst="rect">
              <a:avLst/>
            </a:prstGeom>
            <a:blipFill>
              <a:blip r:embed="rId34" cstate="print"/>
              <a:stretch>
                <a:fillRect/>
              </a:stretch>
            </a:blipFill>
          </p:spPr>
          <p:txBody>
            <a:bodyPr wrap="square" lIns="0" tIns="0" rIns="0" bIns="0" rtlCol="0"/>
            <a:lstStyle/>
            <a:p>
              <a:endParaRPr sz="2968"/>
            </a:p>
          </p:txBody>
        </p:sp>
        <p:sp>
          <p:nvSpPr>
            <p:cNvPr id="186" name="object 184">
              <a:extLst>
                <a:ext uri="{FF2B5EF4-FFF2-40B4-BE49-F238E27FC236}">
                  <a16:creationId xmlns:a16="http://schemas.microsoft.com/office/drawing/2014/main" id="{28C2B149-3AE1-5642-8836-C86ED47110B9}"/>
                </a:ext>
              </a:extLst>
            </p:cNvPr>
            <p:cNvSpPr/>
            <p:nvPr/>
          </p:nvSpPr>
          <p:spPr>
            <a:xfrm>
              <a:off x="10649442" y="2913378"/>
              <a:ext cx="86842" cy="86829"/>
            </a:xfrm>
            <a:prstGeom prst="rect">
              <a:avLst/>
            </a:prstGeom>
            <a:blipFill>
              <a:blip r:embed="rId13" cstate="print"/>
              <a:stretch>
                <a:fillRect/>
              </a:stretch>
            </a:blipFill>
          </p:spPr>
          <p:txBody>
            <a:bodyPr wrap="square" lIns="0" tIns="0" rIns="0" bIns="0" rtlCol="0"/>
            <a:lstStyle/>
            <a:p>
              <a:endParaRPr sz="2968"/>
            </a:p>
          </p:txBody>
        </p:sp>
        <p:sp>
          <p:nvSpPr>
            <p:cNvPr id="187" name="object 185">
              <a:extLst>
                <a:ext uri="{FF2B5EF4-FFF2-40B4-BE49-F238E27FC236}">
                  <a16:creationId xmlns:a16="http://schemas.microsoft.com/office/drawing/2014/main" id="{B9A56B8E-463C-3D4D-AEAE-8240F8B0C366}"/>
                </a:ext>
              </a:extLst>
            </p:cNvPr>
            <p:cNvSpPr/>
            <p:nvPr/>
          </p:nvSpPr>
          <p:spPr>
            <a:xfrm>
              <a:off x="11474571" y="2225781"/>
              <a:ext cx="86842" cy="86842"/>
            </a:xfrm>
            <a:prstGeom prst="rect">
              <a:avLst/>
            </a:prstGeom>
            <a:blipFill>
              <a:blip r:embed="rId35" cstate="print"/>
              <a:stretch>
                <a:fillRect/>
              </a:stretch>
            </a:blipFill>
          </p:spPr>
          <p:txBody>
            <a:bodyPr wrap="square" lIns="0" tIns="0" rIns="0" bIns="0" rtlCol="0"/>
            <a:lstStyle/>
            <a:p>
              <a:endParaRPr sz="2968"/>
            </a:p>
          </p:txBody>
        </p:sp>
        <p:sp>
          <p:nvSpPr>
            <p:cNvPr id="188" name="object 186">
              <a:extLst>
                <a:ext uri="{FF2B5EF4-FFF2-40B4-BE49-F238E27FC236}">
                  <a16:creationId xmlns:a16="http://schemas.microsoft.com/office/drawing/2014/main" id="{2891912C-1695-2E4D-8605-844C2ACE1BB9}"/>
                </a:ext>
              </a:extLst>
            </p:cNvPr>
            <p:cNvSpPr/>
            <p:nvPr/>
          </p:nvSpPr>
          <p:spPr>
            <a:xfrm>
              <a:off x="10718225" y="4701136"/>
              <a:ext cx="86842" cy="86829"/>
            </a:xfrm>
            <a:prstGeom prst="rect">
              <a:avLst/>
            </a:prstGeom>
            <a:blipFill>
              <a:blip r:embed="rId5" cstate="print"/>
              <a:stretch>
                <a:fillRect/>
              </a:stretch>
            </a:blipFill>
          </p:spPr>
          <p:txBody>
            <a:bodyPr wrap="square" lIns="0" tIns="0" rIns="0" bIns="0" rtlCol="0"/>
            <a:lstStyle/>
            <a:p>
              <a:endParaRPr sz="2968"/>
            </a:p>
          </p:txBody>
        </p:sp>
        <p:sp>
          <p:nvSpPr>
            <p:cNvPr id="189" name="object 187">
              <a:extLst>
                <a:ext uri="{FF2B5EF4-FFF2-40B4-BE49-F238E27FC236}">
                  <a16:creationId xmlns:a16="http://schemas.microsoft.com/office/drawing/2014/main" id="{C15FCD9A-2DF2-DE40-A7CB-532F67763772}"/>
                </a:ext>
              </a:extLst>
            </p:cNvPr>
            <p:cNvSpPr/>
            <p:nvPr/>
          </p:nvSpPr>
          <p:spPr>
            <a:xfrm>
              <a:off x="11864226" y="4930340"/>
              <a:ext cx="86842" cy="86829"/>
            </a:xfrm>
            <a:prstGeom prst="rect">
              <a:avLst/>
            </a:prstGeom>
            <a:blipFill>
              <a:blip r:embed="rId36" cstate="print"/>
              <a:stretch>
                <a:fillRect/>
              </a:stretch>
            </a:blipFill>
          </p:spPr>
          <p:txBody>
            <a:bodyPr wrap="square" lIns="0" tIns="0" rIns="0" bIns="0" rtlCol="0"/>
            <a:lstStyle/>
            <a:p>
              <a:endParaRPr sz="2968"/>
            </a:p>
          </p:txBody>
        </p:sp>
      </p:grpSp>
    </p:spTree>
    <p:extLst>
      <p:ext uri="{BB962C8B-B14F-4D97-AF65-F5344CB8AC3E}">
        <p14:creationId xmlns:p14="http://schemas.microsoft.com/office/powerpoint/2010/main" val="1489867461"/>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Contents-tilte white - 58px-purple background">
    <p:bg>
      <p:bgPr>
        <a:solidFill>
          <a:schemeClr val="tx2"/>
        </a:solidFill>
        <a:effectLst/>
      </p:bgPr>
    </p:bg>
    <p:spTree>
      <p:nvGrpSpPr>
        <p:cNvPr id="1" name=""/>
        <p:cNvGrpSpPr/>
        <p:nvPr/>
      </p:nvGrpSpPr>
      <p:grpSpPr>
        <a:xfrm>
          <a:off x="0" y="0"/>
          <a:ext cx="0" cy="0"/>
          <a:chOff x="0" y="0"/>
          <a:chExt cx="0" cy="0"/>
        </a:xfrm>
      </p:grpSpPr>
      <p:sp>
        <p:nvSpPr>
          <p:cNvPr id="14" name="Marcador de texto 19">
            <a:extLst>
              <a:ext uri="{FF2B5EF4-FFF2-40B4-BE49-F238E27FC236}">
                <a16:creationId xmlns:a16="http://schemas.microsoft.com/office/drawing/2014/main" id="{F0A5F956-78D9-483E-8513-18F922BFD069}"/>
              </a:ext>
            </a:extLst>
          </p:cNvPr>
          <p:cNvSpPr>
            <a:spLocks noGrp="1"/>
          </p:cNvSpPr>
          <p:nvPr>
            <p:ph type="body" sz="quarter" idx="10" hasCustomPrompt="1"/>
          </p:nvPr>
        </p:nvSpPr>
        <p:spPr>
          <a:xfrm>
            <a:off x="17185412" y="389504"/>
            <a:ext cx="2985439" cy="250572"/>
          </a:xfrm>
          <a:noFill/>
        </p:spPr>
        <p:txBody>
          <a:bodyPr wrap="square" lIns="0" tIns="0" rIns="0" bIns="0" rtlCol="0" anchor="ctr">
            <a:noAutofit/>
          </a:bodyPr>
          <a:lstStyle>
            <a:lvl1pPr marL="0" indent="0">
              <a:buNone/>
              <a:defRPr lang="es-ES" sz="1319" b="0" smtClean="0">
                <a:solidFill>
                  <a:schemeClr val="bg1"/>
                </a:solidFill>
              </a:defRPr>
            </a:lvl1pPr>
            <a:lvl2pPr marL="376961" indent="0">
              <a:buNone/>
              <a:defRPr lang="es-ES" sz="2968" smtClean="0"/>
            </a:lvl2pPr>
            <a:lvl3pPr marL="1130884" indent="0">
              <a:buNone/>
              <a:defRPr lang="es-ES" sz="2968" smtClean="0"/>
            </a:lvl3pPr>
            <a:lvl4pPr marL="1790567" indent="0">
              <a:buFont typeface="Arial" panose="020B0604020202020204" pitchFamily="34" charset="0"/>
              <a:buNone/>
              <a:defRPr lang="es-ES" smtClean="0"/>
            </a:lvl4pPr>
            <a:lvl5pPr marL="2638730" indent="0">
              <a:buNone/>
              <a:defRPr lang="es-ES"/>
            </a:lvl5pPr>
          </a:lstStyle>
          <a:p>
            <a:pPr marL="0" lvl="0"/>
            <a:r>
              <a:rPr lang="es-ES" noProof="0" dirty="0"/>
              <a:t>D</a:t>
            </a:r>
            <a:r>
              <a:rPr lang="en-GB" noProof="0" dirty="0" err="1"/>
              <a:t>ocument</a:t>
            </a:r>
            <a:r>
              <a:rPr lang="en-GB" noProof="0" dirty="0"/>
              <a:t> Title</a:t>
            </a:r>
          </a:p>
        </p:txBody>
      </p:sp>
      <p:pic>
        <p:nvPicPr>
          <p:cNvPr id="5" name="Imagen 18">
            <a:extLst>
              <a:ext uri="{FF2B5EF4-FFF2-40B4-BE49-F238E27FC236}">
                <a16:creationId xmlns:a16="http://schemas.microsoft.com/office/drawing/2014/main" id="{0210973B-74F8-4A55-A1EE-70AA8DC58AD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206379" y="10190981"/>
            <a:ext cx="1167349" cy="583716"/>
          </a:xfrm>
          <a:prstGeom prst="rect">
            <a:avLst/>
          </a:prstGeom>
        </p:spPr>
      </p:pic>
      <p:sp>
        <p:nvSpPr>
          <p:cNvPr id="6" name="Title 10">
            <a:extLst>
              <a:ext uri="{FF2B5EF4-FFF2-40B4-BE49-F238E27FC236}">
                <a16:creationId xmlns:a16="http://schemas.microsoft.com/office/drawing/2014/main" id="{E301087C-BD2B-7541-9238-92B3F39DCBCA}"/>
              </a:ext>
            </a:extLst>
          </p:cNvPr>
          <p:cNvSpPr>
            <a:spLocks noGrp="1"/>
          </p:cNvSpPr>
          <p:nvPr>
            <p:ph type="title" hasCustomPrompt="1"/>
          </p:nvPr>
        </p:nvSpPr>
        <p:spPr>
          <a:xfrm>
            <a:off x="615163" y="396486"/>
            <a:ext cx="8682983" cy="2546037"/>
          </a:xfrm>
        </p:spPr>
        <p:txBody>
          <a:bodyPr anchor="t">
            <a:normAutofit/>
          </a:bodyPr>
          <a:lstStyle>
            <a:lvl1pPr>
              <a:lnSpc>
                <a:spcPts val="8905"/>
              </a:lnSpc>
              <a:defRPr sz="9564">
                <a:solidFill>
                  <a:schemeClr val="bg1"/>
                </a:solidFill>
              </a:defRPr>
            </a:lvl1pPr>
          </a:lstStyle>
          <a:p>
            <a:r>
              <a:rPr lang="en-GB" noProof="0"/>
              <a:t>Title</a:t>
            </a:r>
          </a:p>
        </p:txBody>
      </p:sp>
    </p:spTree>
    <p:extLst>
      <p:ext uri="{BB962C8B-B14F-4D97-AF65-F5344CB8AC3E}">
        <p14:creationId xmlns:p14="http://schemas.microsoft.com/office/powerpoint/2010/main" val="3668644596"/>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pic>
        <p:nvPicPr>
          <p:cNvPr id="7" name="Picture 2"/>
          <p:cNvPicPr>
            <a:picLocks noChangeAspect="1" noChangeArrowheads="1"/>
          </p:cNvPicPr>
          <p:nvPr/>
        </p:nvPicPr>
        <p:blipFill>
          <a:blip r:embed="rId2" cstate="print"/>
          <a:srcRect l="13770" r="74538" b="29321"/>
          <a:stretch>
            <a:fillRect/>
          </a:stretch>
        </p:blipFill>
        <p:spPr bwMode="auto">
          <a:xfrm>
            <a:off x="4" y="2"/>
            <a:ext cx="2725961" cy="8235765"/>
          </a:xfrm>
          <a:prstGeom prst="rect">
            <a:avLst/>
          </a:prstGeom>
          <a:noFill/>
          <a:ln w="9525">
            <a:noFill/>
            <a:miter lim="800000"/>
            <a:headEnd/>
            <a:tailEnd/>
          </a:ln>
          <a:effectLst/>
        </p:spPr>
      </p:pic>
      <p:pic>
        <p:nvPicPr>
          <p:cNvPr id="4" name="Picture 3" descr="D:\STC Running\2011 Projects\New CI Migration &amp; Guardianship Projects\Corporate Related\PPT Templates\STC Logo Option 2.jpg"/>
          <p:cNvPicPr>
            <a:picLocks noChangeAspect="1" noChangeArrowheads="1"/>
          </p:cNvPicPr>
          <p:nvPr userDrawn="1"/>
        </p:nvPicPr>
        <p:blipFill>
          <a:blip r:embed="rId3" cstate="print"/>
          <a:srcRect t="18155" b="21764"/>
          <a:stretch>
            <a:fillRect/>
          </a:stretch>
        </p:blipFill>
        <p:spPr bwMode="auto">
          <a:xfrm>
            <a:off x="17961076" y="10531121"/>
            <a:ext cx="2056474" cy="713218"/>
          </a:xfrm>
          <a:prstGeom prst="rect">
            <a:avLst/>
          </a:prstGeom>
          <a:noFill/>
        </p:spPr>
      </p:pic>
    </p:spTree>
    <p:extLst>
      <p:ext uri="{BB962C8B-B14F-4D97-AF65-F5344CB8AC3E}">
        <p14:creationId xmlns:p14="http://schemas.microsoft.com/office/powerpoint/2010/main" val="416900480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Contents-tilte white - 40px-purple background">
    <p:bg>
      <p:bgPr>
        <a:solidFill>
          <a:schemeClr val="tx2"/>
        </a:solidFill>
        <a:effectLst/>
      </p:bgPr>
    </p:bg>
    <p:spTree>
      <p:nvGrpSpPr>
        <p:cNvPr id="1" name=""/>
        <p:cNvGrpSpPr/>
        <p:nvPr/>
      </p:nvGrpSpPr>
      <p:grpSpPr>
        <a:xfrm>
          <a:off x="0" y="0"/>
          <a:ext cx="0" cy="0"/>
          <a:chOff x="0" y="0"/>
          <a:chExt cx="0" cy="0"/>
        </a:xfrm>
      </p:grpSpPr>
      <p:sp>
        <p:nvSpPr>
          <p:cNvPr id="14" name="Marcador de texto 19">
            <a:extLst>
              <a:ext uri="{FF2B5EF4-FFF2-40B4-BE49-F238E27FC236}">
                <a16:creationId xmlns:a16="http://schemas.microsoft.com/office/drawing/2014/main" id="{F0A5F956-78D9-483E-8513-18F922BFD069}"/>
              </a:ext>
            </a:extLst>
          </p:cNvPr>
          <p:cNvSpPr>
            <a:spLocks noGrp="1"/>
          </p:cNvSpPr>
          <p:nvPr>
            <p:ph type="body" sz="quarter" idx="10" hasCustomPrompt="1"/>
          </p:nvPr>
        </p:nvSpPr>
        <p:spPr>
          <a:xfrm>
            <a:off x="17185412" y="389504"/>
            <a:ext cx="2985439" cy="250572"/>
          </a:xfrm>
          <a:noFill/>
        </p:spPr>
        <p:txBody>
          <a:bodyPr wrap="square" lIns="0" tIns="0" rIns="0" bIns="0" rtlCol="0" anchor="ctr">
            <a:noAutofit/>
          </a:bodyPr>
          <a:lstStyle>
            <a:lvl1pPr marL="0" indent="0">
              <a:buNone/>
              <a:defRPr lang="es-ES" sz="1319" b="0" smtClean="0">
                <a:solidFill>
                  <a:schemeClr val="bg1"/>
                </a:solidFill>
              </a:defRPr>
            </a:lvl1pPr>
            <a:lvl2pPr marL="376961" indent="0">
              <a:buNone/>
              <a:defRPr lang="es-ES" sz="2968" smtClean="0"/>
            </a:lvl2pPr>
            <a:lvl3pPr marL="1130884" indent="0">
              <a:buNone/>
              <a:defRPr lang="es-ES" sz="2968" smtClean="0"/>
            </a:lvl3pPr>
            <a:lvl4pPr marL="1790567" indent="0">
              <a:buFont typeface="Arial" panose="020B0604020202020204" pitchFamily="34" charset="0"/>
              <a:buNone/>
              <a:defRPr lang="es-ES" smtClean="0"/>
            </a:lvl4pPr>
            <a:lvl5pPr marL="2638730" indent="0">
              <a:buNone/>
              <a:defRPr lang="es-ES"/>
            </a:lvl5pPr>
          </a:lstStyle>
          <a:p>
            <a:pPr marL="0" lvl="0"/>
            <a:r>
              <a:rPr lang="es-ES" noProof="0" dirty="0"/>
              <a:t>D</a:t>
            </a:r>
            <a:r>
              <a:rPr lang="en-GB" noProof="0" dirty="0" err="1"/>
              <a:t>ocument</a:t>
            </a:r>
            <a:r>
              <a:rPr lang="en-GB" noProof="0" dirty="0"/>
              <a:t> Title</a:t>
            </a:r>
          </a:p>
        </p:txBody>
      </p:sp>
      <p:sp>
        <p:nvSpPr>
          <p:cNvPr id="11" name="Title 10">
            <a:extLst>
              <a:ext uri="{FF2B5EF4-FFF2-40B4-BE49-F238E27FC236}">
                <a16:creationId xmlns:a16="http://schemas.microsoft.com/office/drawing/2014/main" id="{B384F1BB-96E7-4D3C-AEA6-2038C6C940A2}"/>
              </a:ext>
            </a:extLst>
          </p:cNvPr>
          <p:cNvSpPr>
            <a:spLocks noGrp="1"/>
          </p:cNvSpPr>
          <p:nvPr>
            <p:ph type="title" hasCustomPrompt="1"/>
          </p:nvPr>
        </p:nvSpPr>
        <p:spPr>
          <a:xfrm>
            <a:off x="615163" y="396486"/>
            <a:ext cx="8682983" cy="2546037"/>
          </a:xfrm>
        </p:spPr>
        <p:txBody>
          <a:bodyPr anchor="t">
            <a:normAutofit/>
          </a:bodyPr>
          <a:lstStyle>
            <a:lvl1pPr>
              <a:lnSpc>
                <a:spcPts val="9234"/>
              </a:lnSpc>
              <a:defRPr sz="6596">
                <a:solidFill>
                  <a:schemeClr val="bg1"/>
                </a:solidFill>
              </a:defRPr>
            </a:lvl1pPr>
          </a:lstStyle>
          <a:p>
            <a:r>
              <a:rPr lang="en-GB" noProof="0" dirty="0"/>
              <a:t>Title</a:t>
            </a:r>
          </a:p>
        </p:txBody>
      </p:sp>
      <p:pic>
        <p:nvPicPr>
          <p:cNvPr id="5" name="Imagen 18">
            <a:extLst>
              <a:ext uri="{FF2B5EF4-FFF2-40B4-BE49-F238E27FC236}">
                <a16:creationId xmlns:a16="http://schemas.microsoft.com/office/drawing/2014/main" id="{0210973B-74F8-4A55-A1EE-70AA8DC58AD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206379" y="10190981"/>
            <a:ext cx="1167349" cy="583716"/>
          </a:xfrm>
          <a:prstGeom prst="rect">
            <a:avLst/>
          </a:prstGeom>
        </p:spPr>
      </p:pic>
    </p:spTree>
    <p:extLst>
      <p:ext uri="{BB962C8B-B14F-4D97-AF65-F5344CB8AC3E}">
        <p14:creationId xmlns:p14="http://schemas.microsoft.com/office/powerpoint/2010/main" val="552118598"/>
      </p:ext>
    </p:extLst>
  </p:cSld>
  <p:clrMapOvr>
    <a:overrideClrMapping bg1="lt1" tx1="dk1" bg2="lt2" tx2="dk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Index 1">
    <p:bg>
      <p:bgPr>
        <a:solidFill>
          <a:schemeClr val="tx2"/>
        </a:solidFill>
        <a:effectLst/>
      </p:bgPr>
    </p:bg>
    <p:spTree>
      <p:nvGrpSpPr>
        <p:cNvPr id="1" name=""/>
        <p:cNvGrpSpPr/>
        <p:nvPr/>
      </p:nvGrpSpPr>
      <p:grpSpPr>
        <a:xfrm>
          <a:off x="0" y="0"/>
          <a:ext cx="0" cy="0"/>
          <a:chOff x="0" y="0"/>
          <a:chExt cx="0" cy="0"/>
        </a:xfrm>
      </p:grpSpPr>
      <p:sp>
        <p:nvSpPr>
          <p:cNvPr id="14" name="Marcador de texto 19">
            <a:extLst>
              <a:ext uri="{FF2B5EF4-FFF2-40B4-BE49-F238E27FC236}">
                <a16:creationId xmlns:a16="http://schemas.microsoft.com/office/drawing/2014/main" id="{F0A5F956-78D9-483E-8513-18F922BFD069}"/>
              </a:ext>
            </a:extLst>
          </p:cNvPr>
          <p:cNvSpPr>
            <a:spLocks noGrp="1"/>
          </p:cNvSpPr>
          <p:nvPr>
            <p:ph type="body" sz="quarter" idx="10" hasCustomPrompt="1"/>
          </p:nvPr>
        </p:nvSpPr>
        <p:spPr>
          <a:xfrm>
            <a:off x="17185412" y="389504"/>
            <a:ext cx="2985439" cy="250572"/>
          </a:xfrm>
          <a:noFill/>
        </p:spPr>
        <p:txBody>
          <a:bodyPr wrap="square" lIns="0" tIns="0" rIns="0" bIns="0" rtlCol="0" anchor="ctr">
            <a:noAutofit/>
          </a:bodyPr>
          <a:lstStyle>
            <a:lvl1pPr marL="0" indent="0">
              <a:buNone/>
              <a:defRPr lang="es-ES" sz="1319" b="0" smtClean="0">
                <a:solidFill>
                  <a:schemeClr val="bg1"/>
                </a:solidFill>
              </a:defRPr>
            </a:lvl1pPr>
            <a:lvl2pPr marL="376961" indent="0">
              <a:buNone/>
              <a:defRPr lang="es-ES" sz="2968" smtClean="0"/>
            </a:lvl2pPr>
            <a:lvl3pPr marL="1130884" indent="0">
              <a:buNone/>
              <a:defRPr lang="es-ES" sz="2968" smtClean="0"/>
            </a:lvl3pPr>
            <a:lvl4pPr marL="1790567" indent="0">
              <a:buFont typeface="Arial" panose="020B0604020202020204" pitchFamily="34" charset="0"/>
              <a:buNone/>
              <a:defRPr lang="es-ES" smtClean="0"/>
            </a:lvl4pPr>
            <a:lvl5pPr marL="2638730" indent="0">
              <a:buNone/>
              <a:defRPr lang="es-ES"/>
            </a:lvl5pPr>
          </a:lstStyle>
          <a:p>
            <a:pPr marL="0" lvl="0"/>
            <a:r>
              <a:rPr lang="es-ES" noProof="0" dirty="0"/>
              <a:t>D</a:t>
            </a:r>
            <a:r>
              <a:rPr lang="en-GB" noProof="0" dirty="0" err="1"/>
              <a:t>ocument</a:t>
            </a:r>
            <a:r>
              <a:rPr lang="en-GB" noProof="0" dirty="0"/>
              <a:t> Title</a:t>
            </a:r>
          </a:p>
        </p:txBody>
      </p:sp>
      <p:sp>
        <p:nvSpPr>
          <p:cNvPr id="11" name="Title 10">
            <a:extLst>
              <a:ext uri="{FF2B5EF4-FFF2-40B4-BE49-F238E27FC236}">
                <a16:creationId xmlns:a16="http://schemas.microsoft.com/office/drawing/2014/main" id="{B384F1BB-96E7-4D3C-AEA6-2038C6C940A2}"/>
              </a:ext>
            </a:extLst>
          </p:cNvPr>
          <p:cNvSpPr>
            <a:spLocks noGrp="1"/>
          </p:cNvSpPr>
          <p:nvPr>
            <p:ph type="title" hasCustomPrompt="1"/>
          </p:nvPr>
        </p:nvSpPr>
        <p:spPr>
          <a:xfrm>
            <a:off x="615163" y="396486"/>
            <a:ext cx="8682983" cy="1258031"/>
          </a:xfrm>
        </p:spPr>
        <p:txBody>
          <a:bodyPr anchor="t">
            <a:normAutofit/>
          </a:bodyPr>
          <a:lstStyle>
            <a:lvl1pPr>
              <a:lnSpc>
                <a:spcPct val="100000"/>
              </a:lnSpc>
              <a:defRPr sz="2968">
                <a:solidFill>
                  <a:schemeClr val="bg1"/>
                </a:solidFill>
              </a:defRPr>
            </a:lvl1pPr>
          </a:lstStyle>
          <a:p>
            <a:r>
              <a:rPr lang="en-GB" noProof="0" dirty="0"/>
              <a:t>Index</a:t>
            </a:r>
          </a:p>
        </p:txBody>
      </p:sp>
      <p:pic>
        <p:nvPicPr>
          <p:cNvPr id="5" name="Imagen 18">
            <a:extLst>
              <a:ext uri="{FF2B5EF4-FFF2-40B4-BE49-F238E27FC236}">
                <a16:creationId xmlns:a16="http://schemas.microsoft.com/office/drawing/2014/main" id="{0210973B-74F8-4A55-A1EE-70AA8DC58AD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206379" y="10190981"/>
            <a:ext cx="1167349" cy="583716"/>
          </a:xfrm>
          <a:prstGeom prst="rect">
            <a:avLst/>
          </a:prstGeom>
        </p:spPr>
      </p:pic>
    </p:spTree>
    <p:extLst>
      <p:ext uri="{BB962C8B-B14F-4D97-AF65-F5344CB8AC3E}">
        <p14:creationId xmlns:p14="http://schemas.microsoft.com/office/powerpoint/2010/main" val="2139031433"/>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Index 1 - white bakground">
    <p:bg>
      <p:bgRef idx="1001">
        <a:schemeClr val="bg1"/>
      </p:bgRef>
    </p:bg>
    <p:spTree>
      <p:nvGrpSpPr>
        <p:cNvPr id="1" name=""/>
        <p:cNvGrpSpPr/>
        <p:nvPr/>
      </p:nvGrpSpPr>
      <p:grpSpPr>
        <a:xfrm>
          <a:off x="0" y="0"/>
          <a:ext cx="0" cy="0"/>
          <a:chOff x="0" y="0"/>
          <a:chExt cx="0" cy="0"/>
        </a:xfrm>
      </p:grpSpPr>
      <p:sp>
        <p:nvSpPr>
          <p:cNvPr id="14" name="Marcador de texto 19">
            <a:extLst>
              <a:ext uri="{FF2B5EF4-FFF2-40B4-BE49-F238E27FC236}">
                <a16:creationId xmlns:a16="http://schemas.microsoft.com/office/drawing/2014/main" id="{F0A5F956-78D9-483E-8513-18F922BFD069}"/>
              </a:ext>
            </a:extLst>
          </p:cNvPr>
          <p:cNvSpPr>
            <a:spLocks noGrp="1"/>
          </p:cNvSpPr>
          <p:nvPr>
            <p:ph type="body" sz="quarter" idx="10" hasCustomPrompt="1"/>
          </p:nvPr>
        </p:nvSpPr>
        <p:spPr>
          <a:xfrm>
            <a:off x="17185412" y="389504"/>
            <a:ext cx="2985439" cy="250572"/>
          </a:xfrm>
          <a:noFill/>
        </p:spPr>
        <p:txBody>
          <a:bodyPr wrap="square" lIns="0" tIns="0" rIns="0" bIns="0" rtlCol="0" anchor="ctr">
            <a:noAutofit/>
          </a:bodyPr>
          <a:lstStyle>
            <a:lvl1pPr marL="0" indent="0">
              <a:buNone/>
              <a:defRPr lang="es-ES" sz="1319" b="0" smtClean="0">
                <a:solidFill>
                  <a:schemeClr val="tx2"/>
                </a:solidFill>
              </a:defRPr>
            </a:lvl1pPr>
            <a:lvl2pPr marL="376961" indent="0">
              <a:buNone/>
              <a:defRPr lang="es-ES" sz="2968" smtClean="0"/>
            </a:lvl2pPr>
            <a:lvl3pPr marL="1130884" indent="0">
              <a:buNone/>
              <a:defRPr lang="es-ES" sz="2968" smtClean="0"/>
            </a:lvl3pPr>
            <a:lvl4pPr marL="1790567" indent="0">
              <a:buFont typeface="Arial" panose="020B0604020202020204" pitchFamily="34" charset="0"/>
              <a:buNone/>
              <a:defRPr lang="es-ES" smtClean="0"/>
            </a:lvl4pPr>
            <a:lvl5pPr marL="2638730" indent="0">
              <a:buNone/>
              <a:defRPr lang="es-ES"/>
            </a:lvl5pPr>
          </a:lstStyle>
          <a:p>
            <a:pPr marL="0" lvl="0"/>
            <a:r>
              <a:rPr lang="es-ES" noProof="0" dirty="0"/>
              <a:t>D</a:t>
            </a:r>
            <a:r>
              <a:rPr lang="en-GB" noProof="0" dirty="0" err="1"/>
              <a:t>ocument</a:t>
            </a:r>
            <a:r>
              <a:rPr lang="en-GB" noProof="0" dirty="0"/>
              <a:t> Title</a:t>
            </a:r>
          </a:p>
        </p:txBody>
      </p:sp>
      <p:sp>
        <p:nvSpPr>
          <p:cNvPr id="11" name="Title 10">
            <a:extLst>
              <a:ext uri="{FF2B5EF4-FFF2-40B4-BE49-F238E27FC236}">
                <a16:creationId xmlns:a16="http://schemas.microsoft.com/office/drawing/2014/main" id="{B384F1BB-96E7-4D3C-AEA6-2038C6C940A2}"/>
              </a:ext>
            </a:extLst>
          </p:cNvPr>
          <p:cNvSpPr>
            <a:spLocks noGrp="1"/>
          </p:cNvSpPr>
          <p:nvPr>
            <p:ph type="title" hasCustomPrompt="1"/>
          </p:nvPr>
        </p:nvSpPr>
        <p:spPr>
          <a:xfrm>
            <a:off x="615163" y="396486"/>
            <a:ext cx="8682983" cy="1258031"/>
          </a:xfrm>
        </p:spPr>
        <p:txBody>
          <a:bodyPr anchor="t">
            <a:normAutofit/>
          </a:bodyPr>
          <a:lstStyle>
            <a:lvl1pPr>
              <a:lnSpc>
                <a:spcPct val="100000"/>
              </a:lnSpc>
              <a:defRPr sz="2968">
                <a:solidFill>
                  <a:schemeClr val="tx2"/>
                </a:solidFill>
              </a:defRPr>
            </a:lvl1pPr>
          </a:lstStyle>
          <a:p>
            <a:r>
              <a:rPr lang="en-GB" noProof="0" dirty="0"/>
              <a:t>Index</a:t>
            </a:r>
          </a:p>
        </p:txBody>
      </p:sp>
      <p:pic>
        <p:nvPicPr>
          <p:cNvPr id="6" name="Imagen 15">
            <a:extLst>
              <a:ext uri="{FF2B5EF4-FFF2-40B4-BE49-F238E27FC236}">
                <a16:creationId xmlns:a16="http://schemas.microsoft.com/office/drawing/2014/main" id="{453EB7C4-31D5-474A-8970-1E387CA1C2DF}"/>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206627" y="10175274"/>
            <a:ext cx="1170610" cy="607079"/>
          </a:xfrm>
          <a:prstGeom prst="rect">
            <a:avLst/>
          </a:prstGeom>
        </p:spPr>
      </p:pic>
    </p:spTree>
    <p:extLst>
      <p:ext uri="{BB962C8B-B14F-4D97-AF65-F5344CB8AC3E}">
        <p14:creationId xmlns:p14="http://schemas.microsoft.com/office/powerpoint/2010/main" val="3195323942"/>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Contents-3 numbering-white background">
    <p:bg>
      <p:bgRef idx="1001">
        <a:schemeClr val="bg1"/>
      </p:bgRef>
    </p:bg>
    <p:spTree>
      <p:nvGrpSpPr>
        <p:cNvPr id="1" name=""/>
        <p:cNvGrpSpPr/>
        <p:nvPr/>
      </p:nvGrpSpPr>
      <p:grpSpPr>
        <a:xfrm>
          <a:off x="0" y="0"/>
          <a:ext cx="0" cy="0"/>
          <a:chOff x="0" y="0"/>
          <a:chExt cx="0" cy="0"/>
        </a:xfrm>
      </p:grpSpPr>
      <p:pic>
        <p:nvPicPr>
          <p:cNvPr id="19" name="Imagen 18">
            <a:extLst>
              <a:ext uri="{FF2B5EF4-FFF2-40B4-BE49-F238E27FC236}">
                <a16:creationId xmlns:a16="http://schemas.microsoft.com/office/drawing/2014/main" id="{CDE873E3-468F-41C9-A3D5-AE1CFF571F4A}"/>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206379" y="10190981"/>
            <a:ext cx="1167349" cy="583716"/>
          </a:xfrm>
          <a:prstGeom prst="rect">
            <a:avLst/>
          </a:prstGeom>
        </p:spPr>
      </p:pic>
      <p:sp>
        <p:nvSpPr>
          <p:cNvPr id="14" name="Marcador de texto 19">
            <a:extLst>
              <a:ext uri="{FF2B5EF4-FFF2-40B4-BE49-F238E27FC236}">
                <a16:creationId xmlns:a16="http://schemas.microsoft.com/office/drawing/2014/main" id="{F0A5F956-78D9-483E-8513-18F922BFD069}"/>
              </a:ext>
            </a:extLst>
          </p:cNvPr>
          <p:cNvSpPr>
            <a:spLocks noGrp="1"/>
          </p:cNvSpPr>
          <p:nvPr>
            <p:ph type="body" sz="quarter" idx="10" hasCustomPrompt="1"/>
          </p:nvPr>
        </p:nvSpPr>
        <p:spPr>
          <a:xfrm>
            <a:off x="17185412" y="389504"/>
            <a:ext cx="2985439" cy="250572"/>
          </a:xfrm>
          <a:noFill/>
        </p:spPr>
        <p:txBody>
          <a:bodyPr wrap="square" lIns="0" tIns="0" rIns="0" bIns="0" rtlCol="0" anchor="ctr">
            <a:noAutofit/>
          </a:bodyPr>
          <a:lstStyle>
            <a:lvl1pPr marL="0" indent="0">
              <a:buNone/>
              <a:defRPr lang="es-ES" sz="1319" b="0" smtClean="0">
                <a:solidFill>
                  <a:schemeClr val="tx2"/>
                </a:solidFill>
              </a:defRPr>
            </a:lvl1pPr>
            <a:lvl2pPr marL="376961" indent="0">
              <a:buNone/>
              <a:defRPr lang="es-ES" sz="2968" smtClean="0"/>
            </a:lvl2pPr>
            <a:lvl3pPr marL="1130884" indent="0">
              <a:buNone/>
              <a:defRPr lang="es-ES" sz="2968" smtClean="0"/>
            </a:lvl3pPr>
            <a:lvl4pPr marL="1790567" indent="0">
              <a:buFont typeface="Arial" panose="020B0604020202020204" pitchFamily="34" charset="0"/>
              <a:buNone/>
              <a:defRPr lang="es-ES" smtClean="0"/>
            </a:lvl4pPr>
            <a:lvl5pPr marL="2638730" indent="0">
              <a:buNone/>
              <a:defRPr lang="es-ES"/>
            </a:lvl5pPr>
          </a:lstStyle>
          <a:p>
            <a:pPr marL="0" lvl="0"/>
            <a:r>
              <a:rPr lang="es-ES" noProof="0" dirty="0"/>
              <a:t>D</a:t>
            </a:r>
            <a:r>
              <a:rPr lang="en-GB" noProof="0" dirty="0" err="1"/>
              <a:t>ocument</a:t>
            </a:r>
            <a:r>
              <a:rPr lang="en-GB" noProof="0" dirty="0"/>
              <a:t> Title</a:t>
            </a:r>
          </a:p>
        </p:txBody>
      </p:sp>
      <p:pic>
        <p:nvPicPr>
          <p:cNvPr id="8" name="Imagen 15">
            <a:extLst>
              <a:ext uri="{FF2B5EF4-FFF2-40B4-BE49-F238E27FC236}">
                <a16:creationId xmlns:a16="http://schemas.microsoft.com/office/drawing/2014/main" id="{B065F7FD-B3E1-43A0-BA90-5D534CBEF16D}"/>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8206627" y="10175274"/>
            <a:ext cx="1170610" cy="607079"/>
          </a:xfrm>
          <a:prstGeom prst="rect">
            <a:avLst/>
          </a:prstGeom>
        </p:spPr>
      </p:pic>
      <p:sp>
        <p:nvSpPr>
          <p:cNvPr id="6" name="Text Placeholder 5">
            <a:extLst>
              <a:ext uri="{FF2B5EF4-FFF2-40B4-BE49-F238E27FC236}">
                <a16:creationId xmlns:a16="http://schemas.microsoft.com/office/drawing/2014/main" id="{96451491-55DA-494C-AE67-A7AA6F9EE7DA}"/>
              </a:ext>
            </a:extLst>
          </p:cNvPr>
          <p:cNvSpPr>
            <a:spLocks noGrp="1"/>
          </p:cNvSpPr>
          <p:nvPr>
            <p:ph type="body" sz="quarter" idx="11" hasCustomPrompt="1"/>
          </p:nvPr>
        </p:nvSpPr>
        <p:spPr>
          <a:xfrm>
            <a:off x="615165" y="3996419"/>
            <a:ext cx="1591576" cy="1055017"/>
          </a:xfrm>
        </p:spPr>
        <p:txBody>
          <a:bodyPr>
            <a:noAutofit/>
          </a:bodyPr>
          <a:lstStyle>
            <a:lvl1pPr marL="0" indent="0">
              <a:buNone/>
              <a:defRPr sz="7915">
                <a:solidFill>
                  <a:schemeClr val="tx2"/>
                </a:solidFill>
              </a:defRPr>
            </a:lvl1pPr>
            <a:lvl2pPr marL="753923" indent="0">
              <a:buNone/>
              <a:defRPr/>
            </a:lvl2pPr>
            <a:lvl3pPr marL="1507846" indent="0">
              <a:buNone/>
              <a:defRPr/>
            </a:lvl3pPr>
            <a:lvl4pPr marL="2261768" indent="0">
              <a:buNone/>
              <a:defRPr/>
            </a:lvl4pPr>
            <a:lvl5pPr marL="3015691" indent="0">
              <a:buNone/>
              <a:defRPr/>
            </a:lvl5pPr>
          </a:lstStyle>
          <a:p>
            <a:pPr lvl="0"/>
            <a:r>
              <a:rPr lang="en-US" dirty="0"/>
              <a:t>Nº</a:t>
            </a:r>
            <a:endParaRPr lang="en-GB" dirty="0"/>
          </a:p>
        </p:txBody>
      </p:sp>
      <p:sp>
        <p:nvSpPr>
          <p:cNvPr id="10" name="Text Placeholder 9">
            <a:extLst>
              <a:ext uri="{FF2B5EF4-FFF2-40B4-BE49-F238E27FC236}">
                <a16:creationId xmlns:a16="http://schemas.microsoft.com/office/drawing/2014/main" id="{ECD08C52-C62A-483D-AEB9-8ECE7A332507}"/>
              </a:ext>
            </a:extLst>
          </p:cNvPr>
          <p:cNvSpPr>
            <a:spLocks noGrp="1"/>
          </p:cNvSpPr>
          <p:nvPr>
            <p:ph type="body" sz="quarter" idx="12" hasCustomPrompt="1"/>
          </p:nvPr>
        </p:nvSpPr>
        <p:spPr>
          <a:xfrm>
            <a:off x="615164" y="5145682"/>
            <a:ext cx="3287858" cy="356200"/>
          </a:xfrm>
        </p:spPr>
        <p:txBody>
          <a:bodyPr>
            <a:normAutofit/>
          </a:bodyPr>
          <a:lstStyle>
            <a:lvl1pPr marL="0" indent="0" algn="l">
              <a:buFont typeface="Arial" panose="020B0604020202020204" pitchFamily="34" charset="0"/>
              <a:buNone/>
              <a:defRPr sz="1731" b="1"/>
            </a:lvl1pPr>
          </a:lstStyle>
          <a:p>
            <a:pPr lvl="0"/>
            <a:r>
              <a:rPr lang="en-US" dirty="0"/>
              <a:t>TITLE</a:t>
            </a:r>
            <a:endParaRPr lang="en-GB" dirty="0"/>
          </a:p>
        </p:txBody>
      </p:sp>
      <p:sp>
        <p:nvSpPr>
          <p:cNvPr id="13" name="Text Placeholder 9">
            <a:extLst>
              <a:ext uri="{FF2B5EF4-FFF2-40B4-BE49-F238E27FC236}">
                <a16:creationId xmlns:a16="http://schemas.microsoft.com/office/drawing/2014/main" id="{75D0857F-ADC8-4CFD-8864-141069A38FC9}"/>
              </a:ext>
            </a:extLst>
          </p:cNvPr>
          <p:cNvSpPr>
            <a:spLocks noGrp="1"/>
          </p:cNvSpPr>
          <p:nvPr>
            <p:ph type="body" sz="quarter" idx="13" hasCustomPrompt="1"/>
          </p:nvPr>
        </p:nvSpPr>
        <p:spPr>
          <a:xfrm>
            <a:off x="615163" y="5569772"/>
            <a:ext cx="5122882" cy="2546035"/>
          </a:xfrm>
        </p:spPr>
        <p:txBody>
          <a:bodyPr>
            <a:normAutofit/>
          </a:bodyPr>
          <a:lstStyle>
            <a:lvl1pPr marL="0" indent="0">
              <a:buNone/>
              <a:defRPr sz="1649" b="0"/>
            </a:lvl1pPr>
          </a:lstStyle>
          <a:p>
            <a:pPr lvl="0"/>
            <a:r>
              <a:rPr lang="en-US" dirty="0"/>
              <a:t>Lorem</a:t>
            </a:r>
            <a:endParaRPr lang="en-GB" dirty="0"/>
          </a:p>
        </p:txBody>
      </p:sp>
      <p:sp>
        <p:nvSpPr>
          <p:cNvPr id="11" name="Title 10">
            <a:extLst>
              <a:ext uri="{FF2B5EF4-FFF2-40B4-BE49-F238E27FC236}">
                <a16:creationId xmlns:a16="http://schemas.microsoft.com/office/drawing/2014/main" id="{B384F1BB-96E7-4D3C-AEA6-2038C6C940A2}"/>
              </a:ext>
            </a:extLst>
          </p:cNvPr>
          <p:cNvSpPr>
            <a:spLocks noGrp="1"/>
          </p:cNvSpPr>
          <p:nvPr>
            <p:ph type="title" hasCustomPrompt="1"/>
          </p:nvPr>
        </p:nvSpPr>
        <p:spPr>
          <a:xfrm>
            <a:off x="615163" y="396486"/>
            <a:ext cx="8682983" cy="2546037"/>
          </a:xfrm>
        </p:spPr>
        <p:txBody>
          <a:bodyPr anchor="t">
            <a:normAutofit/>
          </a:bodyPr>
          <a:lstStyle>
            <a:lvl1pPr>
              <a:lnSpc>
                <a:spcPts val="9234"/>
              </a:lnSpc>
              <a:defRPr sz="9564">
                <a:solidFill>
                  <a:schemeClr val="tx2"/>
                </a:solidFill>
              </a:defRPr>
            </a:lvl1pPr>
          </a:lstStyle>
          <a:p>
            <a:r>
              <a:rPr lang="en-US" dirty="0"/>
              <a:t>Title</a:t>
            </a:r>
            <a:endParaRPr lang="en-GB" dirty="0"/>
          </a:p>
        </p:txBody>
      </p:sp>
      <p:sp>
        <p:nvSpPr>
          <p:cNvPr id="44" name="Text Placeholder 5">
            <a:extLst>
              <a:ext uri="{FF2B5EF4-FFF2-40B4-BE49-F238E27FC236}">
                <a16:creationId xmlns:a16="http://schemas.microsoft.com/office/drawing/2014/main" id="{821A2FA3-9D43-4A92-BB53-C7698B6C03CB}"/>
              </a:ext>
            </a:extLst>
          </p:cNvPr>
          <p:cNvSpPr>
            <a:spLocks noGrp="1"/>
          </p:cNvSpPr>
          <p:nvPr>
            <p:ph type="body" sz="quarter" idx="14" hasCustomPrompt="1"/>
          </p:nvPr>
        </p:nvSpPr>
        <p:spPr>
          <a:xfrm>
            <a:off x="7079395" y="3996419"/>
            <a:ext cx="1591576" cy="1055017"/>
          </a:xfrm>
        </p:spPr>
        <p:txBody>
          <a:bodyPr>
            <a:noAutofit/>
          </a:bodyPr>
          <a:lstStyle>
            <a:lvl1pPr marL="0" indent="0">
              <a:buNone/>
              <a:defRPr sz="7915">
                <a:solidFill>
                  <a:schemeClr val="tx2"/>
                </a:solidFill>
              </a:defRPr>
            </a:lvl1pPr>
            <a:lvl2pPr marL="753923" indent="0">
              <a:buNone/>
              <a:defRPr/>
            </a:lvl2pPr>
            <a:lvl3pPr marL="1507846" indent="0">
              <a:buNone/>
              <a:defRPr/>
            </a:lvl3pPr>
            <a:lvl4pPr marL="2261768" indent="0">
              <a:buNone/>
              <a:defRPr/>
            </a:lvl4pPr>
            <a:lvl5pPr marL="3015691" indent="0">
              <a:buNone/>
              <a:defRPr/>
            </a:lvl5pPr>
          </a:lstStyle>
          <a:p>
            <a:pPr lvl="0"/>
            <a:r>
              <a:rPr lang="en-US" dirty="0"/>
              <a:t>Nº</a:t>
            </a:r>
            <a:endParaRPr lang="en-GB" dirty="0"/>
          </a:p>
        </p:txBody>
      </p:sp>
      <p:sp>
        <p:nvSpPr>
          <p:cNvPr id="45" name="Text Placeholder 9">
            <a:extLst>
              <a:ext uri="{FF2B5EF4-FFF2-40B4-BE49-F238E27FC236}">
                <a16:creationId xmlns:a16="http://schemas.microsoft.com/office/drawing/2014/main" id="{1516BF46-331E-4EE6-9EA1-9358501A2309}"/>
              </a:ext>
            </a:extLst>
          </p:cNvPr>
          <p:cNvSpPr>
            <a:spLocks noGrp="1"/>
          </p:cNvSpPr>
          <p:nvPr>
            <p:ph type="body" sz="quarter" idx="15" hasCustomPrompt="1"/>
          </p:nvPr>
        </p:nvSpPr>
        <p:spPr>
          <a:xfrm>
            <a:off x="7079394" y="5145682"/>
            <a:ext cx="3287858" cy="356200"/>
          </a:xfrm>
        </p:spPr>
        <p:txBody>
          <a:bodyPr>
            <a:normAutofit/>
          </a:bodyPr>
          <a:lstStyle>
            <a:lvl1pPr marL="0" indent="0" algn="l">
              <a:buFont typeface="Arial" panose="020B0604020202020204" pitchFamily="34" charset="0"/>
              <a:buNone/>
              <a:defRPr sz="1731" b="1"/>
            </a:lvl1pPr>
          </a:lstStyle>
          <a:p>
            <a:pPr lvl="0"/>
            <a:r>
              <a:rPr lang="en-US" dirty="0"/>
              <a:t>TITLE</a:t>
            </a:r>
            <a:endParaRPr lang="en-GB" dirty="0"/>
          </a:p>
        </p:txBody>
      </p:sp>
      <p:sp>
        <p:nvSpPr>
          <p:cNvPr id="46" name="Text Placeholder 9">
            <a:extLst>
              <a:ext uri="{FF2B5EF4-FFF2-40B4-BE49-F238E27FC236}">
                <a16:creationId xmlns:a16="http://schemas.microsoft.com/office/drawing/2014/main" id="{A01B0FD0-AFAC-4AA1-88C2-4345601D732A}"/>
              </a:ext>
            </a:extLst>
          </p:cNvPr>
          <p:cNvSpPr>
            <a:spLocks noGrp="1"/>
          </p:cNvSpPr>
          <p:nvPr>
            <p:ph type="body" sz="quarter" idx="16" hasCustomPrompt="1"/>
          </p:nvPr>
        </p:nvSpPr>
        <p:spPr>
          <a:xfrm>
            <a:off x="7079393" y="5569772"/>
            <a:ext cx="5122882" cy="2546035"/>
          </a:xfrm>
        </p:spPr>
        <p:txBody>
          <a:bodyPr>
            <a:normAutofit/>
          </a:bodyPr>
          <a:lstStyle>
            <a:lvl1pPr marL="0" indent="0">
              <a:buNone/>
              <a:defRPr sz="1649" b="0"/>
            </a:lvl1pPr>
          </a:lstStyle>
          <a:p>
            <a:pPr lvl="0"/>
            <a:r>
              <a:rPr lang="en-US" dirty="0"/>
              <a:t>Lorem</a:t>
            </a:r>
            <a:endParaRPr lang="en-GB" dirty="0"/>
          </a:p>
        </p:txBody>
      </p:sp>
      <p:sp>
        <p:nvSpPr>
          <p:cNvPr id="47" name="Text Placeholder 5">
            <a:extLst>
              <a:ext uri="{FF2B5EF4-FFF2-40B4-BE49-F238E27FC236}">
                <a16:creationId xmlns:a16="http://schemas.microsoft.com/office/drawing/2014/main" id="{33748874-45FF-4B3C-AB09-363ED1440965}"/>
              </a:ext>
            </a:extLst>
          </p:cNvPr>
          <p:cNvSpPr>
            <a:spLocks noGrp="1"/>
          </p:cNvSpPr>
          <p:nvPr>
            <p:ph type="body" sz="quarter" idx="17" hasCustomPrompt="1"/>
          </p:nvPr>
        </p:nvSpPr>
        <p:spPr>
          <a:xfrm>
            <a:off x="13543625" y="3996419"/>
            <a:ext cx="1591576" cy="1055017"/>
          </a:xfrm>
        </p:spPr>
        <p:txBody>
          <a:bodyPr>
            <a:noAutofit/>
          </a:bodyPr>
          <a:lstStyle>
            <a:lvl1pPr marL="0" indent="0">
              <a:buNone/>
              <a:defRPr sz="7915">
                <a:solidFill>
                  <a:schemeClr val="tx2"/>
                </a:solidFill>
              </a:defRPr>
            </a:lvl1pPr>
            <a:lvl2pPr marL="753923" indent="0">
              <a:buNone/>
              <a:defRPr/>
            </a:lvl2pPr>
            <a:lvl3pPr marL="1507846" indent="0">
              <a:buNone/>
              <a:defRPr/>
            </a:lvl3pPr>
            <a:lvl4pPr marL="2261768" indent="0">
              <a:buNone/>
              <a:defRPr/>
            </a:lvl4pPr>
            <a:lvl5pPr marL="3015691" indent="0">
              <a:buNone/>
              <a:defRPr/>
            </a:lvl5pPr>
          </a:lstStyle>
          <a:p>
            <a:pPr lvl="0"/>
            <a:r>
              <a:rPr lang="en-US" dirty="0"/>
              <a:t>Nº</a:t>
            </a:r>
            <a:endParaRPr lang="en-GB" dirty="0"/>
          </a:p>
        </p:txBody>
      </p:sp>
      <p:sp>
        <p:nvSpPr>
          <p:cNvPr id="48" name="Text Placeholder 9">
            <a:extLst>
              <a:ext uri="{FF2B5EF4-FFF2-40B4-BE49-F238E27FC236}">
                <a16:creationId xmlns:a16="http://schemas.microsoft.com/office/drawing/2014/main" id="{0D897AB2-43AD-4AB6-A6A7-B46BC19FD312}"/>
              </a:ext>
            </a:extLst>
          </p:cNvPr>
          <p:cNvSpPr>
            <a:spLocks noGrp="1"/>
          </p:cNvSpPr>
          <p:nvPr>
            <p:ph type="body" sz="quarter" idx="18" hasCustomPrompt="1"/>
          </p:nvPr>
        </p:nvSpPr>
        <p:spPr>
          <a:xfrm>
            <a:off x="13543624" y="5145682"/>
            <a:ext cx="3287858" cy="356200"/>
          </a:xfrm>
        </p:spPr>
        <p:txBody>
          <a:bodyPr>
            <a:normAutofit/>
          </a:bodyPr>
          <a:lstStyle>
            <a:lvl1pPr marL="0" indent="0" algn="l">
              <a:buFont typeface="Arial" panose="020B0604020202020204" pitchFamily="34" charset="0"/>
              <a:buNone/>
              <a:defRPr sz="1731" b="1"/>
            </a:lvl1pPr>
          </a:lstStyle>
          <a:p>
            <a:pPr lvl="0"/>
            <a:r>
              <a:rPr lang="en-US" dirty="0"/>
              <a:t>TITLE</a:t>
            </a:r>
            <a:endParaRPr lang="en-GB" dirty="0"/>
          </a:p>
        </p:txBody>
      </p:sp>
      <p:sp>
        <p:nvSpPr>
          <p:cNvPr id="49" name="Text Placeholder 9">
            <a:extLst>
              <a:ext uri="{FF2B5EF4-FFF2-40B4-BE49-F238E27FC236}">
                <a16:creationId xmlns:a16="http://schemas.microsoft.com/office/drawing/2014/main" id="{36A414C0-5AF1-4821-AB84-E5622E6E40B0}"/>
              </a:ext>
            </a:extLst>
          </p:cNvPr>
          <p:cNvSpPr>
            <a:spLocks noGrp="1"/>
          </p:cNvSpPr>
          <p:nvPr>
            <p:ph type="body" sz="quarter" idx="19" hasCustomPrompt="1"/>
          </p:nvPr>
        </p:nvSpPr>
        <p:spPr>
          <a:xfrm>
            <a:off x="13543623" y="5569772"/>
            <a:ext cx="5122882" cy="2546035"/>
          </a:xfrm>
        </p:spPr>
        <p:txBody>
          <a:bodyPr>
            <a:normAutofit/>
          </a:bodyPr>
          <a:lstStyle>
            <a:lvl1pPr marL="0" indent="0">
              <a:buNone/>
              <a:defRPr sz="1649" b="0"/>
            </a:lvl1pPr>
          </a:lstStyle>
          <a:p>
            <a:pPr lvl="0"/>
            <a:r>
              <a:rPr lang="en-US" dirty="0"/>
              <a:t>Lorem</a:t>
            </a:r>
            <a:endParaRPr lang="en-GB" dirty="0"/>
          </a:p>
        </p:txBody>
      </p:sp>
    </p:spTree>
    <p:extLst>
      <p:ext uri="{BB962C8B-B14F-4D97-AF65-F5344CB8AC3E}">
        <p14:creationId xmlns:p14="http://schemas.microsoft.com/office/powerpoint/2010/main" val="1837072873"/>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Contents-10 numbering-white purple">
    <p:bg>
      <p:bgPr>
        <a:solidFill>
          <a:schemeClr val="tx2"/>
        </a:solidFill>
        <a:effectLst/>
      </p:bgPr>
    </p:bg>
    <p:spTree>
      <p:nvGrpSpPr>
        <p:cNvPr id="1" name=""/>
        <p:cNvGrpSpPr/>
        <p:nvPr/>
      </p:nvGrpSpPr>
      <p:grpSpPr>
        <a:xfrm>
          <a:off x="0" y="0"/>
          <a:ext cx="0" cy="0"/>
          <a:chOff x="0" y="0"/>
          <a:chExt cx="0" cy="0"/>
        </a:xfrm>
      </p:grpSpPr>
      <p:sp>
        <p:nvSpPr>
          <p:cNvPr id="14" name="Marcador de texto 19">
            <a:extLst>
              <a:ext uri="{FF2B5EF4-FFF2-40B4-BE49-F238E27FC236}">
                <a16:creationId xmlns:a16="http://schemas.microsoft.com/office/drawing/2014/main" id="{F0A5F956-78D9-483E-8513-18F922BFD069}"/>
              </a:ext>
            </a:extLst>
          </p:cNvPr>
          <p:cNvSpPr>
            <a:spLocks noGrp="1"/>
          </p:cNvSpPr>
          <p:nvPr>
            <p:ph type="body" sz="quarter" idx="10" hasCustomPrompt="1"/>
          </p:nvPr>
        </p:nvSpPr>
        <p:spPr>
          <a:xfrm>
            <a:off x="17185412" y="389504"/>
            <a:ext cx="2985439" cy="250572"/>
          </a:xfrm>
          <a:noFill/>
        </p:spPr>
        <p:txBody>
          <a:bodyPr wrap="square" lIns="0" tIns="0" rIns="0" bIns="0" rtlCol="0" anchor="ctr">
            <a:noAutofit/>
          </a:bodyPr>
          <a:lstStyle>
            <a:lvl1pPr marL="0" indent="0">
              <a:buNone/>
              <a:defRPr lang="es-ES" sz="1319" b="0" smtClean="0">
                <a:solidFill>
                  <a:schemeClr val="bg1"/>
                </a:solidFill>
              </a:defRPr>
            </a:lvl1pPr>
            <a:lvl2pPr marL="376961" indent="0">
              <a:buNone/>
              <a:defRPr lang="es-ES" sz="2968" smtClean="0"/>
            </a:lvl2pPr>
            <a:lvl3pPr marL="1130884" indent="0">
              <a:buNone/>
              <a:defRPr lang="es-ES" sz="2968" smtClean="0"/>
            </a:lvl3pPr>
            <a:lvl4pPr marL="1790567" indent="0">
              <a:buFont typeface="Arial" panose="020B0604020202020204" pitchFamily="34" charset="0"/>
              <a:buNone/>
              <a:defRPr lang="es-ES" smtClean="0"/>
            </a:lvl4pPr>
            <a:lvl5pPr marL="2638730" indent="0">
              <a:buNone/>
              <a:defRPr lang="es-ES"/>
            </a:lvl5pPr>
          </a:lstStyle>
          <a:p>
            <a:pPr marL="0" lvl="0"/>
            <a:r>
              <a:rPr lang="es-ES" noProof="0" dirty="0"/>
              <a:t>D</a:t>
            </a:r>
            <a:r>
              <a:rPr lang="en-GB" noProof="0" dirty="0" err="1"/>
              <a:t>ocument</a:t>
            </a:r>
            <a:r>
              <a:rPr lang="en-GB" noProof="0" dirty="0"/>
              <a:t> Title</a:t>
            </a:r>
          </a:p>
        </p:txBody>
      </p:sp>
      <p:sp>
        <p:nvSpPr>
          <p:cNvPr id="6" name="Text Placeholder 5">
            <a:extLst>
              <a:ext uri="{FF2B5EF4-FFF2-40B4-BE49-F238E27FC236}">
                <a16:creationId xmlns:a16="http://schemas.microsoft.com/office/drawing/2014/main" id="{96451491-55DA-494C-AE67-A7AA6F9EE7DA}"/>
              </a:ext>
            </a:extLst>
          </p:cNvPr>
          <p:cNvSpPr>
            <a:spLocks noGrp="1"/>
          </p:cNvSpPr>
          <p:nvPr>
            <p:ph type="body" sz="quarter" idx="11" hasCustomPrompt="1"/>
          </p:nvPr>
        </p:nvSpPr>
        <p:spPr>
          <a:xfrm>
            <a:off x="615165" y="3036771"/>
            <a:ext cx="1591576" cy="1055017"/>
          </a:xfrm>
        </p:spPr>
        <p:txBody>
          <a:bodyPr>
            <a:noAutofit/>
          </a:bodyPr>
          <a:lstStyle>
            <a:lvl1pPr marL="0" indent="0">
              <a:buNone/>
              <a:defRPr sz="7915">
                <a:solidFill>
                  <a:schemeClr val="bg1"/>
                </a:solidFill>
              </a:defRPr>
            </a:lvl1pPr>
            <a:lvl2pPr marL="753923" indent="0">
              <a:buNone/>
              <a:defRPr/>
            </a:lvl2pPr>
            <a:lvl3pPr marL="1507846" indent="0">
              <a:buNone/>
              <a:defRPr/>
            </a:lvl3pPr>
            <a:lvl4pPr marL="2261768" indent="0">
              <a:buNone/>
              <a:defRPr/>
            </a:lvl4pPr>
            <a:lvl5pPr marL="3015691" indent="0">
              <a:buNone/>
              <a:defRPr/>
            </a:lvl5pPr>
          </a:lstStyle>
          <a:p>
            <a:pPr lvl="0"/>
            <a:r>
              <a:rPr lang="en-US" dirty="0"/>
              <a:t>Nº</a:t>
            </a:r>
            <a:endParaRPr lang="en-GB" dirty="0"/>
          </a:p>
        </p:txBody>
      </p:sp>
      <p:sp>
        <p:nvSpPr>
          <p:cNvPr id="10" name="Text Placeholder 9">
            <a:extLst>
              <a:ext uri="{FF2B5EF4-FFF2-40B4-BE49-F238E27FC236}">
                <a16:creationId xmlns:a16="http://schemas.microsoft.com/office/drawing/2014/main" id="{ECD08C52-C62A-483D-AEB9-8ECE7A332507}"/>
              </a:ext>
            </a:extLst>
          </p:cNvPr>
          <p:cNvSpPr>
            <a:spLocks noGrp="1"/>
          </p:cNvSpPr>
          <p:nvPr>
            <p:ph type="body" sz="quarter" idx="12" hasCustomPrompt="1"/>
          </p:nvPr>
        </p:nvSpPr>
        <p:spPr>
          <a:xfrm>
            <a:off x="615164" y="4186033"/>
            <a:ext cx="3287858" cy="356200"/>
          </a:xfrm>
        </p:spPr>
        <p:txBody>
          <a:bodyPr>
            <a:normAutofit/>
          </a:bodyPr>
          <a:lstStyle>
            <a:lvl1pPr marL="0" indent="0" algn="l">
              <a:buFont typeface="Arial" panose="020B0604020202020204" pitchFamily="34" charset="0"/>
              <a:buNone/>
              <a:defRPr sz="1731" b="1">
                <a:solidFill>
                  <a:schemeClr val="bg1"/>
                </a:solidFill>
              </a:defRPr>
            </a:lvl1pPr>
          </a:lstStyle>
          <a:p>
            <a:pPr lvl="0"/>
            <a:r>
              <a:rPr lang="en-US" dirty="0"/>
              <a:t>TITLE</a:t>
            </a:r>
            <a:endParaRPr lang="en-GB" dirty="0"/>
          </a:p>
        </p:txBody>
      </p:sp>
      <p:sp>
        <p:nvSpPr>
          <p:cNvPr id="13" name="Text Placeholder 9">
            <a:extLst>
              <a:ext uri="{FF2B5EF4-FFF2-40B4-BE49-F238E27FC236}">
                <a16:creationId xmlns:a16="http://schemas.microsoft.com/office/drawing/2014/main" id="{75D0857F-ADC8-4CFD-8864-141069A38FC9}"/>
              </a:ext>
            </a:extLst>
          </p:cNvPr>
          <p:cNvSpPr>
            <a:spLocks noGrp="1"/>
          </p:cNvSpPr>
          <p:nvPr>
            <p:ph type="body" sz="quarter" idx="13" hasCustomPrompt="1"/>
          </p:nvPr>
        </p:nvSpPr>
        <p:spPr>
          <a:xfrm>
            <a:off x="615164" y="4610123"/>
            <a:ext cx="3287858" cy="1602900"/>
          </a:xfrm>
        </p:spPr>
        <p:txBody>
          <a:bodyPr>
            <a:normAutofit/>
          </a:bodyPr>
          <a:lstStyle>
            <a:lvl1pPr marL="0" indent="0">
              <a:buNone/>
              <a:defRPr sz="1649" b="0">
                <a:solidFill>
                  <a:schemeClr val="bg1"/>
                </a:solidFill>
              </a:defRPr>
            </a:lvl1pPr>
          </a:lstStyle>
          <a:p>
            <a:pPr lvl="0"/>
            <a:r>
              <a:rPr lang="en-US" dirty="0"/>
              <a:t>Lorem</a:t>
            </a:r>
            <a:endParaRPr lang="en-GB" dirty="0"/>
          </a:p>
        </p:txBody>
      </p:sp>
      <p:sp>
        <p:nvSpPr>
          <p:cNvPr id="15" name="Text Placeholder 5">
            <a:extLst>
              <a:ext uri="{FF2B5EF4-FFF2-40B4-BE49-F238E27FC236}">
                <a16:creationId xmlns:a16="http://schemas.microsoft.com/office/drawing/2014/main" id="{EA47D272-5350-465D-812F-44D6935CF029}"/>
              </a:ext>
            </a:extLst>
          </p:cNvPr>
          <p:cNvSpPr>
            <a:spLocks noGrp="1"/>
          </p:cNvSpPr>
          <p:nvPr>
            <p:ph type="body" sz="quarter" idx="14" hasCustomPrompt="1"/>
          </p:nvPr>
        </p:nvSpPr>
        <p:spPr>
          <a:xfrm>
            <a:off x="4409814" y="3036771"/>
            <a:ext cx="1591576" cy="1055017"/>
          </a:xfrm>
        </p:spPr>
        <p:txBody>
          <a:bodyPr>
            <a:noAutofit/>
          </a:bodyPr>
          <a:lstStyle>
            <a:lvl1pPr marL="0" indent="0">
              <a:buNone/>
              <a:defRPr sz="7915">
                <a:solidFill>
                  <a:schemeClr val="bg1"/>
                </a:solidFill>
              </a:defRPr>
            </a:lvl1pPr>
            <a:lvl2pPr marL="753923" indent="0">
              <a:buNone/>
              <a:defRPr/>
            </a:lvl2pPr>
            <a:lvl3pPr marL="1507846" indent="0">
              <a:buNone/>
              <a:defRPr/>
            </a:lvl3pPr>
            <a:lvl4pPr marL="2261768" indent="0">
              <a:buNone/>
              <a:defRPr/>
            </a:lvl4pPr>
            <a:lvl5pPr marL="3015691" indent="0">
              <a:buNone/>
              <a:defRPr/>
            </a:lvl5pPr>
          </a:lstStyle>
          <a:p>
            <a:pPr lvl="0"/>
            <a:r>
              <a:rPr lang="en-US" dirty="0"/>
              <a:t>Nº</a:t>
            </a:r>
            <a:endParaRPr lang="en-GB" dirty="0"/>
          </a:p>
        </p:txBody>
      </p:sp>
      <p:sp>
        <p:nvSpPr>
          <p:cNvPr id="16" name="Text Placeholder 9">
            <a:extLst>
              <a:ext uri="{FF2B5EF4-FFF2-40B4-BE49-F238E27FC236}">
                <a16:creationId xmlns:a16="http://schemas.microsoft.com/office/drawing/2014/main" id="{A74D1E6A-C29F-40C3-A21F-64983EE009B5}"/>
              </a:ext>
            </a:extLst>
          </p:cNvPr>
          <p:cNvSpPr>
            <a:spLocks noGrp="1"/>
          </p:cNvSpPr>
          <p:nvPr>
            <p:ph type="body" sz="quarter" idx="15" hasCustomPrompt="1"/>
          </p:nvPr>
        </p:nvSpPr>
        <p:spPr>
          <a:xfrm>
            <a:off x="4409813" y="4186033"/>
            <a:ext cx="3287858" cy="356200"/>
          </a:xfrm>
        </p:spPr>
        <p:txBody>
          <a:bodyPr>
            <a:normAutofit/>
          </a:bodyPr>
          <a:lstStyle>
            <a:lvl1pPr marL="0" indent="0" algn="l">
              <a:buNone/>
              <a:defRPr sz="1731" b="1">
                <a:solidFill>
                  <a:schemeClr val="bg1"/>
                </a:solidFill>
              </a:defRPr>
            </a:lvl1pPr>
          </a:lstStyle>
          <a:p>
            <a:pPr lvl="0"/>
            <a:r>
              <a:rPr lang="en-US" dirty="0"/>
              <a:t>TITLE</a:t>
            </a:r>
            <a:endParaRPr lang="en-GB" dirty="0"/>
          </a:p>
        </p:txBody>
      </p:sp>
      <p:sp>
        <p:nvSpPr>
          <p:cNvPr id="17" name="Text Placeholder 9">
            <a:extLst>
              <a:ext uri="{FF2B5EF4-FFF2-40B4-BE49-F238E27FC236}">
                <a16:creationId xmlns:a16="http://schemas.microsoft.com/office/drawing/2014/main" id="{CB5F5ED8-32CC-43AE-95F2-320422A4B6F2}"/>
              </a:ext>
            </a:extLst>
          </p:cNvPr>
          <p:cNvSpPr>
            <a:spLocks noGrp="1"/>
          </p:cNvSpPr>
          <p:nvPr>
            <p:ph type="body" sz="quarter" idx="16" hasCustomPrompt="1"/>
          </p:nvPr>
        </p:nvSpPr>
        <p:spPr>
          <a:xfrm>
            <a:off x="4409813" y="4610123"/>
            <a:ext cx="3287858" cy="1602900"/>
          </a:xfrm>
        </p:spPr>
        <p:txBody>
          <a:bodyPr>
            <a:normAutofit/>
          </a:bodyPr>
          <a:lstStyle>
            <a:lvl1pPr marL="0" indent="0">
              <a:buNone/>
              <a:defRPr sz="1649" b="0">
                <a:solidFill>
                  <a:schemeClr val="bg1"/>
                </a:solidFill>
              </a:defRPr>
            </a:lvl1pPr>
          </a:lstStyle>
          <a:p>
            <a:pPr lvl="0"/>
            <a:r>
              <a:rPr lang="en-US" dirty="0"/>
              <a:t>Lorem</a:t>
            </a:r>
            <a:endParaRPr lang="en-GB" dirty="0"/>
          </a:p>
        </p:txBody>
      </p:sp>
      <p:sp>
        <p:nvSpPr>
          <p:cNvPr id="18" name="Text Placeholder 5">
            <a:extLst>
              <a:ext uri="{FF2B5EF4-FFF2-40B4-BE49-F238E27FC236}">
                <a16:creationId xmlns:a16="http://schemas.microsoft.com/office/drawing/2014/main" id="{25A3565A-C592-4597-8606-88B88195191D}"/>
              </a:ext>
            </a:extLst>
          </p:cNvPr>
          <p:cNvSpPr>
            <a:spLocks noGrp="1"/>
          </p:cNvSpPr>
          <p:nvPr>
            <p:ph type="body" sz="quarter" idx="17" hasCustomPrompt="1"/>
          </p:nvPr>
        </p:nvSpPr>
        <p:spPr>
          <a:xfrm>
            <a:off x="8166767" y="3036771"/>
            <a:ext cx="1591576" cy="1055017"/>
          </a:xfrm>
        </p:spPr>
        <p:txBody>
          <a:bodyPr>
            <a:noAutofit/>
          </a:bodyPr>
          <a:lstStyle>
            <a:lvl1pPr marL="0" indent="0">
              <a:buNone/>
              <a:defRPr sz="7915">
                <a:solidFill>
                  <a:schemeClr val="bg1"/>
                </a:solidFill>
              </a:defRPr>
            </a:lvl1pPr>
            <a:lvl2pPr marL="753923" indent="0">
              <a:buNone/>
              <a:defRPr/>
            </a:lvl2pPr>
            <a:lvl3pPr marL="1507846" indent="0">
              <a:buNone/>
              <a:defRPr/>
            </a:lvl3pPr>
            <a:lvl4pPr marL="2261768" indent="0">
              <a:buNone/>
              <a:defRPr/>
            </a:lvl4pPr>
            <a:lvl5pPr marL="3015691" indent="0">
              <a:buNone/>
              <a:defRPr/>
            </a:lvl5pPr>
          </a:lstStyle>
          <a:p>
            <a:pPr lvl="0"/>
            <a:r>
              <a:rPr lang="en-US" dirty="0"/>
              <a:t>Nº</a:t>
            </a:r>
            <a:endParaRPr lang="en-GB" dirty="0"/>
          </a:p>
        </p:txBody>
      </p:sp>
      <p:sp>
        <p:nvSpPr>
          <p:cNvPr id="20" name="Text Placeholder 9">
            <a:extLst>
              <a:ext uri="{FF2B5EF4-FFF2-40B4-BE49-F238E27FC236}">
                <a16:creationId xmlns:a16="http://schemas.microsoft.com/office/drawing/2014/main" id="{E8ABFFFD-3581-4836-8C68-837FF6D9DD00}"/>
              </a:ext>
            </a:extLst>
          </p:cNvPr>
          <p:cNvSpPr>
            <a:spLocks noGrp="1"/>
          </p:cNvSpPr>
          <p:nvPr>
            <p:ph type="body" sz="quarter" idx="18" hasCustomPrompt="1"/>
          </p:nvPr>
        </p:nvSpPr>
        <p:spPr>
          <a:xfrm>
            <a:off x="8166766" y="4186033"/>
            <a:ext cx="3287858" cy="356200"/>
          </a:xfrm>
        </p:spPr>
        <p:txBody>
          <a:bodyPr>
            <a:normAutofit/>
          </a:bodyPr>
          <a:lstStyle>
            <a:lvl1pPr marL="0" indent="0" algn="l">
              <a:buNone/>
              <a:defRPr sz="1731" b="1">
                <a:solidFill>
                  <a:schemeClr val="bg1"/>
                </a:solidFill>
              </a:defRPr>
            </a:lvl1pPr>
          </a:lstStyle>
          <a:p>
            <a:pPr lvl="0"/>
            <a:r>
              <a:rPr lang="en-US" dirty="0"/>
              <a:t>TITLE</a:t>
            </a:r>
            <a:endParaRPr lang="en-GB" dirty="0"/>
          </a:p>
        </p:txBody>
      </p:sp>
      <p:sp>
        <p:nvSpPr>
          <p:cNvPr id="21" name="Text Placeholder 9">
            <a:extLst>
              <a:ext uri="{FF2B5EF4-FFF2-40B4-BE49-F238E27FC236}">
                <a16:creationId xmlns:a16="http://schemas.microsoft.com/office/drawing/2014/main" id="{F1ECF6A5-EB6E-4BB8-871F-744ED5F47273}"/>
              </a:ext>
            </a:extLst>
          </p:cNvPr>
          <p:cNvSpPr>
            <a:spLocks noGrp="1"/>
          </p:cNvSpPr>
          <p:nvPr>
            <p:ph type="body" sz="quarter" idx="19" hasCustomPrompt="1"/>
          </p:nvPr>
        </p:nvSpPr>
        <p:spPr>
          <a:xfrm>
            <a:off x="8166766" y="4610123"/>
            <a:ext cx="3287858" cy="1602900"/>
          </a:xfrm>
        </p:spPr>
        <p:txBody>
          <a:bodyPr>
            <a:normAutofit/>
          </a:bodyPr>
          <a:lstStyle>
            <a:lvl1pPr marL="0" indent="0">
              <a:buNone/>
              <a:defRPr sz="1649" b="0">
                <a:solidFill>
                  <a:schemeClr val="bg1"/>
                </a:solidFill>
              </a:defRPr>
            </a:lvl1pPr>
          </a:lstStyle>
          <a:p>
            <a:pPr lvl="0"/>
            <a:r>
              <a:rPr lang="en-US" dirty="0"/>
              <a:t>Lorem</a:t>
            </a:r>
            <a:endParaRPr lang="en-GB" dirty="0"/>
          </a:p>
        </p:txBody>
      </p:sp>
      <p:sp>
        <p:nvSpPr>
          <p:cNvPr id="22" name="Text Placeholder 5">
            <a:extLst>
              <a:ext uri="{FF2B5EF4-FFF2-40B4-BE49-F238E27FC236}">
                <a16:creationId xmlns:a16="http://schemas.microsoft.com/office/drawing/2014/main" id="{D14F4ACA-C450-4930-99A8-2FB7AB8A3E87}"/>
              </a:ext>
            </a:extLst>
          </p:cNvPr>
          <p:cNvSpPr>
            <a:spLocks noGrp="1"/>
          </p:cNvSpPr>
          <p:nvPr>
            <p:ph type="body" sz="quarter" idx="20" hasCustomPrompt="1"/>
          </p:nvPr>
        </p:nvSpPr>
        <p:spPr>
          <a:xfrm>
            <a:off x="11961416" y="3036771"/>
            <a:ext cx="1591576" cy="1055017"/>
          </a:xfrm>
        </p:spPr>
        <p:txBody>
          <a:bodyPr>
            <a:noAutofit/>
          </a:bodyPr>
          <a:lstStyle>
            <a:lvl1pPr marL="0" indent="0">
              <a:buNone/>
              <a:defRPr sz="7915">
                <a:solidFill>
                  <a:schemeClr val="bg1"/>
                </a:solidFill>
              </a:defRPr>
            </a:lvl1pPr>
            <a:lvl2pPr marL="753923" indent="0">
              <a:buNone/>
              <a:defRPr/>
            </a:lvl2pPr>
            <a:lvl3pPr marL="1507846" indent="0">
              <a:buNone/>
              <a:defRPr/>
            </a:lvl3pPr>
            <a:lvl4pPr marL="2261768" indent="0">
              <a:buNone/>
              <a:defRPr/>
            </a:lvl4pPr>
            <a:lvl5pPr marL="3015691" indent="0">
              <a:buNone/>
              <a:defRPr/>
            </a:lvl5pPr>
          </a:lstStyle>
          <a:p>
            <a:pPr lvl="0"/>
            <a:r>
              <a:rPr lang="en-US" dirty="0"/>
              <a:t>Nº</a:t>
            </a:r>
            <a:endParaRPr lang="en-GB" dirty="0"/>
          </a:p>
        </p:txBody>
      </p:sp>
      <p:sp>
        <p:nvSpPr>
          <p:cNvPr id="23" name="Text Placeholder 9">
            <a:extLst>
              <a:ext uri="{FF2B5EF4-FFF2-40B4-BE49-F238E27FC236}">
                <a16:creationId xmlns:a16="http://schemas.microsoft.com/office/drawing/2014/main" id="{452EFDD8-F731-4DE7-9CB9-F51D16D142E9}"/>
              </a:ext>
            </a:extLst>
          </p:cNvPr>
          <p:cNvSpPr>
            <a:spLocks noGrp="1"/>
          </p:cNvSpPr>
          <p:nvPr>
            <p:ph type="body" sz="quarter" idx="21" hasCustomPrompt="1"/>
          </p:nvPr>
        </p:nvSpPr>
        <p:spPr>
          <a:xfrm>
            <a:off x="11961415" y="4186033"/>
            <a:ext cx="3287858" cy="356200"/>
          </a:xfrm>
        </p:spPr>
        <p:txBody>
          <a:bodyPr>
            <a:normAutofit/>
          </a:bodyPr>
          <a:lstStyle>
            <a:lvl1pPr marL="0" indent="0" algn="l">
              <a:buNone/>
              <a:defRPr sz="1731" b="1">
                <a:solidFill>
                  <a:schemeClr val="bg1"/>
                </a:solidFill>
              </a:defRPr>
            </a:lvl1pPr>
          </a:lstStyle>
          <a:p>
            <a:pPr lvl="0"/>
            <a:r>
              <a:rPr lang="en-US" dirty="0"/>
              <a:t>TITLE</a:t>
            </a:r>
            <a:endParaRPr lang="en-GB" dirty="0"/>
          </a:p>
        </p:txBody>
      </p:sp>
      <p:sp>
        <p:nvSpPr>
          <p:cNvPr id="24" name="Text Placeholder 9">
            <a:extLst>
              <a:ext uri="{FF2B5EF4-FFF2-40B4-BE49-F238E27FC236}">
                <a16:creationId xmlns:a16="http://schemas.microsoft.com/office/drawing/2014/main" id="{DC8EA6EF-76A1-4606-8285-B29DC6370529}"/>
              </a:ext>
            </a:extLst>
          </p:cNvPr>
          <p:cNvSpPr>
            <a:spLocks noGrp="1"/>
          </p:cNvSpPr>
          <p:nvPr>
            <p:ph type="body" sz="quarter" idx="22" hasCustomPrompt="1"/>
          </p:nvPr>
        </p:nvSpPr>
        <p:spPr>
          <a:xfrm>
            <a:off x="11961415" y="4610123"/>
            <a:ext cx="3287858" cy="1602900"/>
          </a:xfrm>
        </p:spPr>
        <p:txBody>
          <a:bodyPr>
            <a:normAutofit/>
          </a:bodyPr>
          <a:lstStyle>
            <a:lvl1pPr marL="0" indent="0">
              <a:buNone/>
              <a:defRPr sz="1649" b="0">
                <a:solidFill>
                  <a:schemeClr val="bg1"/>
                </a:solidFill>
              </a:defRPr>
            </a:lvl1pPr>
          </a:lstStyle>
          <a:p>
            <a:pPr lvl="0"/>
            <a:r>
              <a:rPr lang="en-US" dirty="0"/>
              <a:t>Lorem</a:t>
            </a:r>
            <a:endParaRPr lang="en-GB" dirty="0"/>
          </a:p>
        </p:txBody>
      </p:sp>
      <p:sp>
        <p:nvSpPr>
          <p:cNvPr id="26" name="Text Placeholder 5">
            <a:extLst>
              <a:ext uri="{FF2B5EF4-FFF2-40B4-BE49-F238E27FC236}">
                <a16:creationId xmlns:a16="http://schemas.microsoft.com/office/drawing/2014/main" id="{4029AB7C-C9FD-4FF0-8840-1E9FEB163290}"/>
              </a:ext>
            </a:extLst>
          </p:cNvPr>
          <p:cNvSpPr>
            <a:spLocks noGrp="1"/>
          </p:cNvSpPr>
          <p:nvPr>
            <p:ph type="body" sz="quarter" idx="23" hasCustomPrompt="1"/>
          </p:nvPr>
        </p:nvSpPr>
        <p:spPr>
          <a:xfrm>
            <a:off x="15864438" y="3036771"/>
            <a:ext cx="1591576" cy="1055017"/>
          </a:xfrm>
        </p:spPr>
        <p:txBody>
          <a:bodyPr>
            <a:noAutofit/>
          </a:bodyPr>
          <a:lstStyle>
            <a:lvl1pPr marL="0" indent="0">
              <a:buNone/>
              <a:defRPr sz="7915">
                <a:solidFill>
                  <a:schemeClr val="bg1"/>
                </a:solidFill>
              </a:defRPr>
            </a:lvl1pPr>
            <a:lvl2pPr marL="753923" indent="0">
              <a:buNone/>
              <a:defRPr/>
            </a:lvl2pPr>
            <a:lvl3pPr marL="1507846" indent="0">
              <a:buNone/>
              <a:defRPr/>
            </a:lvl3pPr>
            <a:lvl4pPr marL="2261768" indent="0">
              <a:buNone/>
              <a:defRPr/>
            </a:lvl4pPr>
            <a:lvl5pPr marL="3015691" indent="0">
              <a:buNone/>
              <a:defRPr/>
            </a:lvl5pPr>
          </a:lstStyle>
          <a:p>
            <a:pPr lvl="0"/>
            <a:r>
              <a:rPr lang="en-US" dirty="0"/>
              <a:t>Nº</a:t>
            </a:r>
            <a:endParaRPr lang="en-GB" dirty="0"/>
          </a:p>
        </p:txBody>
      </p:sp>
      <p:sp>
        <p:nvSpPr>
          <p:cNvPr id="27" name="Text Placeholder 9">
            <a:extLst>
              <a:ext uri="{FF2B5EF4-FFF2-40B4-BE49-F238E27FC236}">
                <a16:creationId xmlns:a16="http://schemas.microsoft.com/office/drawing/2014/main" id="{2B7D9975-B0DF-400E-9270-5AE6A16D39B9}"/>
              </a:ext>
            </a:extLst>
          </p:cNvPr>
          <p:cNvSpPr>
            <a:spLocks noGrp="1"/>
          </p:cNvSpPr>
          <p:nvPr>
            <p:ph type="body" sz="quarter" idx="24" hasCustomPrompt="1"/>
          </p:nvPr>
        </p:nvSpPr>
        <p:spPr>
          <a:xfrm>
            <a:off x="15864437" y="4186033"/>
            <a:ext cx="3287858" cy="356200"/>
          </a:xfrm>
        </p:spPr>
        <p:txBody>
          <a:bodyPr>
            <a:normAutofit/>
          </a:bodyPr>
          <a:lstStyle>
            <a:lvl1pPr marL="0" indent="0" algn="l">
              <a:buNone/>
              <a:defRPr sz="1731" b="1">
                <a:solidFill>
                  <a:schemeClr val="bg1"/>
                </a:solidFill>
              </a:defRPr>
            </a:lvl1pPr>
          </a:lstStyle>
          <a:p>
            <a:pPr lvl="0"/>
            <a:r>
              <a:rPr lang="en-US" dirty="0"/>
              <a:t>TITLE</a:t>
            </a:r>
            <a:endParaRPr lang="en-GB" dirty="0"/>
          </a:p>
        </p:txBody>
      </p:sp>
      <p:sp>
        <p:nvSpPr>
          <p:cNvPr id="28" name="Text Placeholder 9">
            <a:extLst>
              <a:ext uri="{FF2B5EF4-FFF2-40B4-BE49-F238E27FC236}">
                <a16:creationId xmlns:a16="http://schemas.microsoft.com/office/drawing/2014/main" id="{6044989C-0A51-44C3-8048-FBC92AD92945}"/>
              </a:ext>
            </a:extLst>
          </p:cNvPr>
          <p:cNvSpPr>
            <a:spLocks noGrp="1"/>
          </p:cNvSpPr>
          <p:nvPr>
            <p:ph type="body" sz="quarter" idx="25" hasCustomPrompt="1"/>
          </p:nvPr>
        </p:nvSpPr>
        <p:spPr>
          <a:xfrm>
            <a:off x="15864437" y="4610123"/>
            <a:ext cx="3287858" cy="1602900"/>
          </a:xfrm>
        </p:spPr>
        <p:txBody>
          <a:bodyPr>
            <a:normAutofit/>
          </a:bodyPr>
          <a:lstStyle>
            <a:lvl1pPr marL="0" indent="0">
              <a:buNone/>
              <a:defRPr sz="1649" b="0">
                <a:solidFill>
                  <a:schemeClr val="bg1"/>
                </a:solidFill>
              </a:defRPr>
            </a:lvl1pPr>
          </a:lstStyle>
          <a:p>
            <a:pPr lvl="0"/>
            <a:r>
              <a:rPr lang="en-US" dirty="0"/>
              <a:t>Lorem</a:t>
            </a:r>
            <a:endParaRPr lang="en-GB" dirty="0"/>
          </a:p>
        </p:txBody>
      </p:sp>
      <p:sp>
        <p:nvSpPr>
          <p:cNvPr id="29" name="Text Placeholder 5">
            <a:extLst>
              <a:ext uri="{FF2B5EF4-FFF2-40B4-BE49-F238E27FC236}">
                <a16:creationId xmlns:a16="http://schemas.microsoft.com/office/drawing/2014/main" id="{EBEE3F2E-37F1-4BCA-9F54-FFD13786F096}"/>
              </a:ext>
            </a:extLst>
          </p:cNvPr>
          <p:cNvSpPr>
            <a:spLocks noGrp="1"/>
          </p:cNvSpPr>
          <p:nvPr>
            <p:ph type="body" sz="quarter" idx="26" hasCustomPrompt="1"/>
          </p:nvPr>
        </p:nvSpPr>
        <p:spPr>
          <a:xfrm>
            <a:off x="615165" y="6640560"/>
            <a:ext cx="1591576" cy="1055017"/>
          </a:xfrm>
        </p:spPr>
        <p:txBody>
          <a:bodyPr>
            <a:noAutofit/>
          </a:bodyPr>
          <a:lstStyle>
            <a:lvl1pPr marL="0" indent="0">
              <a:buNone/>
              <a:defRPr sz="7915">
                <a:solidFill>
                  <a:schemeClr val="bg1"/>
                </a:solidFill>
              </a:defRPr>
            </a:lvl1pPr>
            <a:lvl2pPr marL="753923" indent="0">
              <a:buNone/>
              <a:defRPr/>
            </a:lvl2pPr>
            <a:lvl3pPr marL="1507846" indent="0">
              <a:buNone/>
              <a:defRPr/>
            </a:lvl3pPr>
            <a:lvl4pPr marL="2261768" indent="0">
              <a:buNone/>
              <a:defRPr/>
            </a:lvl4pPr>
            <a:lvl5pPr marL="3015691" indent="0">
              <a:buNone/>
              <a:defRPr/>
            </a:lvl5pPr>
          </a:lstStyle>
          <a:p>
            <a:pPr lvl="0"/>
            <a:r>
              <a:rPr lang="en-US" dirty="0"/>
              <a:t>Nº</a:t>
            </a:r>
            <a:endParaRPr lang="en-GB" dirty="0"/>
          </a:p>
        </p:txBody>
      </p:sp>
      <p:sp>
        <p:nvSpPr>
          <p:cNvPr id="30" name="Text Placeholder 9">
            <a:extLst>
              <a:ext uri="{FF2B5EF4-FFF2-40B4-BE49-F238E27FC236}">
                <a16:creationId xmlns:a16="http://schemas.microsoft.com/office/drawing/2014/main" id="{81DEBFA4-5978-4578-8F0C-7C39ED73E2A1}"/>
              </a:ext>
            </a:extLst>
          </p:cNvPr>
          <p:cNvSpPr>
            <a:spLocks noGrp="1"/>
          </p:cNvSpPr>
          <p:nvPr>
            <p:ph type="body" sz="quarter" idx="27" hasCustomPrompt="1"/>
          </p:nvPr>
        </p:nvSpPr>
        <p:spPr>
          <a:xfrm>
            <a:off x="615164" y="7789822"/>
            <a:ext cx="3287858" cy="356200"/>
          </a:xfrm>
        </p:spPr>
        <p:txBody>
          <a:bodyPr>
            <a:normAutofit/>
          </a:bodyPr>
          <a:lstStyle>
            <a:lvl1pPr marL="0" indent="0" algn="l">
              <a:buNone/>
              <a:defRPr sz="1731" b="1">
                <a:solidFill>
                  <a:schemeClr val="bg1"/>
                </a:solidFill>
              </a:defRPr>
            </a:lvl1pPr>
          </a:lstStyle>
          <a:p>
            <a:pPr lvl="0"/>
            <a:r>
              <a:rPr lang="en-US" dirty="0"/>
              <a:t>TITLE</a:t>
            </a:r>
            <a:endParaRPr lang="en-GB" dirty="0"/>
          </a:p>
        </p:txBody>
      </p:sp>
      <p:sp>
        <p:nvSpPr>
          <p:cNvPr id="31" name="Text Placeholder 9">
            <a:extLst>
              <a:ext uri="{FF2B5EF4-FFF2-40B4-BE49-F238E27FC236}">
                <a16:creationId xmlns:a16="http://schemas.microsoft.com/office/drawing/2014/main" id="{3281B3E2-E048-4F9F-96F2-EB4AC60190AA}"/>
              </a:ext>
            </a:extLst>
          </p:cNvPr>
          <p:cNvSpPr>
            <a:spLocks noGrp="1"/>
          </p:cNvSpPr>
          <p:nvPr>
            <p:ph type="body" sz="quarter" idx="28" hasCustomPrompt="1"/>
          </p:nvPr>
        </p:nvSpPr>
        <p:spPr>
          <a:xfrm>
            <a:off x="615164" y="8213913"/>
            <a:ext cx="3287858" cy="1602900"/>
          </a:xfrm>
        </p:spPr>
        <p:txBody>
          <a:bodyPr>
            <a:normAutofit/>
          </a:bodyPr>
          <a:lstStyle>
            <a:lvl1pPr marL="0" indent="0">
              <a:buNone/>
              <a:defRPr sz="1649" b="0">
                <a:solidFill>
                  <a:schemeClr val="bg1"/>
                </a:solidFill>
              </a:defRPr>
            </a:lvl1pPr>
          </a:lstStyle>
          <a:p>
            <a:pPr lvl="0"/>
            <a:r>
              <a:rPr lang="en-US" dirty="0"/>
              <a:t>Lorem</a:t>
            </a:r>
            <a:endParaRPr lang="en-GB" dirty="0"/>
          </a:p>
        </p:txBody>
      </p:sp>
      <p:sp>
        <p:nvSpPr>
          <p:cNvPr id="32" name="Text Placeholder 5">
            <a:extLst>
              <a:ext uri="{FF2B5EF4-FFF2-40B4-BE49-F238E27FC236}">
                <a16:creationId xmlns:a16="http://schemas.microsoft.com/office/drawing/2014/main" id="{E89F656C-88AB-46B0-92BA-1E0F98BA0B30}"/>
              </a:ext>
            </a:extLst>
          </p:cNvPr>
          <p:cNvSpPr>
            <a:spLocks noGrp="1"/>
          </p:cNvSpPr>
          <p:nvPr>
            <p:ph type="body" sz="quarter" idx="29" hasCustomPrompt="1"/>
          </p:nvPr>
        </p:nvSpPr>
        <p:spPr>
          <a:xfrm>
            <a:off x="4409814" y="6640560"/>
            <a:ext cx="1591576" cy="1055017"/>
          </a:xfrm>
        </p:spPr>
        <p:txBody>
          <a:bodyPr>
            <a:noAutofit/>
          </a:bodyPr>
          <a:lstStyle>
            <a:lvl1pPr marL="0" indent="0">
              <a:buNone/>
              <a:defRPr sz="7915">
                <a:solidFill>
                  <a:schemeClr val="bg1"/>
                </a:solidFill>
              </a:defRPr>
            </a:lvl1pPr>
            <a:lvl2pPr marL="753923" indent="0">
              <a:buNone/>
              <a:defRPr/>
            </a:lvl2pPr>
            <a:lvl3pPr marL="1507846" indent="0">
              <a:buNone/>
              <a:defRPr/>
            </a:lvl3pPr>
            <a:lvl4pPr marL="2261768" indent="0">
              <a:buNone/>
              <a:defRPr/>
            </a:lvl4pPr>
            <a:lvl5pPr marL="3015691" indent="0">
              <a:buNone/>
              <a:defRPr/>
            </a:lvl5pPr>
          </a:lstStyle>
          <a:p>
            <a:pPr lvl="0"/>
            <a:r>
              <a:rPr lang="en-US" dirty="0"/>
              <a:t>Nº</a:t>
            </a:r>
            <a:endParaRPr lang="en-GB" dirty="0"/>
          </a:p>
        </p:txBody>
      </p:sp>
      <p:sp>
        <p:nvSpPr>
          <p:cNvPr id="33" name="Text Placeholder 9">
            <a:extLst>
              <a:ext uri="{FF2B5EF4-FFF2-40B4-BE49-F238E27FC236}">
                <a16:creationId xmlns:a16="http://schemas.microsoft.com/office/drawing/2014/main" id="{BEC4AD53-A8EE-4A8B-A8A9-AF7C00B8DF7C}"/>
              </a:ext>
            </a:extLst>
          </p:cNvPr>
          <p:cNvSpPr>
            <a:spLocks noGrp="1"/>
          </p:cNvSpPr>
          <p:nvPr>
            <p:ph type="body" sz="quarter" idx="30" hasCustomPrompt="1"/>
          </p:nvPr>
        </p:nvSpPr>
        <p:spPr>
          <a:xfrm>
            <a:off x="4409813" y="7789822"/>
            <a:ext cx="3287858" cy="356200"/>
          </a:xfrm>
        </p:spPr>
        <p:txBody>
          <a:bodyPr>
            <a:normAutofit/>
          </a:bodyPr>
          <a:lstStyle>
            <a:lvl1pPr marL="0" indent="0" algn="l">
              <a:buNone/>
              <a:defRPr sz="1731" b="1">
                <a:solidFill>
                  <a:schemeClr val="bg1"/>
                </a:solidFill>
              </a:defRPr>
            </a:lvl1pPr>
          </a:lstStyle>
          <a:p>
            <a:pPr lvl="0"/>
            <a:r>
              <a:rPr lang="en-US" dirty="0"/>
              <a:t>TITLE</a:t>
            </a:r>
            <a:endParaRPr lang="en-GB" dirty="0"/>
          </a:p>
        </p:txBody>
      </p:sp>
      <p:sp>
        <p:nvSpPr>
          <p:cNvPr id="34" name="Text Placeholder 9">
            <a:extLst>
              <a:ext uri="{FF2B5EF4-FFF2-40B4-BE49-F238E27FC236}">
                <a16:creationId xmlns:a16="http://schemas.microsoft.com/office/drawing/2014/main" id="{5A282DFE-7C74-46C9-8D2C-83D7184D6220}"/>
              </a:ext>
            </a:extLst>
          </p:cNvPr>
          <p:cNvSpPr>
            <a:spLocks noGrp="1"/>
          </p:cNvSpPr>
          <p:nvPr>
            <p:ph type="body" sz="quarter" idx="31" hasCustomPrompt="1"/>
          </p:nvPr>
        </p:nvSpPr>
        <p:spPr>
          <a:xfrm>
            <a:off x="4409813" y="8213913"/>
            <a:ext cx="3287858" cy="1602900"/>
          </a:xfrm>
        </p:spPr>
        <p:txBody>
          <a:bodyPr>
            <a:normAutofit/>
          </a:bodyPr>
          <a:lstStyle>
            <a:lvl1pPr marL="0" indent="0">
              <a:buNone/>
              <a:defRPr sz="1649" b="0">
                <a:solidFill>
                  <a:schemeClr val="bg1"/>
                </a:solidFill>
              </a:defRPr>
            </a:lvl1pPr>
          </a:lstStyle>
          <a:p>
            <a:pPr lvl="0"/>
            <a:r>
              <a:rPr lang="en-US" dirty="0"/>
              <a:t>Lorem</a:t>
            </a:r>
            <a:endParaRPr lang="en-GB" dirty="0"/>
          </a:p>
        </p:txBody>
      </p:sp>
      <p:sp>
        <p:nvSpPr>
          <p:cNvPr id="35" name="Text Placeholder 5">
            <a:extLst>
              <a:ext uri="{FF2B5EF4-FFF2-40B4-BE49-F238E27FC236}">
                <a16:creationId xmlns:a16="http://schemas.microsoft.com/office/drawing/2014/main" id="{E02076EF-85B9-4278-AB82-23384D605D48}"/>
              </a:ext>
            </a:extLst>
          </p:cNvPr>
          <p:cNvSpPr>
            <a:spLocks noGrp="1"/>
          </p:cNvSpPr>
          <p:nvPr>
            <p:ph type="body" sz="quarter" idx="32" hasCustomPrompt="1"/>
          </p:nvPr>
        </p:nvSpPr>
        <p:spPr>
          <a:xfrm>
            <a:off x="8166767" y="6640560"/>
            <a:ext cx="1591576" cy="1055017"/>
          </a:xfrm>
        </p:spPr>
        <p:txBody>
          <a:bodyPr>
            <a:noAutofit/>
          </a:bodyPr>
          <a:lstStyle>
            <a:lvl1pPr marL="0" indent="0">
              <a:buNone/>
              <a:defRPr sz="7915">
                <a:solidFill>
                  <a:schemeClr val="bg1"/>
                </a:solidFill>
              </a:defRPr>
            </a:lvl1pPr>
            <a:lvl2pPr marL="753923" indent="0">
              <a:buNone/>
              <a:defRPr/>
            </a:lvl2pPr>
            <a:lvl3pPr marL="1507846" indent="0">
              <a:buNone/>
              <a:defRPr/>
            </a:lvl3pPr>
            <a:lvl4pPr marL="2261768" indent="0">
              <a:buNone/>
              <a:defRPr/>
            </a:lvl4pPr>
            <a:lvl5pPr marL="3015691" indent="0">
              <a:buNone/>
              <a:defRPr/>
            </a:lvl5pPr>
          </a:lstStyle>
          <a:p>
            <a:pPr lvl="0"/>
            <a:r>
              <a:rPr lang="en-US" dirty="0"/>
              <a:t>Nº</a:t>
            </a:r>
            <a:endParaRPr lang="en-GB" dirty="0"/>
          </a:p>
        </p:txBody>
      </p:sp>
      <p:sp>
        <p:nvSpPr>
          <p:cNvPr id="36" name="Text Placeholder 9">
            <a:extLst>
              <a:ext uri="{FF2B5EF4-FFF2-40B4-BE49-F238E27FC236}">
                <a16:creationId xmlns:a16="http://schemas.microsoft.com/office/drawing/2014/main" id="{E4437FC0-3723-4401-BC4E-7D0A28F732AF}"/>
              </a:ext>
            </a:extLst>
          </p:cNvPr>
          <p:cNvSpPr>
            <a:spLocks noGrp="1"/>
          </p:cNvSpPr>
          <p:nvPr>
            <p:ph type="body" sz="quarter" idx="33" hasCustomPrompt="1"/>
          </p:nvPr>
        </p:nvSpPr>
        <p:spPr>
          <a:xfrm>
            <a:off x="8166766" y="7789822"/>
            <a:ext cx="3287858" cy="356200"/>
          </a:xfrm>
        </p:spPr>
        <p:txBody>
          <a:bodyPr>
            <a:normAutofit/>
          </a:bodyPr>
          <a:lstStyle>
            <a:lvl1pPr marL="0" indent="0" algn="l">
              <a:buNone/>
              <a:defRPr sz="1731" b="1">
                <a:solidFill>
                  <a:schemeClr val="bg1"/>
                </a:solidFill>
              </a:defRPr>
            </a:lvl1pPr>
          </a:lstStyle>
          <a:p>
            <a:pPr lvl="0"/>
            <a:r>
              <a:rPr lang="en-US" dirty="0"/>
              <a:t>TITLE</a:t>
            </a:r>
            <a:endParaRPr lang="en-GB" dirty="0"/>
          </a:p>
        </p:txBody>
      </p:sp>
      <p:sp>
        <p:nvSpPr>
          <p:cNvPr id="37" name="Text Placeholder 9">
            <a:extLst>
              <a:ext uri="{FF2B5EF4-FFF2-40B4-BE49-F238E27FC236}">
                <a16:creationId xmlns:a16="http://schemas.microsoft.com/office/drawing/2014/main" id="{8883DC26-E441-464E-B954-44D6FF0981BA}"/>
              </a:ext>
            </a:extLst>
          </p:cNvPr>
          <p:cNvSpPr>
            <a:spLocks noGrp="1"/>
          </p:cNvSpPr>
          <p:nvPr>
            <p:ph type="body" sz="quarter" idx="34" hasCustomPrompt="1"/>
          </p:nvPr>
        </p:nvSpPr>
        <p:spPr>
          <a:xfrm>
            <a:off x="8166766" y="8213913"/>
            <a:ext cx="3287858" cy="1602900"/>
          </a:xfrm>
        </p:spPr>
        <p:txBody>
          <a:bodyPr>
            <a:normAutofit/>
          </a:bodyPr>
          <a:lstStyle>
            <a:lvl1pPr marL="0" indent="0">
              <a:buNone/>
              <a:defRPr sz="1649" b="0">
                <a:solidFill>
                  <a:schemeClr val="bg1"/>
                </a:solidFill>
              </a:defRPr>
            </a:lvl1pPr>
          </a:lstStyle>
          <a:p>
            <a:pPr lvl="0"/>
            <a:r>
              <a:rPr lang="en-US" dirty="0"/>
              <a:t>Lorem</a:t>
            </a:r>
            <a:endParaRPr lang="en-GB" dirty="0"/>
          </a:p>
        </p:txBody>
      </p:sp>
      <p:sp>
        <p:nvSpPr>
          <p:cNvPr id="38" name="Text Placeholder 5">
            <a:extLst>
              <a:ext uri="{FF2B5EF4-FFF2-40B4-BE49-F238E27FC236}">
                <a16:creationId xmlns:a16="http://schemas.microsoft.com/office/drawing/2014/main" id="{968A70C8-EE78-46BE-9F38-09E41463BB9F}"/>
              </a:ext>
            </a:extLst>
          </p:cNvPr>
          <p:cNvSpPr>
            <a:spLocks noGrp="1"/>
          </p:cNvSpPr>
          <p:nvPr>
            <p:ph type="body" sz="quarter" idx="35" hasCustomPrompt="1"/>
          </p:nvPr>
        </p:nvSpPr>
        <p:spPr>
          <a:xfrm>
            <a:off x="11961416" y="6640560"/>
            <a:ext cx="1591576" cy="1055017"/>
          </a:xfrm>
        </p:spPr>
        <p:txBody>
          <a:bodyPr>
            <a:noAutofit/>
          </a:bodyPr>
          <a:lstStyle>
            <a:lvl1pPr marL="0" indent="0">
              <a:buNone/>
              <a:defRPr sz="7915">
                <a:solidFill>
                  <a:schemeClr val="bg1"/>
                </a:solidFill>
              </a:defRPr>
            </a:lvl1pPr>
            <a:lvl2pPr marL="753923" indent="0">
              <a:buNone/>
              <a:defRPr/>
            </a:lvl2pPr>
            <a:lvl3pPr marL="1507846" indent="0">
              <a:buNone/>
              <a:defRPr/>
            </a:lvl3pPr>
            <a:lvl4pPr marL="2261768" indent="0">
              <a:buNone/>
              <a:defRPr/>
            </a:lvl4pPr>
            <a:lvl5pPr marL="3015691" indent="0">
              <a:buNone/>
              <a:defRPr/>
            </a:lvl5pPr>
          </a:lstStyle>
          <a:p>
            <a:pPr lvl="0"/>
            <a:r>
              <a:rPr lang="en-US" dirty="0"/>
              <a:t>Nº</a:t>
            </a:r>
            <a:endParaRPr lang="en-GB" dirty="0"/>
          </a:p>
        </p:txBody>
      </p:sp>
      <p:sp>
        <p:nvSpPr>
          <p:cNvPr id="39" name="Text Placeholder 9">
            <a:extLst>
              <a:ext uri="{FF2B5EF4-FFF2-40B4-BE49-F238E27FC236}">
                <a16:creationId xmlns:a16="http://schemas.microsoft.com/office/drawing/2014/main" id="{DCFA9B7E-C954-4371-A0B4-6839A16D66D3}"/>
              </a:ext>
            </a:extLst>
          </p:cNvPr>
          <p:cNvSpPr>
            <a:spLocks noGrp="1"/>
          </p:cNvSpPr>
          <p:nvPr>
            <p:ph type="body" sz="quarter" idx="36" hasCustomPrompt="1"/>
          </p:nvPr>
        </p:nvSpPr>
        <p:spPr>
          <a:xfrm>
            <a:off x="11961415" y="7789822"/>
            <a:ext cx="3287858" cy="356200"/>
          </a:xfrm>
        </p:spPr>
        <p:txBody>
          <a:bodyPr>
            <a:normAutofit/>
          </a:bodyPr>
          <a:lstStyle>
            <a:lvl1pPr marL="0" indent="0" algn="l">
              <a:buNone/>
              <a:defRPr sz="1731" b="1">
                <a:solidFill>
                  <a:schemeClr val="bg1"/>
                </a:solidFill>
              </a:defRPr>
            </a:lvl1pPr>
          </a:lstStyle>
          <a:p>
            <a:pPr lvl="0"/>
            <a:r>
              <a:rPr lang="en-US" dirty="0"/>
              <a:t>TITLE</a:t>
            </a:r>
            <a:endParaRPr lang="en-GB" dirty="0"/>
          </a:p>
        </p:txBody>
      </p:sp>
      <p:sp>
        <p:nvSpPr>
          <p:cNvPr id="40" name="Text Placeholder 9">
            <a:extLst>
              <a:ext uri="{FF2B5EF4-FFF2-40B4-BE49-F238E27FC236}">
                <a16:creationId xmlns:a16="http://schemas.microsoft.com/office/drawing/2014/main" id="{6D71BA04-AABC-45E5-9656-45E0BB19D42F}"/>
              </a:ext>
            </a:extLst>
          </p:cNvPr>
          <p:cNvSpPr>
            <a:spLocks noGrp="1"/>
          </p:cNvSpPr>
          <p:nvPr>
            <p:ph type="body" sz="quarter" idx="37" hasCustomPrompt="1"/>
          </p:nvPr>
        </p:nvSpPr>
        <p:spPr>
          <a:xfrm>
            <a:off x="11961415" y="8213913"/>
            <a:ext cx="3287858" cy="1602900"/>
          </a:xfrm>
        </p:spPr>
        <p:txBody>
          <a:bodyPr>
            <a:normAutofit/>
          </a:bodyPr>
          <a:lstStyle>
            <a:lvl1pPr marL="0" indent="0">
              <a:buNone/>
              <a:defRPr sz="1649" b="0">
                <a:solidFill>
                  <a:schemeClr val="bg1"/>
                </a:solidFill>
              </a:defRPr>
            </a:lvl1pPr>
          </a:lstStyle>
          <a:p>
            <a:pPr lvl="0"/>
            <a:r>
              <a:rPr lang="en-US" dirty="0"/>
              <a:t>Lorem</a:t>
            </a:r>
            <a:endParaRPr lang="en-GB" dirty="0"/>
          </a:p>
        </p:txBody>
      </p:sp>
      <p:sp>
        <p:nvSpPr>
          <p:cNvPr id="41" name="Text Placeholder 5">
            <a:extLst>
              <a:ext uri="{FF2B5EF4-FFF2-40B4-BE49-F238E27FC236}">
                <a16:creationId xmlns:a16="http://schemas.microsoft.com/office/drawing/2014/main" id="{2A0135A2-338E-4337-8F7D-C89BCB301081}"/>
              </a:ext>
            </a:extLst>
          </p:cNvPr>
          <p:cNvSpPr>
            <a:spLocks noGrp="1"/>
          </p:cNvSpPr>
          <p:nvPr>
            <p:ph type="body" sz="quarter" idx="38" hasCustomPrompt="1"/>
          </p:nvPr>
        </p:nvSpPr>
        <p:spPr>
          <a:xfrm>
            <a:off x="15864438" y="6640560"/>
            <a:ext cx="1591576" cy="1055017"/>
          </a:xfrm>
        </p:spPr>
        <p:txBody>
          <a:bodyPr>
            <a:noAutofit/>
          </a:bodyPr>
          <a:lstStyle>
            <a:lvl1pPr marL="0" indent="0">
              <a:buNone/>
              <a:defRPr sz="7915">
                <a:solidFill>
                  <a:schemeClr val="bg1"/>
                </a:solidFill>
              </a:defRPr>
            </a:lvl1pPr>
            <a:lvl2pPr marL="753923" indent="0">
              <a:buNone/>
              <a:defRPr/>
            </a:lvl2pPr>
            <a:lvl3pPr marL="1507846" indent="0">
              <a:buNone/>
              <a:defRPr/>
            </a:lvl3pPr>
            <a:lvl4pPr marL="2261768" indent="0">
              <a:buNone/>
              <a:defRPr/>
            </a:lvl4pPr>
            <a:lvl5pPr marL="3015691" indent="0">
              <a:buNone/>
              <a:defRPr/>
            </a:lvl5pPr>
          </a:lstStyle>
          <a:p>
            <a:pPr lvl="0"/>
            <a:r>
              <a:rPr lang="en-US" dirty="0"/>
              <a:t>Nº</a:t>
            </a:r>
            <a:endParaRPr lang="en-GB" dirty="0"/>
          </a:p>
        </p:txBody>
      </p:sp>
      <p:sp>
        <p:nvSpPr>
          <p:cNvPr id="42" name="Text Placeholder 9">
            <a:extLst>
              <a:ext uri="{FF2B5EF4-FFF2-40B4-BE49-F238E27FC236}">
                <a16:creationId xmlns:a16="http://schemas.microsoft.com/office/drawing/2014/main" id="{B47283B0-869D-4FF5-8A79-618919C330BE}"/>
              </a:ext>
            </a:extLst>
          </p:cNvPr>
          <p:cNvSpPr>
            <a:spLocks noGrp="1"/>
          </p:cNvSpPr>
          <p:nvPr>
            <p:ph type="body" sz="quarter" idx="39" hasCustomPrompt="1"/>
          </p:nvPr>
        </p:nvSpPr>
        <p:spPr>
          <a:xfrm>
            <a:off x="15864437" y="7789822"/>
            <a:ext cx="3287858" cy="356200"/>
          </a:xfrm>
        </p:spPr>
        <p:txBody>
          <a:bodyPr>
            <a:normAutofit/>
          </a:bodyPr>
          <a:lstStyle>
            <a:lvl1pPr marL="0" indent="0" algn="l">
              <a:buNone/>
              <a:defRPr sz="1731" b="1">
                <a:solidFill>
                  <a:schemeClr val="bg1"/>
                </a:solidFill>
              </a:defRPr>
            </a:lvl1pPr>
          </a:lstStyle>
          <a:p>
            <a:pPr lvl="0"/>
            <a:r>
              <a:rPr lang="en-US" dirty="0"/>
              <a:t>TITLE</a:t>
            </a:r>
            <a:endParaRPr lang="en-GB" dirty="0"/>
          </a:p>
        </p:txBody>
      </p:sp>
      <p:sp>
        <p:nvSpPr>
          <p:cNvPr id="43" name="Text Placeholder 9">
            <a:extLst>
              <a:ext uri="{FF2B5EF4-FFF2-40B4-BE49-F238E27FC236}">
                <a16:creationId xmlns:a16="http://schemas.microsoft.com/office/drawing/2014/main" id="{E7254A4F-5904-4BFE-B81D-AE8C682CE01E}"/>
              </a:ext>
            </a:extLst>
          </p:cNvPr>
          <p:cNvSpPr>
            <a:spLocks noGrp="1"/>
          </p:cNvSpPr>
          <p:nvPr>
            <p:ph type="body" sz="quarter" idx="40" hasCustomPrompt="1"/>
          </p:nvPr>
        </p:nvSpPr>
        <p:spPr>
          <a:xfrm>
            <a:off x="15864437" y="8213913"/>
            <a:ext cx="3287858" cy="1602900"/>
          </a:xfrm>
        </p:spPr>
        <p:txBody>
          <a:bodyPr>
            <a:normAutofit/>
          </a:bodyPr>
          <a:lstStyle>
            <a:lvl1pPr marL="0" indent="0">
              <a:buNone/>
              <a:defRPr sz="1649" b="0">
                <a:solidFill>
                  <a:schemeClr val="bg1"/>
                </a:solidFill>
              </a:defRPr>
            </a:lvl1pPr>
          </a:lstStyle>
          <a:p>
            <a:pPr lvl="0"/>
            <a:r>
              <a:rPr lang="en-US" dirty="0"/>
              <a:t>Lorem</a:t>
            </a:r>
            <a:endParaRPr lang="en-GB" dirty="0"/>
          </a:p>
        </p:txBody>
      </p:sp>
      <p:sp>
        <p:nvSpPr>
          <p:cNvPr id="11" name="Title 10">
            <a:extLst>
              <a:ext uri="{FF2B5EF4-FFF2-40B4-BE49-F238E27FC236}">
                <a16:creationId xmlns:a16="http://schemas.microsoft.com/office/drawing/2014/main" id="{B384F1BB-96E7-4D3C-AEA6-2038C6C940A2}"/>
              </a:ext>
            </a:extLst>
          </p:cNvPr>
          <p:cNvSpPr>
            <a:spLocks noGrp="1"/>
          </p:cNvSpPr>
          <p:nvPr>
            <p:ph type="title" hasCustomPrompt="1"/>
          </p:nvPr>
        </p:nvSpPr>
        <p:spPr>
          <a:xfrm>
            <a:off x="615163" y="396486"/>
            <a:ext cx="8682983" cy="2546037"/>
          </a:xfrm>
        </p:spPr>
        <p:txBody>
          <a:bodyPr anchor="t">
            <a:normAutofit/>
          </a:bodyPr>
          <a:lstStyle>
            <a:lvl1pPr>
              <a:lnSpc>
                <a:spcPts val="9234"/>
              </a:lnSpc>
              <a:defRPr sz="9564">
                <a:solidFill>
                  <a:schemeClr val="bg1"/>
                </a:solidFill>
              </a:defRPr>
            </a:lvl1pPr>
          </a:lstStyle>
          <a:p>
            <a:r>
              <a:rPr lang="en-US" dirty="0"/>
              <a:t>Title</a:t>
            </a:r>
            <a:endParaRPr lang="en-GB" dirty="0"/>
          </a:p>
        </p:txBody>
      </p:sp>
      <p:pic>
        <p:nvPicPr>
          <p:cNvPr id="44" name="Imagen 18">
            <a:extLst>
              <a:ext uri="{FF2B5EF4-FFF2-40B4-BE49-F238E27FC236}">
                <a16:creationId xmlns:a16="http://schemas.microsoft.com/office/drawing/2014/main" id="{32BD26A1-9AA8-4EBA-8DF9-36D7C057FFA6}"/>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206379" y="10190981"/>
            <a:ext cx="1167349" cy="583716"/>
          </a:xfrm>
          <a:prstGeom prst="rect">
            <a:avLst/>
          </a:prstGeom>
        </p:spPr>
      </p:pic>
    </p:spTree>
    <p:extLst>
      <p:ext uri="{BB962C8B-B14F-4D97-AF65-F5344CB8AC3E}">
        <p14:creationId xmlns:p14="http://schemas.microsoft.com/office/powerpoint/2010/main" val="843547811"/>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itle Sllide 28px">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2651B967-5412-4F9E-949F-4173106E63EA}"/>
              </a:ext>
            </a:extLst>
          </p:cNvPr>
          <p:cNvSpPr>
            <a:spLocks noGrp="1"/>
          </p:cNvSpPr>
          <p:nvPr>
            <p:ph type="pic" sz="quarter" idx="11"/>
          </p:nvPr>
        </p:nvSpPr>
        <p:spPr>
          <a:xfrm>
            <a:off x="0" y="0"/>
            <a:ext cx="20104100" cy="11309350"/>
          </a:xfrm>
        </p:spPr>
        <p:txBody>
          <a:bodyPr anchor="ctr"/>
          <a:lstStyle>
            <a:lvl1pPr marL="0" indent="0" algn="ctr">
              <a:buNone/>
              <a:defRPr/>
            </a:lvl1pPr>
          </a:lstStyle>
          <a:p>
            <a:endParaRPr lang="en-GB"/>
          </a:p>
        </p:txBody>
      </p:sp>
      <p:pic>
        <p:nvPicPr>
          <p:cNvPr id="19" name="Imagen 18">
            <a:extLst>
              <a:ext uri="{FF2B5EF4-FFF2-40B4-BE49-F238E27FC236}">
                <a16:creationId xmlns:a16="http://schemas.microsoft.com/office/drawing/2014/main" id="{CDE873E3-468F-41C9-A3D5-AE1CFF571F4A}"/>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206379" y="10190981"/>
            <a:ext cx="1167349" cy="583716"/>
          </a:xfrm>
          <a:prstGeom prst="rect">
            <a:avLst/>
          </a:prstGeom>
        </p:spPr>
      </p:pic>
      <p:sp>
        <p:nvSpPr>
          <p:cNvPr id="2" name="Title 1">
            <a:extLst>
              <a:ext uri="{FF2B5EF4-FFF2-40B4-BE49-F238E27FC236}">
                <a16:creationId xmlns:a16="http://schemas.microsoft.com/office/drawing/2014/main" id="{1D616A16-5F6F-4F25-88DA-B5D1E5C6D6A9}"/>
              </a:ext>
            </a:extLst>
          </p:cNvPr>
          <p:cNvSpPr>
            <a:spLocks noGrp="1"/>
          </p:cNvSpPr>
          <p:nvPr>
            <p:ph type="title" hasCustomPrompt="1"/>
          </p:nvPr>
        </p:nvSpPr>
        <p:spPr>
          <a:xfrm>
            <a:off x="496617" y="314895"/>
            <a:ext cx="8693826" cy="896005"/>
          </a:xfrm>
        </p:spPr>
        <p:txBody>
          <a:bodyPr vert="horz" lIns="0" tIns="0" rIns="0" bIns="0" rtlCol="0" anchor="t">
            <a:noAutofit/>
          </a:bodyPr>
          <a:lstStyle>
            <a:lvl1pPr>
              <a:defRPr lang="en-GB" sz="4617" dirty="0">
                <a:solidFill>
                  <a:schemeClr val="bg1"/>
                </a:solidFill>
              </a:defRPr>
            </a:lvl1pPr>
          </a:lstStyle>
          <a:p>
            <a:pPr lvl="0">
              <a:lnSpc>
                <a:spcPts val="5772"/>
              </a:lnSpc>
            </a:pPr>
            <a:r>
              <a:rPr lang="en-US" dirty="0"/>
              <a:t>Title</a:t>
            </a:r>
            <a:endParaRPr lang="en-GB" dirty="0"/>
          </a:p>
        </p:txBody>
      </p:sp>
      <p:sp>
        <p:nvSpPr>
          <p:cNvPr id="14" name="Marcador de texto 19">
            <a:extLst>
              <a:ext uri="{FF2B5EF4-FFF2-40B4-BE49-F238E27FC236}">
                <a16:creationId xmlns:a16="http://schemas.microsoft.com/office/drawing/2014/main" id="{F0A5F956-78D9-483E-8513-18F922BFD069}"/>
              </a:ext>
            </a:extLst>
          </p:cNvPr>
          <p:cNvSpPr>
            <a:spLocks noGrp="1"/>
          </p:cNvSpPr>
          <p:nvPr>
            <p:ph type="body" sz="quarter" idx="10" hasCustomPrompt="1"/>
          </p:nvPr>
        </p:nvSpPr>
        <p:spPr>
          <a:xfrm>
            <a:off x="17185412" y="389504"/>
            <a:ext cx="2985439" cy="250572"/>
          </a:xfrm>
          <a:noFill/>
        </p:spPr>
        <p:txBody>
          <a:bodyPr wrap="square" lIns="0" tIns="0" rIns="0" bIns="0" rtlCol="0" anchor="ctr">
            <a:noAutofit/>
          </a:bodyPr>
          <a:lstStyle>
            <a:lvl1pPr marL="0" indent="0">
              <a:buNone/>
              <a:defRPr lang="es-ES" sz="1319" b="0" smtClean="0">
                <a:solidFill>
                  <a:schemeClr val="bg1"/>
                </a:solidFill>
              </a:defRPr>
            </a:lvl1pPr>
            <a:lvl2pPr marL="376961" indent="0">
              <a:buNone/>
              <a:defRPr lang="es-ES" sz="2968" smtClean="0"/>
            </a:lvl2pPr>
            <a:lvl3pPr marL="1130884" indent="0">
              <a:buNone/>
              <a:defRPr lang="es-ES" sz="2968" smtClean="0"/>
            </a:lvl3pPr>
            <a:lvl4pPr marL="1790567" indent="0">
              <a:buFont typeface="Arial" panose="020B0604020202020204" pitchFamily="34" charset="0"/>
              <a:buNone/>
              <a:defRPr lang="es-ES" smtClean="0"/>
            </a:lvl4pPr>
            <a:lvl5pPr marL="2638730" indent="0">
              <a:buNone/>
              <a:defRPr lang="es-ES"/>
            </a:lvl5pPr>
          </a:lstStyle>
          <a:p>
            <a:pPr marL="0" lvl="0"/>
            <a:r>
              <a:rPr lang="es-ES" noProof="0" dirty="0"/>
              <a:t>D</a:t>
            </a:r>
            <a:r>
              <a:rPr lang="en-GB" noProof="0" dirty="0" err="1"/>
              <a:t>ocument</a:t>
            </a:r>
            <a:r>
              <a:rPr lang="en-GB" noProof="0" dirty="0"/>
              <a:t> Title</a:t>
            </a:r>
          </a:p>
        </p:txBody>
      </p:sp>
    </p:spTree>
    <p:extLst>
      <p:ext uri="{BB962C8B-B14F-4D97-AF65-F5344CB8AC3E}">
        <p14:creationId xmlns:p14="http://schemas.microsoft.com/office/powerpoint/2010/main" val="3896300639"/>
      </p:ext>
    </p:extLst>
  </p:cSld>
  <p:clrMapOvr>
    <a:overrideClrMapping bg1="lt1" tx1="dk1" bg2="lt2" tx2="dk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itle Sllide">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2651B967-5412-4F9E-949F-4173106E63EA}"/>
              </a:ext>
            </a:extLst>
          </p:cNvPr>
          <p:cNvSpPr>
            <a:spLocks noGrp="1"/>
          </p:cNvSpPr>
          <p:nvPr>
            <p:ph type="pic" sz="quarter" idx="11"/>
          </p:nvPr>
        </p:nvSpPr>
        <p:spPr>
          <a:xfrm>
            <a:off x="0" y="0"/>
            <a:ext cx="20104100" cy="11309350"/>
          </a:xfrm>
        </p:spPr>
        <p:txBody>
          <a:bodyPr anchor="ctr"/>
          <a:lstStyle>
            <a:lvl1pPr marL="0" indent="0" algn="ctr">
              <a:buNone/>
              <a:defRPr/>
            </a:lvl1pPr>
          </a:lstStyle>
          <a:p>
            <a:endParaRPr lang="en-GB"/>
          </a:p>
        </p:txBody>
      </p:sp>
      <p:pic>
        <p:nvPicPr>
          <p:cNvPr id="19" name="Imagen 18">
            <a:extLst>
              <a:ext uri="{FF2B5EF4-FFF2-40B4-BE49-F238E27FC236}">
                <a16:creationId xmlns:a16="http://schemas.microsoft.com/office/drawing/2014/main" id="{CDE873E3-468F-41C9-A3D5-AE1CFF571F4A}"/>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206379" y="10190981"/>
            <a:ext cx="1167349" cy="583716"/>
          </a:xfrm>
          <a:prstGeom prst="rect">
            <a:avLst/>
          </a:prstGeom>
        </p:spPr>
      </p:pic>
      <p:sp>
        <p:nvSpPr>
          <p:cNvPr id="14" name="Marcador de texto 19">
            <a:extLst>
              <a:ext uri="{FF2B5EF4-FFF2-40B4-BE49-F238E27FC236}">
                <a16:creationId xmlns:a16="http://schemas.microsoft.com/office/drawing/2014/main" id="{F0A5F956-78D9-483E-8513-18F922BFD069}"/>
              </a:ext>
            </a:extLst>
          </p:cNvPr>
          <p:cNvSpPr>
            <a:spLocks noGrp="1"/>
          </p:cNvSpPr>
          <p:nvPr>
            <p:ph type="body" sz="quarter" idx="10" hasCustomPrompt="1"/>
          </p:nvPr>
        </p:nvSpPr>
        <p:spPr>
          <a:xfrm>
            <a:off x="17185412" y="389504"/>
            <a:ext cx="2985439" cy="250572"/>
          </a:xfrm>
          <a:noFill/>
        </p:spPr>
        <p:txBody>
          <a:bodyPr wrap="square" lIns="0" tIns="0" rIns="0" bIns="0" rtlCol="0" anchor="ctr">
            <a:noAutofit/>
          </a:bodyPr>
          <a:lstStyle>
            <a:lvl1pPr marL="0" indent="0">
              <a:buNone/>
              <a:defRPr lang="es-ES" sz="1319" b="0" smtClean="0">
                <a:solidFill>
                  <a:schemeClr val="bg1"/>
                </a:solidFill>
              </a:defRPr>
            </a:lvl1pPr>
            <a:lvl2pPr marL="376961" indent="0">
              <a:buNone/>
              <a:defRPr lang="es-ES" sz="2968" smtClean="0"/>
            </a:lvl2pPr>
            <a:lvl3pPr marL="1130884" indent="0">
              <a:buNone/>
              <a:defRPr lang="es-ES" sz="2968" smtClean="0"/>
            </a:lvl3pPr>
            <a:lvl4pPr marL="1790567" indent="0">
              <a:buFont typeface="Arial" panose="020B0604020202020204" pitchFamily="34" charset="0"/>
              <a:buNone/>
              <a:defRPr lang="es-ES" smtClean="0"/>
            </a:lvl4pPr>
            <a:lvl5pPr marL="2638730" indent="0">
              <a:buNone/>
              <a:defRPr lang="es-ES"/>
            </a:lvl5pPr>
          </a:lstStyle>
          <a:p>
            <a:pPr marL="0" lvl="0"/>
            <a:r>
              <a:rPr lang="es-ES" noProof="0" dirty="0"/>
              <a:t>D</a:t>
            </a:r>
            <a:r>
              <a:rPr lang="en-GB" noProof="0" dirty="0" err="1"/>
              <a:t>ocument</a:t>
            </a:r>
            <a:r>
              <a:rPr lang="en-GB" noProof="0" dirty="0"/>
              <a:t> Title</a:t>
            </a:r>
          </a:p>
        </p:txBody>
      </p:sp>
    </p:spTree>
    <p:extLst>
      <p:ext uri="{BB962C8B-B14F-4D97-AF65-F5344CB8AC3E}">
        <p14:creationId xmlns:p14="http://schemas.microsoft.com/office/powerpoint/2010/main" val="4199436167"/>
      </p:ext>
    </p:extLst>
  </p:cSld>
  <p:clrMapOvr>
    <a:overrideClrMapping bg1="lt1" tx1="dk1" bg2="lt2" tx2="dk2" accent1="accent1" accent2="accent2" accent3="accent3" accent4="accent4" accent5="accent5" accent6="accent6" hlink="hlink" folHlink="folHlink"/>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Picture right">
    <p:bg>
      <p:bgRef idx="1001">
        <a:schemeClr val="bg1"/>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C677C15-D783-4350-B9E7-52E834A09207}"/>
              </a:ext>
            </a:extLst>
          </p:cNvPr>
          <p:cNvSpPr>
            <a:spLocks noGrp="1"/>
          </p:cNvSpPr>
          <p:nvPr>
            <p:ph type="pic" sz="quarter" idx="11"/>
          </p:nvPr>
        </p:nvSpPr>
        <p:spPr>
          <a:xfrm>
            <a:off x="7874106" y="0"/>
            <a:ext cx="12229994" cy="11309350"/>
          </a:xfrm>
        </p:spPr>
        <p:txBody>
          <a:bodyPr/>
          <a:lstStyle/>
          <a:p>
            <a:endParaRPr lang="en-GB"/>
          </a:p>
        </p:txBody>
      </p:sp>
      <p:sp>
        <p:nvSpPr>
          <p:cNvPr id="14" name="Marcador de texto 19">
            <a:extLst>
              <a:ext uri="{FF2B5EF4-FFF2-40B4-BE49-F238E27FC236}">
                <a16:creationId xmlns:a16="http://schemas.microsoft.com/office/drawing/2014/main" id="{F0A5F956-78D9-483E-8513-18F922BFD069}"/>
              </a:ext>
            </a:extLst>
          </p:cNvPr>
          <p:cNvSpPr>
            <a:spLocks noGrp="1"/>
          </p:cNvSpPr>
          <p:nvPr>
            <p:ph type="body" sz="quarter" idx="10" hasCustomPrompt="1"/>
          </p:nvPr>
        </p:nvSpPr>
        <p:spPr>
          <a:xfrm>
            <a:off x="17185412" y="389504"/>
            <a:ext cx="2985439" cy="250572"/>
          </a:xfrm>
          <a:noFill/>
        </p:spPr>
        <p:txBody>
          <a:bodyPr wrap="square" lIns="0" tIns="0" rIns="0" bIns="0" rtlCol="0" anchor="ctr">
            <a:noAutofit/>
          </a:bodyPr>
          <a:lstStyle>
            <a:lvl1pPr marL="0" indent="0">
              <a:buNone/>
              <a:defRPr lang="es-ES" sz="1319" b="0" smtClean="0">
                <a:solidFill>
                  <a:schemeClr val="bg1"/>
                </a:solidFill>
              </a:defRPr>
            </a:lvl1pPr>
            <a:lvl2pPr marL="376961" indent="0">
              <a:buNone/>
              <a:defRPr lang="es-ES" sz="2968" smtClean="0"/>
            </a:lvl2pPr>
            <a:lvl3pPr marL="1130884" indent="0">
              <a:buNone/>
              <a:defRPr lang="es-ES" sz="2968" smtClean="0"/>
            </a:lvl3pPr>
            <a:lvl4pPr marL="1790567" indent="0">
              <a:buFont typeface="Arial" panose="020B0604020202020204" pitchFamily="34" charset="0"/>
              <a:buNone/>
              <a:defRPr lang="es-ES" smtClean="0"/>
            </a:lvl4pPr>
            <a:lvl5pPr marL="2638730" indent="0">
              <a:buNone/>
              <a:defRPr lang="es-ES"/>
            </a:lvl5pPr>
          </a:lstStyle>
          <a:p>
            <a:pPr marL="0" lvl="0"/>
            <a:r>
              <a:rPr lang="es-ES" noProof="0" dirty="0"/>
              <a:t>D</a:t>
            </a:r>
            <a:r>
              <a:rPr lang="en-GB" noProof="0" dirty="0" err="1"/>
              <a:t>ocument</a:t>
            </a:r>
            <a:r>
              <a:rPr lang="en-GB" noProof="0" dirty="0"/>
              <a:t> Title</a:t>
            </a:r>
          </a:p>
        </p:txBody>
      </p:sp>
      <p:sp>
        <p:nvSpPr>
          <p:cNvPr id="6" name="Text Placeholder 5">
            <a:extLst>
              <a:ext uri="{FF2B5EF4-FFF2-40B4-BE49-F238E27FC236}">
                <a16:creationId xmlns:a16="http://schemas.microsoft.com/office/drawing/2014/main" id="{0E6285A1-3678-4E17-88A4-D3F997A10815}"/>
              </a:ext>
            </a:extLst>
          </p:cNvPr>
          <p:cNvSpPr>
            <a:spLocks noGrp="1"/>
          </p:cNvSpPr>
          <p:nvPr>
            <p:ph type="body" sz="quarter" idx="12" hasCustomPrompt="1"/>
          </p:nvPr>
        </p:nvSpPr>
        <p:spPr>
          <a:xfrm>
            <a:off x="552342" y="291893"/>
            <a:ext cx="4457977" cy="696363"/>
          </a:xfrm>
        </p:spPr>
        <p:txBody>
          <a:bodyPr anchor="ctr">
            <a:normAutofit/>
          </a:bodyPr>
          <a:lstStyle>
            <a:lvl1pPr marL="0" indent="0">
              <a:buNone/>
              <a:defRPr sz="2968"/>
            </a:lvl1pPr>
          </a:lstStyle>
          <a:p>
            <a:pPr lvl="0"/>
            <a:r>
              <a:rPr lang="en-GB" noProof="0"/>
              <a:t>Title</a:t>
            </a:r>
          </a:p>
        </p:txBody>
      </p:sp>
      <p:pic>
        <p:nvPicPr>
          <p:cNvPr id="5" name="Imagen 4">
            <a:extLst>
              <a:ext uri="{FF2B5EF4-FFF2-40B4-BE49-F238E27FC236}">
                <a16:creationId xmlns:a16="http://schemas.microsoft.com/office/drawing/2014/main" id="{89B4CBA2-4A11-D145-9157-6A99F51D78CF}"/>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206379" y="10190981"/>
            <a:ext cx="1167349" cy="583716"/>
          </a:xfrm>
          <a:prstGeom prst="rect">
            <a:avLst/>
          </a:prstGeom>
        </p:spPr>
      </p:pic>
    </p:spTree>
    <p:extLst>
      <p:ext uri="{BB962C8B-B14F-4D97-AF65-F5344CB8AC3E}">
        <p14:creationId xmlns:p14="http://schemas.microsoft.com/office/powerpoint/2010/main" val="3208593439"/>
      </p:ext>
    </p:extLst>
  </p:cSld>
  <p:clrMapOvr>
    <a:overrideClrMapping bg1="lt1" tx1="dk1" bg2="lt2" tx2="dk2" accent1="accent1" accent2="accent2" accent3="accent3" accent4="accent4" accent5="accent5" accent6="accent6" hlink="hlink" folHlink="folHlink"/>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Title + picture">
    <p:bg>
      <p:bgRef idx="1001">
        <a:schemeClr val="bg1"/>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C677C15-D783-4350-B9E7-52E834A09207}"/>
              </a:ext>
            </a:extLst>
          </p:cNvPr>
          <p:cNvSpPr>
            <a:spLocks noGrp="1"/>
          </p:cNvSpPr>
          <p:nvPr>
            <p:ph type="pic" sz="quarter" idx="11"/>
          </p:nvPr>
        </p:nvSpPr>
        <p:spPr>
          <a:xfrm>
            <a:off x="0" y="3494530"/>
            <a:ext cx="20104100" cy="6558226"/>
          </a:xfrm>
        </p:spPr>
        <p:txBody>
          <a:bodyPr/>
          <a:lstStyle/>
          <a:p>
            <a:endParaRPr lang="en-GB"/>
          </a:p>
        </p:txBody>
      </p:sp>
      <p:sp>
        <p:nvSpPr>
          <p:cNvPr id="14" name="Marcador de texto 19">
            <a:extLst>
              <a:ext uri="{FF2B5EF4-FFF2-40B4-BE49-F238E27FC236}">
                <a16:creationId xmlns:a16="http://schemas.microsoft.com/office/drawing/2014/main" id="{F0A5F956-78D9-483E-8513-18F922BFD069}"/>
              </a:ext>
            </a:extLst>
          </p:cNvPr>
          <p:cNvSpPr>
            <a:spLocks noGrp="1"/>
          </p:cNvSpPr>
          <p:nvPr>
            <p:ph type="body" sz="quarter" idx="10" hasCustomPrompt="1"/>
          </p:nvPr>
        </p:nvSpPr>
        <p:spPr>
          <a:xfrm>
            <a:off x="17185412" y="389504"/>
            <a:ext cx="2985439" cy="250572"/>
          </a:xfrm>
          <a:noFill/>
        </p:spPr>
        <p:txBody>
          <a:bodyPr wrap="square" lIns="0" tIns="0" rIns="0" bIns="0" rtlCol="0" anchor="ctr">
            <a:noAutofit/>
          </a:bodyPr>
          <a:lstStyle>
            <a:lvl1pPr marL="0" indent="0">
              <a:buNone/>
              <a:defRPr lang="es-ES" sz="1319" b="0" smtClean="0">
                <a:solidFill>
                  <a:schemeClr val="tx1"/>
                </a:solidFill>
              </a:defRPr>
            </a:lvl1pPr>
            <a:lvl2pPr marL="376961" indent="0">
              <a:buNone/>
              <a:defRPr lang="es-ES" sz="2968" smtClean="0"/>
            </a:lvl2pPr>
            <a:lvl3pPr marL="1130884" indent="0">
              <a:buNone/>
              <a:defRPr lang="es-ES" sz="2968" smtClean="0"/>
            </a:lvl3pPr>
            <a:lvl4pPr marL="1790567" indent="0">
              <a:buFont typeface="Arial" panose="020B0604020202020204" pitchFamily="34" charset="0"/>
              <a:buNone/>
              <a:defRPr lang="es-ES" smtClean="0"/>
            </a:lvl4pPr>
            <a:lvl5pPr marL="2638730" indent="0">
              <a:buNone/>
              <a:defRPr lang="es-ES"/>
            </a:lvl5pPr>
          </a:lstStyle>
          <a:p>
            <a:pPr marL="0" lvl="0"/>
            <a:r>
              <a:rPr lang="es-ES" noProof="0" dirty="0"/>
              <a:t>D</a:t>
            </a:r>
            <a:r>
              <a:rPr lang="en-GB" noProof="0" dirty="0" err="1"/>
              <a:t>ocument</a:t>
            </a:r>
            <a:r>
              <a:rPr lang="en-GB" noProof="0" dirty="0"/>
              <a:t> Title</a:t>
            </a:r>
          </a:p>
        </p:txBody>
      </p:sp>
      <p:sp>
        <p:nvSpPr>
          <p:cNvPr id="6" name="Text Placeholder 5">
            <a:extLst>
              <a:ext uri="{FF2B5EF4-FFF2-40B4-BE49-F238E27FC236}">
                <a16:creationId xmlns:a16="http://schemas.microsoft.com/office/drawing/2014/main" id="{0E6285A1-3678-4E17-88A4-D3F997A10815}"/>
              </a:ext>
            </a:extLst>
          </p:cNvPr>
          <p:cNvSpPr>
            <a:spLocks noGrp="1"/>
          </p:cNvSpPr>
          <p:nvPr>
            <p:ph type="body" sz="quarter" idx="12" hasCustomPrompt="1"/>
          </p:nvPr>
        </p:nvSpPr>
        <p:spPr>
          <a:xfrm>
            <a:off x="552342" y="291893"/>
            <a:ext cx="4457977" cy="696363"/>
          </a:xfrm>
        </p:spPr>
        <p:txBody>
          <a:bodyPr anchor="ctr">
            <a:normAutofit/>
          </a:bodyPr>
          <a:lstStyle>
            <a:lvl1pPr marL="0" indent="0">
              <a:buNone/>
              <a:defRPr sz="2968"/>
            </a:lvl1pPr>
          </a:lstStyle>
          <a:p>
            <a:pPr lvl="0"/>
            <a:r>
              <a:rPr lang="en-GB" noProof="0" dirty="0"/>
              <a:t>Title</a:t>
            </a:r>
          </a:p>
        </p:txBody>
      </p:sp>
      <p:pic>
        <p:nvPicPr>
          <p:cNvPr id="7" name="Imagen 18">
            <a:extLst>
              <a:ext uri="{FF2B5EF4-FFF2-40B4-BE49-F238E27FC236}">
                <a16:creationId xmlns:a16="http://schemas.microsoft.com/office/drawing/2014/main" id="{B6C47EA2-1D4F-4D9E-8577-0F31F00CBCA5}"/>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206379" y="10190981"/>
            <a:ext cx="1167349" cy="583716"/>
          </a:xfrm>
          <a:prstGeom prst="rect">
            <a:avLst/>
          </a:prstGeom>
        </p:spPr>
      </p:pic>
      <p:pic>
        <p:nvPicPr>
          <p:cNvPr id="8" name="Imagen 15">
            <a:extLst>
              <a:ext uri="{FF2B5EF4-FFF2-40B4-BE49-F238E27FC236}">
                <a16:creationId xmlns:a16="http://schemas.microsoft.com/office/drawing/2014/main" id="{57384837-9129-4F3B-92EC-FAFD7429F569}"/>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8206627" y="10175274"/>
            <a:ext cx="1170610" cy="607079"/>
          </a:xfrm>
          <a:prstGeom prst="rect">
            <a:avLst/>
          </a:prstGeom>
        </p:spPr>
      </p:pic>
    </p:spTree>
    <p:extLst>
      <p:ext uri="{BB962C8B-B14F-4D97-AF65-F5344CB8AC3E}">
        <p14:creationId xmlns:p14="http://schemas.microsoft.com/office/powerpoint/2010/main" val="814872683"/>
      </p:ext>
    </p:extLst>
  </p:cSld>
  <p:clrMapOvr>
    <a:overrideClrMapping bg1="lt1" tx1="dk1" bg2="lt2" tx2="dk2" accent1="accent1" accent2="accent2" accent3="accent3" accent4="accent4" accent5="accent5" accent6="accent6" hlink="hlink" folHlink="folHlink"/>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itle + picture big">
    <p:bg>
      <p:bgRef idx="1001">
        <a:schemeClr val="bg1"/>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C677C15-D783-4350-B9E7-52E834A09207}"/>
              </a:ext>
            </a:extLst>
          </p:cNvPr>
          <p:cNvSpPr>
            <a:spLocks noGrp="1"/>
          </p:cNvSpPr>
          <p:nvPr>
            <p:ph type="pic" sz="quarter" idx="11"/>
          </p:nvPr>
        </p:nvSpPr>
        <p:spPr>
          <a:xfrm>
            <a:off x="0" y="0"/>
            <a:ext cx="20104100" cy="11309350"/>
          </a:xfrm>
        </p:spPr>
        <p:txBody>
          <a:bodyPr/>
          <a:lstStyle/>
          <a:p>
            <a:endParaRPr lang="en-GB"/>
          </a:p>
        </p:txBody>
      </p:sp>
      <p:sp>
        <p:nvSpPr>
          <p:cNvPr id="14" name="Marcador de texto 19">
            <a:extLst>
              <a:ext uri="{FF2B5EF4-FFF2-40B4-BE49-F238E27FC236}">
                <a16:creationId xmlns:a16="http://schemas.microsoft.com/office/drawing/2014/main" id="{F0A5F956-78D9-483E-8513-18F922BFD069}"/>
              </a:ext>
            </a:extLst>
          </p:cNvPr>
          <p:cNvSpPr>
            <a:spLocks noGrp="1"/>
          </p:cNvSpPr>
          <p:nvPr>
            <p:ph type="body" sz="quarter" idx="10" hasCustomPrompt="1"/>
          </p:nvPr>
        </p:nvSpPr>
        <p:spPr>
          <a:xfrm>
            <a:off x="17185412" y="389504"/>
            <a:ext cx="2985439" cy="250572"/>
          </a:xfrm>
          <a:noFill/>
        </p:spPr>
        <p:txBody>
          <a:bodyPr wrap="square" lIns="0" tIns="0" rIns="0" bIns="0" rtlCol="0" anchor="ctr">
            <a:noAutofit/>
          </a:bodyPr>
          <a:lstStyle>
            <a:lvl1pPr marL="0" indent="0">
              <a:buNone/>
              <a:defRPr lang="es-ES" sz="1319" b="0" smtClean="0">
                <a:solidFill>
                  <a:schemeClr val="bg1"/>
                </a:solidFill>
              </a:defRPr>
            </a:lvl1pPr>
            <a:lvl2pPr marL="376961" indent="0">
              <a:buNone/>
              <a:defRPr lang="es-ES" sz="2968" smtClean="0"/>
            </a:lvl2pPr>
            <a:lvl3pPr marL="1130884" indent="0">
              <a:buNone/>
              <a:defRPr lang="es-ES" sz="2968" smtClean="0"/>
            </a:lvl3pPr>
            <a:lvl4pPr marL="1790567" indent="0">
              <a:buFont typeface="Arial" panose="020B0604020202020204" pitchFamily="34" charset="0"/>
              <a:buNone/>
              <a:defRPr lang="es-ES" smtClean="0"/>
            </a:lvl4pPr>
            <a:lvl5pPr marL="2638730" indent="0">
              <a:buNone/>
              <a:defRPr lang="es-ES"/>
            </a:lvl5pPr>
          </a:lstStyle>
          <a:p>
            <a:pPr marL="0" lvl="0"/>
            <a:r>
              <a:rPr lang="es-ES" noProof="0" dirty="0"/>
              <a:t>D</a:t>
            </a:r>
            <a:r>
              <a:rPr lang="en-GB" noProof="0" dirty="0" err="1"/>
              <a:t>ocument</a:t>
            </a:r>
            <a:r>
              <a:rPr lang="en-GB" noProof="0" dirty="0"/>
              <a:t> Title</a:t>
            </a:r>
          </a:p>
        </p:txBody>
      </p:sp>
      <p:sp>
        <p:nvSpPr>
          <p:cNvPr id="6" name="Text Placeholder 5">
            <a:extLst>
              <a:ext uri="{FF2B5EF4-FFF2-40B4-BE49-F238E27FC236}">
                <a16:creationId xmlns:a16="http://schemas.microsoft.com/office/drawing/2014/main" id="{0E6285A1-3678-4E17-88A4-D3F997A10815}"/>
              </a:ext>
            </a:extLst>
          </p:cNvPr>
          <p:cNvSpPr>
            <a:spLocks noGrp="1"/>
          </p:cNvSpPr>
          <p:nvPr>
            <p:ph type="body" sz="quarter" idx="12" hasCustomPrompt="1"/>
          </p:nvPr>
        </p:nvSpPr>
        <p:spPr>
          <a:xfrm>
            <a:off x="552342" y="291893"/>
            <a:ext cx="4457977" cy="696363"/>
          </a:xfrm>
        </p:spPr>
        <p:txBody>
          <a:bodyPr anchor="ctr">
            <a:normAutofit/>
          </a:bodyPr>
          <a:lstStyle>
            <a:lvl1pPr marL="0" indent="0">
              <a:buNone/>
              <a:defRPr sz="2968">
                <a:solidFill>
                  <a:schemeClr val="bg1"/>
                </a:solidFill>
              </a:defRPr>
            </a:lvl1pPr>
          </a:lstStyle>
          <a:p>
            <a:pPr lvl="0"/>
            <a:r>
              <a:rPr lang="en-GB" noProof="0" dirty="0"/>
              <a:t>Title</a:t>
            </a:r>
          </a:p>
        </p:txBody>
      </p:sp>
      <p:pic>
        <p:nvPicPr>
          <p:cNvPr id="7" name="Imagen 18">
            <a:extLst>
              <a:ext uri="{FF2B5EF4-FFF2-40B4-BE49-F238E27FC236}">
                <a16:creationId xmlns:a16="http://schemas.microsoft.com/office/drawing/2014/main" id="{B6C47EA2-1D4F-4D9E-8577-0F31F00CBCA5}"/>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206379" y="10190981"/>
            <a:ext cx="1167349" cy="583716"/>
          </a:xfrm>
          <a:prstGeom prst="rect">
            <a:avLst/>
          </a:prstGeom>
        </p:spPr>
      </p:pic>
      <p:pic>
        <p:nvPicPr>
          <p:cNvPr id="8" name="Imagen 15">
            <a:extLst>
              <a:ext uri="{FF2B5EF4-FFF2-40B4-BE49-F238E27FC236}">
                <a16:creationId xmlns:a16="http://schemas.microsoft.com/office/drawing/2014/main" id="{57384837-9129-4F3B-92EC-FAFD7429F569}"/>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8206627" y="10175274"/>
            <a:ext cx="1170610" cy="607079"/>
          </a:xfrm>
          <a:prstGeom prst="rect">
            <a:avLst/>
          </a:prstGeom>
        </p:spPr>
      </p:pic>
    </p:spTree>
    <p:extLst>
      <p:ext uri="{BB962C8B-B14F-4D97-AF65-F5344CB8AC3E}">
        <p14:creationId xmlns:p14="http://schemas.microsoft.com/office/powerpoint/2010/main" val="38604807"/>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Vertical Title and Text">
    <p:spTree>
      <p:nvGrpSpPr>
        <p:cNvPr id="1" name=""/>
        <p:cNvGrpSpPr/>
        <p:nvPr/>
      </p:nvGrpSpPr>
      <p:grpSpPr>
        <a:xfrm>
          <a:off x="0" y="0"/>
          <a:ext cx="0" cy="0"/>
          <a:chOff x="0" y="0"/>
          <a:chExt cx="0" cy="0"/>
        </a:xfrm>
      </p:grpSpPr>
      <p:pic>
        <p:nvPicPr>
          <p:cNvPr id="7" name="Picture 2"/>
          <p:cNvPicPr>
            <a:picLocks noChangeAspect="1" noChangeArrowheads="1"/>
          </p:cNvPicPr>
          <p:nvPr/>
        </p:nvPicPr>
        <p:blipFill>
          <a:blip r:embed="rId2" cstate="print"/>
          <a:srcRect/>
          <a:stretch>
            <a:fillRect/>
          </a:stretch>
        </p:blipFill>
        <p:spPr bwMode="auto">
          <a:xfrm>
            <a:off x="4" y="3337612"/>
            <a:ext cx="6309714" cy="6268368"/>
          </a:xfrm>
          <a:prstGeom prst="rect">
            <a:avLst/>
          </a:prstGeom>
          <a:noFill/>
          <a:ln w="9525">
            <a:noFill/>
            <a:miter lim="800000"/>
            <a:headEnd/>
            <a:tailEnd/>
          </a:ln>
          <a:effectLst/>
        </p:spPr>
      </p:pic>
      <p:pic>
        <p:nvPicPr>
          <p:cNvPr id="4" name="Picture 3" descr="D:\STC Running\2011 Projects\New CI Migration &amp; Guardianship Projects\Corporate Related\PPT Templates\STC Logo Option 2.jpg"/>
          <p:cNvPicPr>
            <a:picLocks noChangeAspect="1" noChangeArrowheads="1"/>
          </p:cNvPicPr>
          <p:nvPr userDrawn="1"/>
        </p:nvPicPr>
        <p:blipFill>
          <a:blip r:embed="rId3" cstate="print"/>
          <a:srcRect t="18155" b="21764"/>
          <a:stretch>
            <a:fillRect/>
          </a:stretch>
        </p:blipFill>
        <p:spPr bwMode="auto">
          <a:xfrm>
            <a:off x="17961076" y="10531121"/>
            <a:ext cx="2056474" cy="713218"/>
          </a:xfrm>
          <a:prstGeom prst="rect">
            <a:avLst/>
          </a:prstGeom>
          <a:noFill/>
        </p:spPr>
      </p:pic>
    </p:spTree>
    <p:extLst>
      <p:ext uri="{BB962C8B-B14F-4D97-AF65-F5344CB8AC3E}">
        <p14:creationId xmlns:p14="http://schemas.microsoft.com/office/powerpoint/2010/main" val="220423167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Name + photo right">
    <p:bg>
      <p:bgRef idx="1001">
        <a:schemeClr val="bg1"/>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C677C15-D783-4350-B9E7-52E834A09207}"/>
              </a:ext>
            </a:extLst>
          </p:cNvPr>
          <p:cNvSpPr>
            <a:spLocks noGrp="1"/>
          </p:cNvSpPr>
          <p:nvPr>
            <p:ph type="pic" sz="quarter" idx="11"/>
          </p:nvPr>
        </p:nvSpPr>
        <p:spPr>
          <a:xfrm>
            <a:off x="11811159" y="0"/>
            <a:ext cx="8292941" cy="11309350"/>
          </a:xfrm>
        </p:spPr>
        <p:txBody>
          <a:bodyPr/>
          <a:lstStyle/>
          <a:p>
            <a:endParaRPr lang="en-GB"/>
          </a:p>
        </p:txBody>
      </p:sp>
      <p:sp>
        <p:nvSpPr>
          <p:cNvPr id="6" name="Text Placeholder 5">
            <a:extLst>
              <a:ext uri="{FF2B5EF4-FFF2-40B4-BE49-F238E27FC236}">
                <a16:creationId xmlns:a16="http://schemas.microsoft.com/office/drawing/2014/main" id="{0E6285A1-3678-4E17-88A4-D3F997A10815}"/>
              </a:ext>
            </a:extLst>
          </p:cNvPr>
          <p:cNvSpPr>
            <a:spLocks noGrp="1"/>
          </p:cNvSpPr>
          <p:nvPr>
            <p:ph type="body" sz="quarter" idx="12" hasCustomPrompt="1"/>
          </p:nvPr>
        </p:nvSpPr>
        <p:spPr>
          <a:xfrm>
            <a:off x="824585" y="733013"/>
            <a:ext cx="7273897" cy="2827338"/>
          </a:xfrm>
        </p:spPr>
        <p:txBody>
          <a:bodyPr anchor="t">
            <a:normAutofit/>
          </a:bodyPr>
          <a:lstStyle>
            <a:lvl1pPr marL="0" indent="0">
              <a:buNone/>
              <a:defRPr sz="8905">
                <a:solidFill>
                  <a:schemeClr val="tx2"/>
                </a:solidFill>
              </a:defRPr>
            </a:lvl1pPr>
          </a:lstStyle>
          <a:p>
            <a:pPr lvl="0"/>
            <a:r>
              <a:rPr lang="en-GB" noProof="0" dirty="0"/>
              <a:t>Name</a:t>
            </a:r>
          </a:p>
        </p:txBody>
      </p:sp>
      <p:sp>
        <p:nvSpPr>
          <p:cNvPr id="7" name="Text Placeholder 5">
            <a:extLst>
              <a:ext uri="{FF2B5EF4-FFF2-40B4-BE49-F238E27FC236}">
                <a16:creationId xmlns:a16="http://schemas.microsoft.com/office/drawing/2014/main" id="{A19D4150-7ED4-44E1-9278-A64CF1A07AAE}"/>
              </a:ext>
            </a:extLst>
          </p:cNvPr>
          <p:cNvSpPr>
            <a:spLocks noGrp="1"/>
          </p:cNvSpPr>
          <p:nvPr>
            <p:ph type="body" sz="quarter" idx="13" hasCustomPrompt="1"/>
          </p:nvPr>
        </p:nvSpPr>
        <p:spPr>
          <a:xfrm>
            <a:off x="824587" y="3492286"/>
            <a:ext cx="4012964" cy="1113991"/>
          </a:xfrm>
        </p:spPr>
        <p:txBody>
          <a:bodyPr anchor="t">
            <a:normAutofit/>
          </a:bodyPr>
          <a:lstStyle>
            <a:lvl1pPr marL="0" indent="0">
              <a:lnSpc>
                <a:spcPts val="2968"/>
              </a:lnSpc>
              <a:buNone/>
              <a:defRPr sz="3298">
                <a:solidFill>
                  <a:schemeClr val="tx2"/>
                </a:solidFill>
              </a:defRPr>
            </a:lvl1pPr>
          </a:lstStyle>
          <a:p>
            <a:pPr lvl="0"/>
            <a:r>
              <a:rPr lang="en-GB" noProof="0"/>
              <a:t>Title</a:t>
            </a:r>
          </a:p>
        </p:txBody>
      </p:sp>
      <p:pic>
        <p:nvPicPr>
          <p:cNvPr id="8" name="Imagen 15">
            <a:extLst>
              <a:ext uri="{FF2B5EF4-FFF2-40B4-BE49-F238E27FC236}">
                <a16:creationId xmlns:a16="http://schemas.microsoft.com/office/drawing/2014/main" id="{38F533F4-2B2D-4957-A6B1-BAC7D7475E53}"/>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24586" y="10167619"/>
            <a:ext cx="1170610" cy="607079"/>
          </a:xfrm>
          <a:prstGeom prst="rect">
            <a:avLst/>
          </a:prstGeom>
        </p:spPr>
      </p:pic>
      <p:sp>
        <p:nvSpPr>
          <p:cNvPr id="11" name="Text Placeholder 5">
            <a:extLst>
              <a:ext uri="{FF2B5EF4-FFF2-40B4-BE49-F238E27FC236}">
                <a16:creationId xmlns:a16="http://schemas.microsoft.com/office/drawing/2014/main" id="{F24180B9-A209-426D-85FB-7FBFFC9166DF}"/>
              </a:ext>
            </a:extLst>
          </p:cNvPr>
          <p:cNvSpPr>
            <a:spLocks noGrp="1"/>
          </p:cNvSpPr>
          <p:nvPr>
            <p:ph type="body" sz="quarter" idx="14" hasCustomPrompt="1"/>
          </p:nvPr>
        </p:nvSpPr>
        <p:spPr>
          <a:xfrm>
            <a:off x="824587" y="4779248"/>
            <a:ext cx="4012964" cy="2033780"/>
          </a:xfrm>
        </p:spPr>
        <p:txBody>
          <a:bodyPr anchor="t">
            <a:normAutofit/>
          </a:bodyPr>
          <a:lstStyle>
            <a:lvl1pPr marL="0" indent="0">
              <a:buNone/>
              <a:defRPr sz="1979">
                <a:solidFill>
                  <a:schemeClr val="tx1"/>
                </a:solidFill>
              </a:defRPr>
            </a:lvl1pPr>
          </a:lstStyle>
          <a:p>
            <a:pPr lvl="0"/>
            <a:r>
              <a:rPr lang="en-GB" noProof="0" dirty="0"/>
              <a:t>Lorem</a:t>
            </a:r>
          </a:p>
        </p:txBody>
      </p:sp>
      <p:sp>
        <p:nvSpPr>
          <p:cNvPr id="12" name="Text Placeholder 5">
            <a:extLst>
              <a:ext uri="{FF2B5EF4-FFF2-40B4-BE49-F238E27FC236}">
                <a16:creationId xmlns:a16="http://schemas.microsoft.com/office/drawing/2014/main" id="{75D09A63-14BB-44E9-B249-B4E353124A1F}"/>
              </a:ext>
            </a:extLst>
          </p:cNvPr>
          <p:cNvSpPr>
            <a:spLocks noGrp="1"/>
          </p:cNvSpPr>
          <p:nvPr>
            <p:ph type="body" sz="quarter" idx="15" hasCustomPrompt="1"/>
          </p:nvPr>
        </p:nvSpPr>
        <p:spPr>
          <a:xfrm>
            <a:off x="6962321" y="8133837"/>
            <a:ext cx="4012964" cy="2640859"/>
          </a:xfrm>
        </p:spPr>
        <p:txBody>
          <a:bodyPr anchor="b">
            <a:normAutofit/>
          </a:bodyPr>
          <a:lstStyle>
            <a:lvl1pPr marL="0" indent="0" algn="r">
              <a:buNone/>
              <a:defRPr sz="5277">
                <a:solidFill>
                  <a:schemeClr val="tx2"/>
                </a:solidFill>
                <a:latin typeface="+mj-lt"/>
              </a:defRPr>
            </a:lvl1pPr>
          </a:lstStyle>
          <a:p>
            <a:pPr lvl="0"/>
            <a:r>
              <a:rPr lang="en-GB" noProof="0" dirty="0"/>
              <a:t>Lorem</a:t>
            </a:r>
          </a:p>
        </p:txBody>
      </p:sp>
    </p:spTree>
    <p:extLst>
      <p:ext uri="{BB962C8B-B14F-4D97-AF65-F5344CB8AC3E}">
        <p14:creationId xmlns:p14="http://schemas.microsoft.com/office/powerpoint/2010/main" val="463304911"/>
      </p:ext>
    </p:extLst>
  </p:cSld>
  <p:clrMapOvr>
    <a:overrideClrMapping bg1="lt1" tx1="dk1" bg2="lt2" tx2="dk2" accent1="accent1" accent2="accent2" accent3="accent3" accent4="accent4" accent5="accent5" accent6="accent6" hlink="hlink" folHlink="folHlink"/>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Name + photo left">
    <p:bg>
      <p:bgRef idx="1001">
        <a:schemeClr val="bg1"/>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C677C15-D783-4350-B9E7-52E834A09207}"/>
              </a:ext>
            </a:extLst>
          </p:cNvPr>
          <p:cNvSpPr>
            <a:spLocks noGrp="1"/>
          </p:cNvSpPr>
          <p:nvPr>
            <p:ph type="pic" sz="quarter" idx="11"/>
          </p:nvPr>
        </p:nvSpPr>
        <p:spPr>
          <a:xfrm>
            <a:off x="0" y="0"/>
            <a:ext cx="8292941" cy="11309350"/>
          </a:xfrm>
        </p:spPr>
        <p:txBody>
          <a:bodyPr/>
          <a:lstStyle/>
          <a:p>
            <a:endParaRPr lang="en-GB"/>
          </a:p>
        </p:txBody>
      </p:sp>
      <p:sp>
        <p:nvSpPr>
          <p:cNvPr id="6" name="Text Placeholder 5">
            <a:extLst>
              <a:ext uri="{FF2B5EF4-FFF2-40B4-BE49-F238E27FC236}">
                <a16:creationId xmlns:a16="http://schemas.microsoft.com/office/drawing/2014/main" id="{0E6285A1-3678-4E17-88A4-D3F997A10815}"/>
              </a:ext>
            </a:extLst>
          </p:cNvPr>
          <p:cNvSpPr>
            <a:spLocks noGrp="1"/>
          </p:cNvSpPr>
          <p:nvPr>
            <p:ph type="body" sz="quarter" idx="12" hasCustomPrompt="1"/>
          </p:nvPr>
        </p:nvSpPr>
        <p:spPr>
          <a:xfrm>
            <a:off x="11928959" y="733013"/>
            <a:ext cx="7273897" cy="2827338"/>
          </a:xfrm>
        </p:spPr>
        <p:txBody>
          <a:bodyPr anchor="t">
            <a:normAutofit/>
          </a:bodyPr>
          <a:lstStyle>
            <a:lvl1pPr marL="0" indent="0" algn="r">
              <a:buNone/>
              <a:defRPr sz="8905">
                <a:solidFill>
                  <a:schemeClr val="tx2"/>
                </a:solidFill>
                <a:latin typeface="Arial Unicode MS" panose="020B0604020202020204" pitchFamily="34" charset="-128"/>
                <a:ea typeface="Arial Unicode MS" panose="020B0604020202020204" pitchFamily="34" charset="-128"/>
                <a:cs typeface="Arial Unicode MS" panose="020B0604020202020204" pitchFamily="34" charset="-128"/>
              </a:defRPr>
            </a:lvl1pPr>
          </a:lstStyle>
          <a:p>
            <a:pPr lvl="0"/>
            <a:r>
              <a:rPr lang="en-GB" noProof="0" dirty="0"/>
              <a:t>Name</a:t>
            </a:r>
          </a:p>
        </p:txBody>
      </p:sp>
      <p:sp>
        <p:nvSpPr>
          <p:cNvPr id="7" name="Text Placeholder 5">
            <a:extLst>
              <a:ext uri="{FF2B5EF4-FFF2-40B4-BE49-F238E27FC236}">
                <a16:creationId xmlns:a16="http://schemas.microsoft.com/office/drawing/2014/main" id="{A19D4150-7ED4-44E1-9278-A64CF1A07AAE}"/>
              </a:ext>
            </a:extLst>
          </p:cNvPr>
          <p:cNvSpPr>
            <a:spLocks noGrp="1"/>
          </p:cNvSpPr>
          <p:nvPr>
            <p:ph type="body" sz="quarter" idx="13" hasCustomPrompt="1"/>
          </p:nvPr>
        </p:nvSpPr>
        <p:spPr>
          <a:xfrm>
            <a:off x="15189891" y="3450878"/>
            <a:ext cx="4012964" cy="1769702"/>
          </a:xfrm>
        </p:spPr>
        <p:txBody>
          <a:bodyPr vert="horz" lIns="0" tIns="0" rIns="0" bIns="0" rtlCol="0" anchor="t">
            <a:normAutofit/>
          </a:bodyPr>
          <a:lstStyle>
            <a:lvl1pPr marL="0" indent="0" algn="r">
              <a:spcBef>
                <a:spcPts val="0"/>
              </a:spcBef>
              <a:buNone/>
              <a:defRPr lang="en-GB" sz="3298" noProof="0" dirty="0">
                <a:solidFill>
                  <a:schemeClr val="tx2"/>
                </a:solidFill>
                <a:latin typeface="Arial Unicode MS" panose="020B0604020202020204" pitchFamily="34" charset="-128"/>
                <a:ea typeface="Arial Unicode MS" panose="020B0604020202020204" pitchFamily="34" charset="-128"/>
                <a:cs typeface="Arial Unicode MS" panose="020B0604020202020204" pitchFamily="34" charset="-128"/>
              </a:defRPr>
            </a:lvl1pPr>
          </a:lstStyle>
          <a:p>
            <a:pPr marL="376961" lvl="0" indent="-376961">
              <a:lnSpc>
                <a:spcPts val="3298"/>
              </a:lnSpc>
            </a:pPr>
            <a:r>
              <a:rPr lang="en-GB" noProof="0" dirty="0"/>
              <a:t>Title</a:t>
            </a:r>
          </a:p>
        </p:txBody>
      </p:sp>
      <p:sp>
        <p:nvSpPr>
          <p:cNvPr id="9" name="Text Placeholder 5">
            <a:extLst>
              <a:ext uri="{FF2B5EF4-FFF2-40B4-BE49-F238E27FC236}">
                <a16:creationId xmlns:a16="http://schemas.microsoft.com/office/drawing/2014/main" id="{F47A2C88-237D-4635-8053-82C5565C3B06}"/>
              </a:ext>
            </a:extLst>
          </p:cNvPr>
          <p:cNvSpPr>
            <a:spLocks noGrp="1"/>
          </p:cNvSpPr>
          <p:nvPr>
            <p:ph type="body" sz="quarter" idx="14" hasCustomPrompt="1"/>
          </p:nvPr>
        </p:nvSpPr>
        <p:spPr>
          <a:xfrm>
            <a:off x="15189891" y="4779248"/>
            <a:ext cx="4012964" cy="2033780"/>
          </a:xfrm>
        </p:spPr>
        <p:txBody>
          <a:bodyPr anchor="t">
            <a:normAutofit/>
          </a:bodyPr>
          <a:lstStyle>
            <a:lvl1pPr marL="0" indent="0" algn="r">
              <a:buNone/>
              <a:defRPr sz="1979">
                <a:solidFill>
                  <a:schemeClr val="tx1"/>
                </a:solidFill>
              </a:defRPr>
            </a:lvl1pPr>
          </a:lstStyle>
          <a:p>
            <a:pPr lvl="0"/>
            <a:r>
              <a:rPr lang="en-GB" noProof="0" dirty="0"/>
              <a:t>Lorem</a:t>
            </a:r>
          </a:p>
        </p:txBody>
      </p:sp>
      <p:pic>
        <p:nvPicPr>
          <p:cNvPr id="10" name="Imagen 15">
            <a:extLst>
              <a:ext uri="{FF2B5EF4-FFF2-40B4-BE49-F238E27FC236}">
                <a16:creationId xmlns:a16="http://schemas.microsoft.com/office/drawing/2014/main" id="{7BDA456C-ED12-4C3A-9249-6A55B1F1DE1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206379" y="10167619"/>
            <a:ext cx="1170610" cy="607079"/>
          </a:xfrm>
          <a:prstGeom prst="rect">
            <a:avLst/>
          </a:prstGeom>
        </p:spPr>
      </p:pic>
      <p:sp>
        <p:nvSpPr>
          <p:cNvPr id="12" name="Text Placeholder 5">
            <a:extLst>
              <a:ext uri="{FF2B5EF4-FFF2-40B4-BE49-F238E27FC236}">
                <a16:creationId xmlns:a16="http://schemas.microsoft.com/office/drawing/2014/main" id="{3534B809-1632-46C4-8015-AE109AA5FE3E}"/>
              </a:ext>
            </a:extLst>
          </p:cNvPr>
          <p:cNvSpPr>
            <a:spLocks noGrp="1"/>
          </p:cNvSpPr>
          <p:nvPr>
            <p:ph type="body" sz="quarter" idx="15" hasCustomPrompt="1"/>
          </p:nvPr>
        </p:nvSpPr>
        <p:spPr>
          <a:xfrm>
            <a:off x="8829701" y="7044349"/>
            <a:ext cx="7273897" cy="2827338"/>
          </a:xfrm>
        </p:spPr>
        <p:txBody>
          <a:bodyPr anchor="b">
            <a:normAutofit/>
          </a:bodyPr>
          <a:lstStyle>
            <a:lvl1pPr marL="0" indent="0">
              <a:lnSpc>
                <a:spcPts val="5277"/>
              </a:lnSpc>
              <a:spcBef>
                <a:spcPts val="0"/>
              </a:spcBef>
              <a:buNone/>
              <a:defRPr sz="5277">
                <a:solidFill>
                  <a:schemeClr val="tx2"/>
                </a:solidFill>
              </a:defRPr>
            </a:lvl1pPr>
          </a:lstStyle>
          <a:p>
            <a:pPr lvl="0"/>
            <a:r>
              <a:rPr lang="en-GB" noProof="0" dirty="0"/>
              <a:t>Name</a:t>
            </a:r>
          </a:p>
        </p:txBody>
      </p:sp>
      <p:sp>
        <p:nvSpPr>
          <p:cNvPr id="13" name="Text Placeholder 5">
            <a:extLst>
              <a:ext uri="{FF2B5EF4-FFF2-40B4-BE49-F238E27FC236}">
                <a16:creationId xmlns:a16="http://schemas.microsoft.com/office/drawing/2014/main" id="{503930B8-96CA-4F99-AF81-00BBECAD7247}"/>
              </a:ext>
            </a:extLst>
          </p:cNvPr>
          <p:cNvSpPr>
            <a:spLocks noGrp="1"/>
          </p:cNvSpPr>
          <p:nvPr>
            <p:ph type="body" sz="quarter" idx="16" hasCustomPrompt="1"/>
          </p:nvPr>
        </p:nvSpPr>
        <p:spPr>
          <a:xfrm>
            <a:off x="8829702" y="9985928"/>
            <a:ext cx="4012964" cy="935973"/>
          </a:xfrm>
        </p:spPr>
        <p:txBody>
          <a:bodyPr anchor="t">
            <a:normAutofit/>
          </a:bodyPr>
          <a:lstStyle>
            <a:lvl1pPr marL="0" indent="0">
              <a:lnSpc>
                <a:spcPts val="3298"/>
              </a:lnSpc>
              <a:buNone/>
              <a:defRPr sz="3298">
                <a:solidFill>
                  <a:schemeClr val="tx2"/>
                </a:solidFill>
              </a:defRPr>
            </a:lvl1pPr>
          </a:lstStyle>
          <a:p>
            <a:pPr lvl="0"/>
            <a:r>
              <a:rPr lang="en-GB" noProof="0" dirty="0"/>
              <a:t>Title</a:t>
            </a:r>
          </a:p>
        </p:txBody>
      </p:sp>
    </p:spTree>
    <p:extLst>
      <p:ext uri="{BB962C8B-B14F-4D97-AF65-F5344CB8AC3E}">
        <p14:creationId xmlns:p14="http://schemas.microsoft.com/office/powerpoint/2010/main" val="645609461"/>
      </p:ext>
    </p:extLst>
  </p:cSld>
  <p:clrMapOvr>
    <a:overrideClrMapping bg1="lt1" tx1="dk1" bg2="lt2" tx2="dk2" accent1="accent1" accent2="accent2" accent3="accent3" accent4="accent4" accent5="accent5" accent6="accent6" hlink="hlink" folHlink="folHlink"/>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eam">
    <p:bg>
      <p:bgRef idx="1001">
        <a:schemeClr val="bg1"/>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C677C15-D783-4350-B9E7-52E834A09207}"/>
              </a:ext>
            </a:extLst>
          </p:cNvPr>
          <p:cNvSpPr>
            <a:spLocks noGrp="1"/>
          </p:cNvSpPr>
          <p:nvPr>
            <p:ph type="pic" sz="quarter" idx="11"/>
          </p:nvPr>
        </p:nvSpPr>
        <p:spPr>
          <a:xfrm>
            <a:off x="552341" y="2169869"/>
            <a:ext cx="4452742" cy="5579129"/>
          </a:xfrm>
        </p:spPr>
        <p:txBody>
          <a:bodyPr/>
          <a:lstStyle/>
          <a:p>
            <a:endParaRPr lang="en-GB"/>
          </a:p>
        </p:txBody>
      </p:sp>
      <p:sp>
        <p:nvSpPr>
          <p:cNvPr id="14" name="Marcador de texto 19">
            <a:extLst>
              <a:ext uri="{FF2B5EF4-FFF2-40B4-BE49-F238E27FC236}">
                <a16:creationId xmlns:a16="http://schemas.microsoft.com/office/drawing/2014/main" id="{F0A5F956-78D9-483E-8513-18F922BFD069}"/>
              </a:ext>
            </a:extLst>
          </p:cNvPr>
          <p:cNvSpPr>
            <a:spLocks noGrp="1"/>
          </p:cNvSpPr>
          <p:nvPr>
            <p:ph type="body" sz="quarter" idx="10" hasCustomPrompt="1"/>
          </p:nvPr>
        </p:nvSpPr>
        <p:spPr>
          <a:xfrm>
            <a:off x="17185412" y="389504"/>
            <a:ext cx="2985439" cy="250572"/>
          </a:xfrm>
          <a:noFill/>
        </p:spPr>
        <p:txBody>
          <a:bodyPr wrap="square" lIns="0" tIns="0" rIns="0" bIns="0" rtlCol="0" anchor="ctr">
            <a:noAutofit/>
          </a:bodyPr>
          <a:lstStyle>
            <a:lvl1pPr marL="0" indent="0">
              <a:buNone/>
              <a:defRPr lang="es-ES" sz="1319" b="0" smtClean="0">
                <a:solidFill>
                  <a:schemeClr val="tx2"/>
                </a:solidFill>
              </a:defRPr>
            </a:lvl1pPr>
            <a:lvl2pPr marL="376961" indent="0">
              <a:buNone/>
              <a:defRPr lang="es-ES" sz="2968" smtClean="0"/>
            </a:lvl2pPr>
            <a:lvl3pPr marL="1130884" indent="0">
              <a:buNone/>
              <a:defRPr lang="es-ES" sz="2968" smtClean="0"/>
            </a:lvl3pPr>
            <a:lvl4pPr marL="1790567" indent="0">
              <a:buFont typeface="Arial" panose="020B0604020202020204" pitchFamily="34" charset="0"/>
              <a:buNone/>
              <a:defRPr lang="es-ES" smtClean="0"/>
            </a:lvl4pPr>
            <a:lvl5pPr marL="2638730" indent="0">
              <a:buNone/>
              <a:defRPr lang="es-ES"/>
            </a:lvl5pPr>
          </a:lstStyle>
          <a:p>
            <a:pPr marL="0" lvl="0"/>
            <a:r>
              <a:rPr lang="es-ES" noProof="0" dirty="0"/>
              <a:t>D</a:t>
            </a:r>
            <a:r>
              <a:rPr lang="en-GB" noProof="0" dirty="0" err="1"/>
              <a:t>ocument</a:t>
            </a:r>
            <a:r>
              <a:rPr lang="en-GB" noProof="0" dirty="0"/>
              <a:t> Title</a:t>
            </a:r>
          </a:p>
        </p:txBody>
      </p:sp>
      <p:sp>
        <p:nvSpPr>
          <p:cNvPr id="6" name="Text Placeholder 5">
            <a:extLst>
              <a:ext uri="{FF2B5EF4-FFF2-40B4-BE49-F238E27FC236}">
                <a16:creationId xmlns:a16="http://schemas.microsoft.com/office/drawing/2014/main" id="{0E6285A1-3678-4E17-88A4-D3F997A10815}"/>
              </a:ext>
            </a:extLst>
          </p:cNvPr>
          <p:cNvSpPr>
            <a:spLocks noGrp="1"/>
          </p:cNvSpPr>
          <p:nvPr>
            <p:ph type="body" sz="quarter" idx="12" hasCustomPrompt="1"/>
          </p:nvPr>
        </p:nvSpPr>
        <p:spPr>
          <a:xfrm>
            <a:off x="552342" y="501326"/>
            <a:ext cx="8444243" cy="696363"/>
          </a:xfrm>
        </p:spPr>
        <p:txBody>
          <a:bodyPr anchor="ctr">
            <a:noAutofit/>
          </a:bodyPr>
          <a:lstStyle>
            <a:lvl1pPr marL="0" indent="0">
              <a:buNone/>
              <a:defRPr sz="8905">
                <a:solidFill>
                  <a:schemeClr val="tx2"/>
                </a:solidFill>
              </a:defRPr>
            </a:lvl1pPr>
          </a:lstStyle>
          <a:p>
            <a:pPr lvl="0"/>
            <a:r>
              <a:rPr lang="en-GB" noProof="0" dirty="0"/>
              <a:t>title</a:t>
            </a:r>
          </a:p>
        </p:txBody>
      </p:sp>
      <p:pic>
        <p:nvPicPr>
          <p:cNvPr id="7" name="Imagen 18">
            <a:extLst>
              <a:ext uri="{FF2B5EF4-FFF2-40B4-BE49-F238E27FC236}">
                <a16:creationId xmlns:a16="http://schemas.microsoft.com/office/drawing/2014/main" id="{B6C47EA2-1D4F-4D9E-8577-0F31F00CBCA5}"/>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206379" y="10190981"/>
            <a:ext cx="1167349" cy="583716"/>
          </a:xfrm>
          <a:prstGeom prst="rect">
            <a:avLst/>
          </a:prstGeom>
        </p:spPr>
      </p:pic>
      <p:pic>
        <p:nvPicPr>
          <p:cNvPr id="8" name="Imagen 15">
            <a:extLst>
              <a:ext uri="{FF2B5EF4-FFF2-40B4-BE49-F238E27FC236}">
                <a16:creationId xmlns:a16="http://schemas.microsoft.com/office/drawing/2014/main" id="{57384837-9129-4F3B-92EC-FAFD7429F569}"/>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8206627" y="10175274"/>
            <a:ext cx="1170610" cy="607079"/>
          </a:xfrm>
          <a:prstGeom prst="rect">
            <a:avLst/>
          </a:prstGeom>
        </p:spPr>
      </p:pic>
      <p:sp>
        <p:nvSpPr>
          <p:cNvPr id="10" name="Picture Placeholder 2">
            <a:extLst>
              <a:ext uri="{FF2B5EF4-FFF2-40B4-BE49-F238E27FC236}">
                <a16:creationId xmlns:a16="http://schemas.microsoft.com/office/drawing/2014/main" id="{9FCB22C4-994A-415D-9E24-05134561595E}"/>
              </a:ext>
            </a:extLst>
          </p:cNvPr>
          <p:cNvSpPr>
            <a:spLocks noGrp="1"/>
          </p:cNvSpPr>
          <p:nvPr>
            <p:ph type="pic" sz="quarter" idx="13"/>
          </p:nvPr>
        </p:nvSpPr>
        <p:spPr>
          <a:xfrm>
            <a:off x="5414376" y="2169869"/>
            <a:ext cx="4452742" cy="5579129"/>
          </a:xfrm>
        </p:spPr>
        <p:txBody>
          <a:bodyPr/>
          <a:lstStyle/>
          <a:p>
            <a:endParaRPr lang="en-GB"/>
          </a:p>
        </p:txBody>
      </p:sp>
      <p:sp>
        <p:nvSpPr>
          <p:cNvPr id="11" name="Picture Placeholder 2">
            <a:extLst>
              <a:ext uri="{FF2B5EF4-FFF2-40B4-BE49-F238E27FC236}">
                <a16:creationId xmlns:a16="http://schemas.microsoft.com/office/drawing/2014/main" id="{332288C5-4ECA-4C24-B3CD-F2F7A3663DF7}"/>
              </a:ext>
            </a:extLst>
          </p:cNvPr>
          <p:cNvSpPr>
            <a:spLocks noGrp="1"/>
          </p:cNvSpPr>
          <p:nvPr>
            <p:ph type="pic" sz="quarter" idx="14"/>
          </p:nvPr>
        </p:nvSpPr>
        <p:spPr>
          <a:xfrm>
            <a:off x="10276410" y="2169869"/>
            <a:ext cx="4452742" cy="5579129"/>
          </a:xfrm>
        </p:spPr>
        <p:txBody>
          <a:bodyPr/>
          <a:lstStyle/>
          <a:p>
            <a:endParaRPr lang="en-GB"/>
          </a:p>
        </p:txBody>
      </p:sp>
      <p:sp>
        <p:nvSpPr>
          <p:cNvPr id="12" name="Picture Placeholder 2">
            <a:extLst>
              <a:ext uri="{FF2B5EF4-FFF2-40B4-BE49-F238E27FC236}">
                <a16:creationId xmlns:a16="http://schemas.microsoft.com/office/drawing/2014/main" id="{8F3BE437-F41A-4ACC-9602-79DCEB955836}"/>
              </a:ext>
            </a:extLst>
          </p:cNvPr>
          <p:cNvSpPr>
            <a:spLocks noGrp="1"/>
          </p:cNvSpPr>
          <p:nvPr>
            <p:ph type="pic" sz="quarter" idx="15"/>
          </p:nvPr>
        </p:nvSpPr>
        <p:spPr>
          <a:xfrm>
            <a:off x="15138446" y="2169869"/>
            <a:ext cx="4452742" cy="5579129"/>
          </a:xfrm>
        </p:spPr>
        <p:txBody>
          <a:bodyPr/>
          <a:lstStyle/>
          <a:p>
            <a:endParaRPr lang="en-GB"/>
          </a:p>
        </p:txBody>
      </p:sp>
      <p:sp>
        <p:nvSpPr>
          <p:cNvPr id="15" name="Text Placeholder 5">
            <a:extLst>
              <a:ext uri="{FF2B5EF4-FFF2-40B4-BE49-F238E27FC236}">
                <a16:creationId xmlns:a16="http://schemas.microsoft.com/office/drawing/2014/main" id="{0BB197D0-4883-48D8-8B67-41F5FC9C1D81}"/>
              </a:ext>
            </a:extLst>
          </p:cNvPr>
          <p:cNvSpPr>
            <a:spLocks noGrp="1"/>
          </p:cNvSpPr>
          <p:nvPr>
            <p:ph type="body" sz="quarter" idx="17" hasCustomPrompt="1"/>
          </p:nvPr>
        </p:nvSpPr>
        <p:spPr>
          <a:xfrm>
            <a:off x="552342" y="7982929"/>
            <a:ext cx="4012964" cy="1769702"/>
          </a:xfrm>
        </p:spPr>
        <p:txBody>
          <a:bodyPr anchor="t">
            <a:normAutofit/>
          </a:bodyPr>
          <a:lstStyle>
            <a:lvl1pPr marL="0" indent="0">
              <a:buNone/>
              <a:defRPr sz="2968">
                <a:solidFill>
                  <a:schemeClr val="tx2"/>
                </a:solidFill>
                <a:latin typeface="+mj-lt"/>
              </a:defRPr>
            </a:lvl1pPr>
          </a:lstStyle>
          <a:p>
            <a:pPr lvl="0"/>
            <a:r>
              <a:rPr lang="en-GB" noProof="0" dirty="0"/>
              <a:t>Name</a:t>
            </a:r>
          </a:p>
        </p:txBody>
      </p:sp>
      <p:sp>
        <p:nvSpPr>
          <p:cNvPr id="16" name="Text Placeholder 5">
            <a:extLst>
              <a:ext uri="{FF2B5EF4-FFF2-40B4-BE49-F238E27FC236}">
                <a16:creationId xmlns:a16="http://schemas.microsoft.com/office/drawing/2014/main" id="{8C4521B7-B4BE-4C69-903F-A9F601328845}"/>
              </a:ext>
            </a:extLst>
          </p:cNvPr>
          <p:cNvSpPr>
            <a:spLocks noGrp="1"/>
          </p:cNvSpPr>
          <p:nvPr>
            <p:ph type="body" sz="quarter" idx="18" hasCustomPrompt="1"/>
          </p:nvPr>
        </p:nvSpPr>
        <p:spPr>
          <a:xfrm>
            <a:off x="5414376" y="7982929"/>
            <a:ext cx="4012964" cy="1769702"/>
          </a:xfrm>
        </p:spPr>
        <p:txBody>
          <a:bodyPr anchor="t">
            <a:normAutofit/>
          </a:bodyPr>
          <a:lstStyle>
            <a:lvl1pPr marL="0" indent="0">
              <a:buNone/>
              <a:defRPr sz="2968">
                <a:solidFill>
                  <a:schemeClr val="tx2"/>
                </a:solidFill>
                <a:latin typeface="+mj-lt"/>
              </a:defRPr>
            </a:lvl1pPr>
          </a:lstStyle>
          <a:p>
            <a:pPr lvl="0"/>
            <a:r>
              <a:rPr lang="en-GB" noProof="0" dirty="0"/>
              <a:t>Name</a:t>
            </a:r>
          </a:p>
        </p:txBody>
      </p:sp>
      <p:sp>
        <p:nvSpPr>
          <p:cNvPr id="17" name="Text Placeholder 5">
            <a:extLst>
              <a:ext uri="{FF2B5EF4-FFF2-40B4-BE49-F238E27FC236}">
                <a16:creationId xmlns:a16="http://schemas.microsoft.com/office/drawing/2014/main" id="{0FEBC72E-D820-4566-BC9D-6D054BB5A4E7}"/>
              </a:ext>
            </a:extLst>
          </p:cNvPr>
          <p:cNvSpPr>
            <a:spLocks noGrp="1"/>
          </p:cNvSpPr>
          <p:nvPr>
            <p:ph type="body" sz="quarter" idx="19" hasCustomPrompt="1"/>
          </p:nvPr>
        </p:nvSpPr>
        <p:spPr>
          <a:xfrm>
            <a:off x="10276411" y="7982929"/>
            <a:ext cx="4012964" cy="1769702"/>
          </a:xfrm>
        </p:spPr>
        <p:txBody>
          <a:bodyPr anchor="t">
            <a:normAutofit/>
          </a:bodyPr>
          <a:lstStyle>
            <a:lvl1pPr marL="0" indent="0">
              <a:buNone/>
              <a:defRPr sz="2968">
                <a:solidFill>
                  <a:schemeClr val="tx2"/>
                </a:solidFill>
                <a:latin typeface="+mj-lt"/>
              </a:defRPr>
            </a:lvl1pPr>
          </a:lstStyle>
          <a:p>
            <a:pPr lvl="0"/>
            <a:r>
              <a:rPr lang="en-GB" noProof="0" dirty="0"/>
              <a:t>Name</a:t>
            </a:r>
          </a:p>
        </p:txBody>
      </p:sp>
      <p:sp>
        <p:nvSpPr>
          <p:cNvPr id="18" name="Text Placeholder 5">
            <a:extLst>
              <a:ext uri="{FF2B5EF4-FFF2-40B4-BE49-F238E27FC236}">
                <a16:creationId xmlns:a16="http://schemas.microsoft.com/office/drawing/2014/main" id="{922EFAA0-B9F2-4CE7-8112-F7593E285219}"/>
              </a:ext>
            </a:extLst>
          </p:cNvPr>
          <p:cNvSpPr>
            <a:spLocks noGrp="1"/>
          </p:cNvSpPr>
          <p:nvPr>
            <p:ph type="body" sz="quarter" idx="20" hasCustomPrompt="1"/>
          </p:nvPr>
        </p:nvSpPr>
        <p:spPr>
          <a:xfrm>
            <a:off x="15138447" y="7982929"/>
            <a:ext cx="4012964" cy="1769702"/>
          </a:xfrm>
        </p:spPr>
        <p:txBody>
          <a:bodyPr anchor="t">
            <a:normAutofit/>
          </a:bodyPr>
          <a:lstStyle>
            <a:lvl1pPr marL="0" indent="0">
              <a:buNone/>
              <a:defRPr sz="2968">
                <a:solidFill>
                  <a:schemeClr val="tx2"/>
                </a:solidFill>
                <a:latin typeface="+mj-lt"/>
              </a:defRPr>
            </a:lvl1pPr>
          </a:lstStyle>
          <a:p>
            <a:pPr lvl="0"/>
            <a:r>
              <a:rPr lang="en-GB" noProof="0" dirty="0"/>
              <a:t>Name</a:t>
            </a:r>
          </a:p>
        </p:txBody>
      </p:sp>
    </p:spTree>
    <p:extLst>
      <p:ext uri="{BB962C8B-B14F-4D97-AF65-F5344CB8AC3E}">
        <p14:creationId xmlns:p14="http://schemas.microsoft.com/office/powerpoint/2010/main" val="1568441161"/>
      </p:ext>
    </p:extLst>
  </p:cSld>
  <p:clrMapOvr>
    <a:overrideClrMapping bg1="lt1" tx1="dk1" bg2="lt2" tx2="dk2" accent1="accent1" accent2="accent2" accent3="accent3" accent4="accent4" accent5="accent5" accent6="accent6" hlink="hlink" folHlink="folHlink"/>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eam  purple background">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C677C15-D783-4350-B9E7-52E834A09207}"/>
              </a:ext>
            </a:extLst>
          </p:cNvPr>
          <p:cNvSpPr>
            <a:spLocks noGrp="1"/>
          </p:cNvSpPr>
          <p:nvPr>
            <p:ph type="pic" sz="quarter" idx="11"/>
          </p:nvPr>
        </p:nvSpPr>
        <p:spPr>
          <a:xfrm>
            <a:off x="552341" y="2169869"/>
            <a:ext cx="4452742" cy="5579129"/>
          </a:xfrm>
        </p:spPr>
        <p:txBody>
          <a:bodyPr/>
          <a:lstStyle>
            <a:lvl1pPr>
              <a:defRPr>
                <a:solidFill>
                  <a:schemeClr val="bg1"/>
                </a:solidFill>
              </a:defRPr>
            </a:lvl1pPr>
          </a:lstStyle>
          <a:p>
            <a:endParaRPr lang="en-GB"/>
          </a:p>
        </p:txBody>
      </p:sp>
      <p:sp>
        <p:nvSpPr>
          <p:cNvPr id="14" name="Marcador de texto 19">
            <a:extLst>
              <a:ext uri="{FF2B5EF4-FFF2-40B4-BE49-F238E27FC236}">
                <a16:creationId xmlns:a16="http://schemas.microsoft.com/office/drawing/2014/main" id="{F0A5F956-78D9-483E-8513-18F922BFD069}"/>
              </a:ext>
            </a:extLst>
          </p:cNvPr>
          <p:cNvSpPr>
            <a:spLocks noGrp="1"/>
          </p:cNvSpPr>
          <p:nvPr>
            <p:ph type="body" sz="quarter" idx="10" hasCustomPrompt="1"/>
          </p:nvPr>
        </p:nvSpPr>
        <p:spPr>
          <a:xfrm>
            <a:off x="17185412" y="389504"/>
            <a:ext cx="2985439" cy="250572"/>
          </a:xfrm>
          <a:noFill/>
        </p:spPr>
        <p:txBody>
          <a:bodyPr wrap="square" lIns="0" tIns="0" rIns="0" bIns="0" rtlCol="0" anchor="ctr">
            <a:noAutofit/>
          </a:bodyPr>
          <a:lstStyle>
            <a:lvl1pPr marL="0" indent="0">
              <a:buNone/>
              <a:defRPr lang="es-ES" sz="1319" b="0" smtClean="0">
                <a:solidFill>
                  <a:schemeClr val="bg1"/>
                </a:solidFill>
              </a:defRPr>
            </a:lvl1pPr>
            <a:lvl2pPr marL="376961" indent="0">
              <a:buNone/>
              <a:defRPr lang="es-ES" sz="2968" smtClean="0"/>
            </a:lvl2pPr>
            <a:lvl3pPr marL="1130884" indent="0">
              <a:buNone/>
              <a:defRPr lang="es-ES" sz="2968" smtClean="0"/>
            </a:lvl3pPr>
            <a:lvl4pPr marL="1790567" indent="0">
              <a:buFont typeface="Arial" panose="020B0604020202020204" pitchFamily="34" charset="0"/>
              <a:buNone/>
              <a:defRPr lang="es-ES" smtClean="0"/>
            </a:lvl4pPr>
            <a:lvl5pPr marL="2638730" indent="0">
              <a:buNone/>
              <a:defRPr lang="es-ES"/>
            </a:lvl5pPr>
          </a:lstStyle>
          <a:p>
            <a:pPr marL="0" lvl="0"/>
            <a:r>
              <a:rPr lang="es-ES" noProof="0" dirty="0"/>
              <a:t>D</a:t>
            </a:r>
            <a:r>
              <a:rPr lang="en-GB" noProof="0" dirty="0" err="1"/>
              <a:t>ocument</a:t>
            </a:r>
            <a:r>
              <a:rPr lang="en-GB" noProof="0" dirty="0"/>
              <a:t> Title</a:t>
            </a:r>
          </a:p>
        </p:txBody>
      </p:sp>
      <p:sp>
        <p:nvSpPr>
          <p:cNvPr id="6" name="Text Placeholder 5">
            <a:extLst>
              <a:ext uri="{FF2B5EF4-FFF2-40B4-BE49-F238E27FC236}">
                <a16:creationId xmlns:a16="http://schemas.microsoft.com/office/drawing/2014/main" id="{0E6285A1-3678-4E17-88A4-D3F997A10815}"/>
              </a:ext>
            </a:extLst>
          </p:cNvPr>
          <p:cNvSpPr>
            <a:spLocks noGrp="1"/>
          </p:cNvSpPr>
          <p:nvPr>
            <p:ph type="body" sz="quarter" idx="12" hasCustomPrompt="1"/>
          </p:nvPr>
        </p:nvSpPr>
        <p:spPr>
          <a:xfrm>
            <a:off x="552342" y="501326"/>
            <a:ext cx="8444243" cy="696363"/>
          </a:xfrm>
        </p:spPr>
        <p:txBody>
          <a:bodyPr anchor="ctr">
            <a:noAutofit/>
          </a:bodyPr>
          <a:lstStyle>
            <a:lvl1pPr marL="0" indent="0">
              <a:buNone/>
              <a:defRPr sz="8905">
                <a:solidFill>
                  <a:schemeClr val="bg1"/>
                </a:solidFill>
              </a:defRPr>
            </a:lvl1pPr>
          </a:lstStyle>
          <a:p>
            <a:pPr lvl="0"/>
            <a:r>
              <a:rPr lang="en-GB" noProof="0" dirty="0"/>
              <a:t>title</a:t>
            </a:r>
          </a:p>
        </p:txBody>
      </p:sp>
      <p:sp>
        <p:nvSpPr>
          <p:cNvPr id="10" name="Picture Placeholder 2">
            <a:extLst>
              <a:ext uri="{FF2B5EF4-FFF2-40B4-BE49-F238E27FC236}">
                <a16:creationId xmlns:a16="http://schemas.microsoft.com/office/drawing/2014/main" id="{9FCB22C4-994A-415D-9E24-05134561595E}"/>
              </a:ext>
            </a:extLst>
          </p:cNvPr>
          <p:cNvSpPr>
            <a:spLocks noGrp="1"/>
          </p:cNvSpPr>
          <p:nvPr>
            <p:ph type="pic" sz="quarter" idx="13"/>
          </p:nvPr>
        </p:nvSpPr>
        <p:spPr>
          <a:xfrm>
            <a:off x="5414376" y="2169869"/>
            <a:ext cx="4452742" cy="5579129"/>
          </a:xfrm>
        </p:spPr>
        <p:txBody>
          <a:bodyPr/>
          <a:lstStyle>
            <a:lvl1pPr>
              <a:defRPr>
                <a:solidFill>
                  <a:schemeClr val="bg1"/>
                </a:solidFill>
              </a:defRPr>
            </a:lvl1pPr>
          </a:lstStyle>
          <a:p>
            <a:endParaRPr lang="en-GB"/>
          </a:p>
        </p:txBody>
      </p:sp>
      <p:sp>
        <p:nvSpPr>
          <p:cNvPr id="11" name="Picture Placeholder 2">
            <a:extLst>
              <a:ext uri="{FF2B5EF4-FFF2-40B4-BE49-F238E27FC236}">
                <a16:creationId xmlns:a16="http://schemas.microsoft.com/office/drawing/2014/main" id="{332288C5-4ECA-4C24-B3CD-F2F7A3663DF7}"/>
              </a:ext>
            </a:extLst>
          </p:cNvPr>
          <p:cNvSpPr>
            <a:spLocks noGrp="1"/>
          </p:cNvSpPr>
          <p:nvPr>
            <p:ph type="pic" sz="quarter" idx="14"/>
          </p:nvPr>
        </p:nvSpPr>
        <p:spPr>
          <a:xfrm>
            <a:off x="10276410" y="2169869"/>
            <a:ext cx="4452742" cy="5579129"/>
          </a:xfrm>
        </p:spPr>
        <p:txBody>
          <a:bodyPr/>
          <a:lstStyle>
            <a:lvl1pPr>
              <a:defRPr>
                <a:solidFill>
                  <a:schemeClr val="bg1"/>
                </a:solidFill>
              </a:defRPr>
            </a:lvl1pPr>
          </a:lstStyle>
          <a:p>
            <a:endParaRPr lang="en-GB"/>
          </a:p>
        </p:txBody>
      </p:sp>
      <p:sp>
        <p:nvSpPr>
          <p:cNvPr id="12" name="Picture Placeholder 2">
            <a:extLst>
              <a:ext uri="{FF2B5EF4-FFF2-40B4-BE49-F238E27FC236}">
                <a16:creationId xmlns:a16="http://schemas.microsoft.com/office/drawing/2014/main" id="{8F3BE437-F41A-4ACC-9602-79DCEB955836}"/>
              </a:ext>
            </a:extLst>
          </p:cNvPr>
          <p:cNvSpPr>
            <a:spLocks noGrp="1"/>
          </p:cNvSpPr>
          <p:nvPr>
            <p:ph type="pic" sz="quarter" idx="15"/>
          </p:nvPr>
        </p:nvSpPr>
        <p:spPr>
          <a:xfrm>
            <a:off x="15138446" y="2169869"/>
            <a:ext cx="4452742" cy="5579129"/>
          </a:xfrm>
        </p:spPr>
        <p:txBody>
          <a:bodyPr/>
          <a:lstStyle>
            <a:lvl1pPr>
              <a:defRPr>
                <a:solidFill>
                  <a:schemeClr val="bg1"/>
                </a:solidFill>
              </a:defRPr>
            </a:lvl1pPr>
          </a:lstStyle>
          <a:p>
            <a:endParaRPr lang="en-GB"/>
          </a:p>
        </p:txBody>
      </p:sp>
      <p:sp>
        <p:nvSpPr>
          <p:cNvPr id="15" name="Text Placeholder 5">
            <a:extLst>
              <a:ext uri="{FF2B5EF4-FFF2-40B4-BE49-F238E27FC236}">
                <a16:creationId xmlns:a16="http://schemas.microsoft.com/office/drawing/2014/main" id="{0BB197D0-4883-48D8-8B67-41F5FC9C1D81}"/>
              </a:ext>
            </a:extLst>
          </p:cNvPr>
          <p:cNvSpPr>
            <a:spLocks noGrp="1"/>
          </p:cNvSpPr>
          <p:nvPr>
            <p:ph type="body" sz="quarter" idx="17" hasCustomPrompt="1"/>
          </p:nvPr>
        </p:nvSpPr>
        <p:spPr>
          <a:xfrm>
            <a:off x="552342" y="7982929"/>
            <a:ext cx="4012964" cy="1769702"/>
          </a:xfrm>
        </p:spPr>
        <p:txBody>
          <a:bodyPr anchor="t">
            <a:normAutofit/>
          </a:bodyPr>
          <a:lstStyle>
            <a:lvl1pPr marL="0" indent="0">
              <a:buNone/>
              <a:defRPr sz="2968">
                <a:solidFill>
                  <a:schemeClr val="bg2"/>
                </a:solidFill>
                <a:latin typeface="+mj-lt"/>
              </a:defRPr>
            </a:lvl1pPr>
          </a:lstStyle>
          <a:p>
            <a:pPr lvl="0"/>
            <a:r>
              <a:rPr lang="en-GB" noProof="0" dirty="0"/>
              <a:t>Name</a:t>
            </a:r>
          </a:p>
        </p:txBody>
      </p:sp>
      <p:sp>
        <p:nvSpPr>
          <p:cNvPr id="16" name="Text Placeholder 5">
            <a:extLst>
              <a:ext uri="{FF2B5EF4-FFF2-40B4-BE49-F238E27FC236}">
                <a16:creationId xmlns:a16="http://schemas.microsoft.com/office/drawing/2014/main" id="{8C4521B7-B4BE-4C69-903F-A9F601328845}"/>
              </a:ext>
            </a:extLst>
          </p:cNvPr>
          <p:cNvSpPr>
            <a:spLocks noGrp="1"/>
          </p:cNvSpPr>
          <p:nvPr>
            <p:ph type="body" sz="quarter" idx="18" hasCustomPrompt="1"/>
          </p:nvPr>
        </p:nvSpPr>
        <p:spPr>
          <a:xfrm>
            <a:off x="5414376" y="7982929"/>
            <a:ext cx="4012964" cy="1769702"/>
          </a:xfrm>
        </p:spPr>
        <p:txBody>
          <a:bodyPr anchor="t">
            <a:normAutofit/>
          </a:bodyPr>
          <a:lstStyle>
            <a:lvl1pPr marL="0" indent="0">
              <a:buNone/>
              <a:defRPr sz="2968">
                <a:solidFill>
                  <a:schemeClr val="bg2"/>
                </a:solidFill>
                <a:latin typeface="+mj-lt"/>
              </a:defRPr>
            </a:lvl1pPr>
          </a:lstStyle>
          <a:p>
            <a:pPr lvl="0"/>
            <a:r>
              <a:rPr lang="en-GB" noProof="0" dirty="0"/>
              <a:t>Name</a:t>
            </a:r>
          </a:p>
        </p:txBody>
      </p:sp>
      <p:sp>
        <p:nvSpPr>
          <p:cNvPr id="17" name="Text Placeholder 5">
            <a:extLst>
              <a:ext uri="{FF2B5EF4-FFF2-40B4-BE49-F238E27FC236}">
                <a16:creationId xmlns:a16="http://schemas.microsoft.com/office/drawing/2014/main" id="{0FEBC72E-D820-4566-BC9D-6D054BB5A4E7}"/>
              </a:ext>
            </a:extLst>
          </p:cNvPr>
          <p:cNvSpPr>
            <a:spLocks noGrp="1"/>
          </p:cNvSpPr>
          <p:nvPr>
            <p:ph type="body" sz="quarter" idx="19" hasCustomPrompt="1"/>
          </p:nvPr>
        </p:nvSpPr>
        <p:spPr>
          <a:xfrm>
            <a:off x="10276411" y="7982929"/>
            <a:ext cx="4012964" cy="1769702"/>
          </a:xfrm>
        </p:spPr>
        <p:txBody>
          <a:bodyPr anchor="t">
            <a:normAutofit/>
          </a:bodyPr>
          <a:lstStyle>
            <a:lvl1pPr marL="0" indent="0">
              <a:buNone/>
              <a:defRPr sz="2968">
                <a:solidFill>
                  <a:schemeClr val="bg2"/>
                </a:solidFill>
                <a:latin typeface="+mj-lt"/>
              </a:defRPr>
            </a:lvl1pPr>
          </a:lstStyle>
          <a:p>
            <a:pPr lvl="0"/>
            <a:r>
              <a:rPr lang="en-GB" noProof="0" dirty="0"/>
              <a:t>Name</a:t>
            </a:r>
          </a:p>
        </p:txBody>
      </p:sp>
      <p:sp>
        <p:nvSpPr>
          <p:cNvPr id="18" name="Text Placeholder 5">
            <a:extLst>
              <a:ext uri="{FF2B5EF4-FFF2-40B4-BE49-F238E27FC236}">
                <a16:creationId xmlns:a16="http://schemas.microsoft.com/office/drawing/2014/main" id="{922EFAA0-B9F2-4CE7-8112-F7593E285219}"/>
              </a:ext>
            </a:extLst>
          </p:cNvPr>
          <p:cNvSpPr>
            <a:spLocks noGrp="1"/>
          </p:cNvSpPr>
          <p:nvPr>
            <p:ph type="body" sz="quarter" idx="20" hasCustomPrompt="1"/>
          </p:nvPr>
        </p:nvSpPr>
        <p:spPr>
          <a:xfrm>
            <a:off x="15138447" y="7982929"/>
            <a:ext cx="4012964" cy="1769702"/>
          </a:xfrm>
        </p:spPr>
        <p:txBody>
          <a:bodyPr anchor="t">
            <a:normAutofit/>
          </a:bodyPr>
          <a:lstStyle>
            <a:lvl1pPr marL="0" indent="0">
              <a:buNone/>
              <a:defRPr sz="2968">
                <a:solidFill>
                  <a:schemeClr val="bg2"/>
                </a:solidFill>
                <a:latin typeface="+mj-lt"/>
              </a:defRPr>
            </a:lvl1pPr>
          </a:lstStyle>
          <a:p>
            <a:pPr lvl="0"/>
            <a:r>
              <a:rPr lang="en-GB" noProof="0" dirty="0"/>
              <a:t>Name</a:t>
            </a:r>
          </a:p>
        </p:txBody>
      </p:sp>
      <p:pic>
        <p:nvPicPr>
          <p:cNvPr id="19" name="Imagen 18">
            <a:extLst>
              <a:ext uri="{FF2B5EF4-FFF2-40B4-BE49-F238E27FC236}">
                <a16:creationId xmlns:a16="http://schemas.microsoft.com/office/drawing/2014/main" id="{9B04D250-4D43-4B8F-B972-9651FAD31A2E}"/>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206379" y="10190981"/>
            <a:ext cx="1167349" cy="583716"/>
          </a:xfrm>
          <a:prstGeom prst="rect">
            <a:avLst/>
          </a:prstGeom>
        </p:spPr>
      </p:pic>
    </p:spTree>
    <p:extLst>
      <p:ext uri="{BB962C8B-B14F-4D97-AF65-F5344CB8AC3E}">
        <p14:creationId xmlns:p14="http://schemas.microsoft.com/office/powerpoint/2010/main" val="2367167174"/>
      </p:ext>
    </p:extLst>
  </p:cSld>
  <p:clrMapOvr>
    <a:overrideClrMapping bg1="lt1" tx1="dk1" bg2="lt2" tx2="dk2" accent1="accent1" accent2="accent2" accent3="accent3" accent4="accent4" accent5="accent5" accent6="accent6" hlink="hlink" folHlink="folHlink"/>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1_Title Sllide 3">
    <p:bg>
      <p:bgRef idx="1001">
        <a:schemeClr val="bg1"/>
      </p:bgRef>
    </p:bg>
    <p:spTree>
      <p:nvGrpSpPr>
        <p:cNvPr id="1" name=""/>
        <p:cNvGrpSpPr/>
        <p:nvPr/>
      </p:nvGrpSpPr>
      <p:grpSpPr>
        <a:xfrm>
          <a:off x="0" y="0"/>
          <a:ext cx="0" cy="0"/>
          <a:chOff x="0" y="0"/>
          <a:chExt cx="0" cy="0"/>
        </a:xfrm>
      </p:grpSpPr>
      <p:sp>
        <p:nvSpPr>
          <p:cNvPr id="5" name="Marcador de posición de imagen 4">
            <a:extLst>
              <a:ext uri="{FF2B5EF4-FFF2-40B4-BE49-F238E27FC236}">
                <a16:creationId xmlns:a16="http://schemas.microsoft.com/office/drawing/2014/main" id="{FF35A0E0-62D3-4FBD-8D67-26160B8478FC}"/>
              </a:ext>
            </a:extLst>
          </p:cNvPr>
          <p:cNvSpPr>
            <a:spLocks noGrp="1"/>
          </p:cNvSpPr>
          <p:nvPr>
            <p:ph type="pic" sz="quarter" idx="14" hasCustomPrompt="1"/>
          </p:nvPr>
        </p:nvSpPr>
        <p:spPr>
          <a:xfrm>
            <a:off x="-1" y="0"/>
            <a:ext cx="20104102" cy="11309350"/>
          </a:xfrm>
        </p:spPr>
        <p:txBody>
          <a:bodyPr/>
          <a:lstStyle>
            <a:lvl1pPr marL="0" indent="0">
              <a:buNone/>
              <a:defRPr/>
            </a:lvl1pPr>
          </a:lstStyle>
          <a:p>
            <a:r>
              <a:rPr lang="en-GB" noProof="0" dirty="0"/>
              <a:t>Picture</a:t>
            </a:r>
          </a:p>
        </p:txBody>
      </p:sp>
      <p:pic>
        <p:nvPicPr>
          <p:cNvPr id="3" name="Imagen 2">
            <a:extLst>
              <a:ext uri="{FF2B5EF4-FFF2-40B4-BE49-F238E27FC236}">
                <a16:creationId xmlns:a16="http://schemas.microsoft.com/office/drawing/2014/main" id="{83538ECC-FBC7-E648-9124-B790651C4FCF}"/>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206379" y="10190981"/>
            <a:ext cx="1167349" cy="583716"/>
          </a:xfrm>
          <a:prstGeom prst="rect">
            <a:avLst/>
          </a:prstGeom>
        </p:spPr>
      </p:pic>
      <p:pic>
        <p:nvPicPr>
          <p:cNvPr id="4" name="Imagen 15">
            <a:extLst>
              <a:ext uri="{FF2B5EF4-FFF2-40B4-BE49-F238E27FC236}">
                <a16:creationId xmlns:a16="http://schemas.microsoft.com/office/drawing/2014/main" id="{19E85DE4-C4F9-8540-AA9F-F4FC91994E0A}"/>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8206379" y="10167619"/>
            <a:ext cx="1170610" cy="607079"/>
          </a:xfrm>
          <a:prstGeom prst="rect">
            <a:avLst/>
          </a:prstGeom>
        </p:spPr>
      </p:pic>
    </p:spTree>
    <p:extLst>
      <p:ext uri="{BB962C8B-B14F-4D97-AF65-F5344CB8AC3E}">
        <p14:creationId xmlns:p14="http://schemas.microsoft.com/office/powerpoint/2010/main" val="829117187"/>
      </p:ext>
    </p:extLst>
  </p:cSld>
  <p:clrMapOvr>
    <a:overrideClrMapping bg1="lt1" tx1="dk1" bg2="lt2" tx2="dk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2B4587-F108-460F-8E5A-DB5D0B2B4EC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9D97A34-08AA-474E-A5F4-CCD35457CCD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776459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698B96-78DE-474F-9E71-BEC09E74CCD0}"/>
              </a:ext>
            </a:extLst>
          </p:cNvPr>
          <p:cNvSpPr>
            <a:spLocks noGrp="1"/>
          </p:cNvSpPr>
          <p:nvPr>
            <p:ph type="ctrTitle"/>
          </p:nvPr>
        </p:nvSpPr>
        <p:spPr>
          <a:xfrm>
            <a:off x="2513013" y="1851025"/>
            <a:ext cx="15078075" cy="39370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98A875A-CDE5-463D-9EF3-A8D40CE84E20}"/>
              </a:ext>
            </a:extLst>
          </p:cNvPr>
          <p:cNvSpPr>
            <a:spLocks noGrp="1"/>
          </p:cNvSpPr>
          <p:nvPr>
            <p:ph type="subTitle" idx="1"/>
          </p:nvPr>
        </p:nvSpPr>
        <p:spPr>
          <a:xfrm>
            <a:off x="2513013" y="5940425"/>
            <a:ext cx="15078075" cy="2730500"/>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48854600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74011574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2_Title Sllide 1">
    <p:bg>
      <p:bgPr>
        <a:solidFill>
          <a:schemeClr val="tx2"/>
        </a:solidFill>
        <a:effectLst/>
      </p:bgPr>
    </p:bg>
    <p:spTree>
      <p:nvGrpSpPr>
        <p:cNvPr id="1" name=""/>
        <p:cNvGrpSpPr/>
        <p:nvPr/>
      </p:nvGrpSpPr>
      <p:grpSpPr>
        <a:xfrm>
          <a:off x="0" y="0"/>
          <a:ext cx="0" cy="0"/>
          <a:chOff x="0" y="0"/>
          <a:chExt cx="0" cy="0"/>
        </a:xfrm>
      </p:grpSpPr>
      <p:grpSp>
        <p:nvGrpSpPr>
          <p:cNvPr id="13" name="Grupo 12">
            <a:extLst>
              <a:ext uri="{FF2B5EF4-FFF2-40B4-BE49-F238E27FC236}">
                <a16:creationId xmlns:a16="http://schemas.microsoft.com/office/drawing/2014/main" id="{401C62B8-AF7E-4B7D-9538-1418B4BFEBEF}"/>
              </a:ext>
            </a:extLst>
          </p:cNvPr>
          <p:cNvGrpSpPr/>
          <p:nvPr userDrawn="1"/>
        </p:nvGrpSpPr>
        <p:grpSpPr>
          <a:xfrm>
            <a:off x="0" y="4488399"/>
            <a:ext cx="10786786" cy="2319464"/>
            <a:chOff x="0" y="2721769"/>
            <a:chExt cx="6541576" cy="1406525"/>
          </a:xfrm>
        </p:grpSpPr>
        <p:sp>
          <p:nvSpPr>
            <p:cNvPr id="11" name="Rectángulo 10">
              <a:extLst>
                <a:ext uri="{FF2B5EF4-FFF2-40B4-BE49-F238E27FC236}">
                  <a16:creationId xmlns:a16="http://schemas.microsoft.com/office/drawing/2014/main" id="{C8B6B93A-A8F8-4F2B-BC71-4B643F447AE8}"/>
                </a:ext>
              </a:extLst>
            </p:cNvPr>
            <p:cNvSpPr/>
            <p:nvPr userDrawn="1"/>
          </p:nvSpPr>
          <p:spPr>
            <a:xfrm>
              <a:off x="0" y="2721769"/>
              <a:ext cx="5133975" cy="140652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968" dirty="0"/>
            </a:p>
          </p:txBody>
        </p:sp>
        <p:sp>
          <p:nvSpPr>
            <p:cNvPr id="12" name="Rectángulo 11">
              <a:extLst>
                <a:ext uri="{FF2B5EF4-FFF2-40B4-BE49-F238E27FC236}">
                  <a16:creationId xmlns:a16="http://schemas.microsoft.com/office/drawing/2014/main" id="{C75FFB40-3AC2-49EB-8E48-A86BA5920297}"/>
                </a:ext>
              </a:extLst>
            </p:cNvPr>
            <p:cNvSpPr/>
            <p:nvPr userDrawn="1"/>
          </p:nvSpPr>
          <p:spPr>
            <a:xfrm>
              <a:off x="5133976" y="2721769"/>
              <a:ext cx="1407600" cy="1406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968" dirty="0"/>
            </a:p>
          </p:txBody>
        </p:sp>
      </p:grpSp>
      <p:sp>
        <p:nvSpPr>
          <p:cNvPr id="8" name="Marcador de texto 7">
            <a:extLst>
              <a:ext uri="{FF2B5EF4-FFF2-40B4-BE49-F238E27FC236}">
                <a16:creationId xmlns:a16="http://schemas.microsoft.com/office/drawing/2014/main" id="{7D6440B0-FCC9-4D31-ABFB-730764070B93}"/>
              </a:ext>
            </a:extLst>
          </p:cNvPr>
          <p:cNvSpPr>
            <a:spLocks noGrp="1"/>
          </p:cNvSpPr>
          <p:nvPr>
            <p:ph type="body" sz="quarter" idx="13" hasCustomPrompt="1"/>
          </p:nvPr>
        </p:nvSpPr>
        <p:spPr>
          <a:xfrm>
            <a:off x="353294" y="8037259"/>
            <a:ext cx="1808846" cy="691127"/>
          </a:xfrm>
        </p:spPr>
        <p:txBody>
          <a:bodyPr lIns="0" tIns="0" rIns="0" bIns="0" anchor="ctr">
            <a:noAutofit/>
          </a:bodyPr>
          <a:lstStyle>
            <a:lvl1pPr marL="0" indent="0">
              <a:lnSpc>
                <a:spcPct val="100000"/>
              </a:lnSpc>
              <a:spcBef>
                <a:spcPts val="0"/>
              </a:spcBef>
              <a:buNone/>
              <a:defRPr sz="1814">
                <a:solidFill>
                  <a:schemeClr val="bg1"/>
                </a:solidFill>
              </a:defRPr>
            </a:lvl1pPr>
            <a:lvl2pPr marL="753923" indent="0">
              <a:buNone/>
              <a:defRPr sz="1731">
                <a:solidFill>
                  <a:schemeClr val="bg1"/>
                </a:solidFill>
              </a:defRPr>
            </a:lvl2pPr>
            <a:lvl3pPr marL="1507846" indent="0">
              <a:buNone/>
              <a:defRPr sz="1649">
                <a:solidFill>
                  <a:schemeClr val="bg1"/>
                </a:solidFill>
              </a:defRPr>
            </a:lvl3pPr>
            <a:lvl4pPr marL="2261768" indent="0">
              <a:buNone/>
              <a:defRPr sz="1484">
                <a:solidFill>
                  <a:schemeClr val="bg1"/>
                </a:solidFill>
              </a:defRPr>
            </a:lvl4pPr>
            <a:lvl5pPr marL="3015691" indent="0">
              <a:buNone/>
              <a:defRPr sz="1484">
                <a:solidFill>
                  <a:schemeClr val="bg1"/>
                </a:solidFill>
              </a:defRPr>
            </a:lvl5pPr>
          </a:lstStyle>
          <a:p>
            <a:pPr lvl="0"/>
            <a:r>
              <a:rPr lang="en-GB" noProof="0"/>
              <a:t>Text</a:t>
            </a:r>
          </a:p>
          <a:p>
            <a:pPr lvl="0"/>
            <a:r>
              <a:rPr lang="en-GB" noProof="0"/>
              <a:t>Date</a:t>
            </a:r>
          </a:p>
        </p:txBody>
      </p:sp>
      <p:sp>
        <p:nvSpPr>
          <p:cNvPr id="16" name="Marcador de texto 7">
            <a:extLst>
              <a:ext uri="{FF2B5EF4-FFF2-40B4-BE49-F238E27FC236}">
                <a16:creationId xmlns:a16="http://schemas.microsoft.com/office/drawing/2014/main" id="{0FCADBF3-8EA9-40FC-ACDC-5AD02B297BA8}"/>
              </a:ext>
            </a:extLst>
          </p:cNvPr>
          <p:cNvSpPr>
            <a:spLocks noGrp="1"/>
          </p:cNvSpPr>
          <p:nvPr>
            <p:ph type="body" sz="quarter" idx="14" hasCustomPrompt="1"/>
          </p:nvPr>
        </p:nvSpPr>
        <p:spPr>
          <a:xfrm>
            <a:off x="2889965" y="7300215"/>
            <a:ext cx="7896820" cy="2165214"/>
          </a:xfrm>
        </p:spPr>
        <p:txBody>
          <a:bodyPr lIns="0" tIns="0" rIns="0" bIns="0" anchor="ctr">
            <a:noAutofit/>
          </a:bodyPr>
          <a:lstStyle>
            <a:lvl1pPr marL="0" indent="0" algn="r">
              <a:lnSpc>
                <a:spcPct val="100000"/>
              </a:lnSpc>
              <a:spcBef>
                <a:spcPts val="0"/>
              </a:spcBef>
              <a:buNone/>
              <a:defRPr sz="11873">
                <a:solidFill>
                  <a:schemeClr val="bg1"/>
                </a:solidFill>
                <a:latin typeface="Arial Unicode MS" panose="020B0604020202020204" pitchFamily="34" charset="-128"/>
                <a:ea typeface="Arial Unicode MS" panose="020B0604020202020204" pitchFamily="34" charset="-128"/>
                <a:cs typeface="Arial Unicode MS" panose="020B0604020202020204" pitchFamily="34" charset="-128"/>
              </a:defRPr>
            </a:lvl1pPr>
            <a:lvl2pPr marL="753923" indent="0">
              <a:buNone/>
              <a:defRPr sz="1731">
                <a:solidFill>
                  <a:schemeClr val="bg1"/>
                </a:solidFill>
              </a:defRPr>
            </a:lvl2pPr>
            <a:lvl3pPr marL="1507846" indent="0">
              <a:buNone/>
              <a:defRPr sz="1649">
                <a:solidFill>
                  <a:schemeClr val="bg1"/>
                </a:solidFill>
              </a:defRPr>
            </a:lvl3pPr>
            <a:lvl4pPr marL="2261768" indent="0">
              <a:buNone/>
              <a:defRPr sz="1484">
                <a:solidFill>
                  <a:schemeClr val="bg1"/>
                </a:solidFill>
              </a:defRPr>
            </a:lvl4pPr>
            <a:lvl5pPr marL="3015691" indent="0">
              <a:buNone/>
              <a:defRPr sz="1484">
                <a:solidFill>
                  <a:schemeClr val="bg1"/>
                </a:solidFill>
              </a:defRPr>
            </a:lvl5pPr>
          </a:lstStyle>
          <a:p>
            <a:pPr lvl="0"/>
            <a:r>
              <a:rPr lang="ar-AE" dirty="0"/>
              <a:t>انظر للأمام</a:t>
            </a:r>
            <a:endParaRPr lang="es-ES" dirty="0"/>
          </a:p>
        </p:txBody>
      </p:sp>
      <p:sp>
        <p:nvSpPr>
          <p:cNvPr id="18" name="Título 1">
            <a:extLst>
              <a:ext uri="{FF2B5EF4-FFF2-40B4-BE49-F238E27FC236}">
                <a16:creationId xmlns:a16="http://schemas.microsoft.com/office/drawing/2014/main" id="{435E0EAF-5FD4-4865-A795-3F2F13627757}"/>
              </a:ext>
            </a:extLst>
          </p:cNvPr>
          <p:cNvSpPr>
            <a:spLocks noGrp="1"/>
          </p:cNvSpPr>
          <p:nvPr>
            <p:ph type="title" hasCustomPrompt="1"/>
          </p:nvPr>
        </p:nvSpPr>
        <p:spPr>
          <a:xfrm>
            <a:off x="353293" y="4488400"/>
            <a:ext cx="7808014" cy="2319462"/>
          </a:xfrm>
        </p:spPr>
        <p:txBody>
          <a:bodyPr vert="horz" lIns="0" tIns="0" rIns="0" bIns="0" rtlCol="0" anchor="ctr">
            <a:normAutofit/>
          </a:bodyPr>
          <a:lstStyle>
            <a:lvl1pPr>
              <a:defRPr lang="es-ES" sz="9894" dirty="0">
                <a:solidFill>
                  <a:schemeClr val="tx2"/>
                </a:solidFill>
              </a:defRPr>
            </a:lvl1pPr>
          </a:lstStyle>
          <a:p>
            <a:pPr marL="0" lvl="0"/>
            <a:r>
              <a:rPr lang="en-GB" noProof="0"/>
              <a:t>Text</a:t>
            </a:r>
          </a:p>
        </p:txBody>
      </p:sp>
      <p:pic>
        <p:nvPicPr>
          <p:cNvPr id="9" name="Imagen 8">
            <a:extLst>
              <a:ext uri="{FF2B5EF4-FFF2-40B4-BE49-F238E27FC236}">
                <a16:creationId xmlns:a16="http://schemas.microsoft.com/office/drawing/2014/main" id="{34C474B0-EBAA-6149-80E6-73D779A2223A}"/>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206379" y="10190981"/>
            <a:ext cx="1167349" cy="583716"/>
          </a:xfrm>
          <a:prstGeom prst="rect">
            <a:avLst/>
          </a:prstGeom>
        </p:spPr>
      </p:pic>
    </p:spTree>
    <p:extLst>
      <p:ext uri="{BB962C8B-B14F-4D97-AF65-F5344CB8AC3E}">
        <p14:creationId xmlns:p14="http://schemas.microsoft.com/office/powerpoint/2010/main" val="66991718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itle Sllide 1">
    <p:bg>
      <p:bgPr>
        <a:solidFill>
          <a:schemeClr val="tx2"/>
        </a:solidFill>
        <a:effectLst/>
      </p:bgPr>
    </p:bg>
    <p:spTree>
      <p:nvGrpSpPr>
        <p:cNvPr id="1" name=""/>
        <p:cNvGrpSpPr/>
        <p:nvPr/>
      </p:nvGrpSpPr>
      <p:grpSpPr>
        <a:xfrm>
          <a:off x="0" y="0"/>
          <a:ext cx="0" cy="0"/>
          <a:chOff x="0" y="0"/>
          <a:chExt cx="0" cy="0"/>
        </a:xfrm>
      </p:grpSpPr>
      <p:pic>
        <p:nvPicPr>
          <p:cNvPr id="19" name="Imagen 18">
            <a:extLst>
              <a:ext uri="{FF2B5EF4-FFF2-40B4-BE49-F238E27FC236}">
                <a16:creationId xmlns:a16="http://schemas.microsoft.com/office/drawing/2014/main" id="{CDE873E3-468F-41C9-A3D5-AE1CFF571F4A}"/>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206379" y="10190981"/>
            <a:ext cx="1167349" cy="583716"/>
          </a:xfrm>
          <a:prstGeom prst="rect">
            <a:avLst/>
          </a:prstGeom>
        </p:spPr>
      </p:pic>
      <p:sp>
        <p:nvSpPr>
          <p:cNvPr id="2" name="Title 1">
            <a:extLst>
              <a:ext uri="{FF2B5EF4-FFF2-40B4-BE49-F238E27FC236}">
                <a16:creationId xmlns:a16="http://schemas.microsoft.com/office/drawing/2014/main" id="{1D616A16-5F6F-4F25-88DA-B5D1E5C6D6A9}"/>
              </a:ext>
            </a:extLst>
          </p:cNvPr>
          <p:cNvSpPr>
            <a:spLocks noGrp="1"/>
          </p:cNvSpPr>
          <p:nvPr>
            <p:ph type="title" hasCustomPrompt="1"/>
          </p:nvPr>
        </p:nvSpPr>
        <p:spPr>
          <a:xfrm>
            <a:off x="496617" y="314896"/>
            <a:ext cx="8693826" cy="2185952"/>
          </a:xfrm>
        </p:spPr>
        <p:txBody>
          <a:bodyPr anchor="t">
            <a:noAutofit/>
          </a:bodyPr>
          <a:lstStyle>
            <a:lvl1pPr>
              <a:defRPr sz="8905">
                <a:solidFill>
                  <a:schemeClr val="bg1"/>
                </a:solidFill>
              </a:defRPr>
            </a:lvl1pPr>
          </a:lstStyle>
          <a:p>
            <a:r>
              <a:rPr lang="en-GB" noProof="0"/>
              <a:t>Title</a:t>
            </a:r>
          </a:p>
        </p:txBody>
      </p:sp>
      <p:sp>
        <p:nvSpPr>
          <p:cNvPr id="14" name="Marcador de texto 19">
            <a:extLst>
              <a:ext uri="{FF2B5EF4-FFF2-40B4-BE49-F238E27FC236}">
                <a16:creationId xmlns:a16="http://schemas.microsoft.com/office/drawing/2014/main" id="{F0A5F956-78D9-483E-8513-18F922BFD069}"/>
              </a:ext>
            </a:extLst>
          </p:cNvPr>
          <p:cNvSpPr>
            <a:spLocks noGrp="1"/>
          </p:cNvSpPr>
          <p:nvPr>
            <p:ph type="body" sz="quarter" idx="10" hasCustomPrompt="1"/>
          </p:nvPr>
        </p:nvSpPr>
        <p:spPr>
          <a:xfrm>
            <a:off x="17185412" y="389504"/>
            <a:ext cx="2985439" cy="250572"/>
          </a:xfrm>
          <a:noFill/>
        </p:spPr>
        <p:txBody>
          <a:bodyPr wrap="square" lIns="0" tIns="0" rIns="0" bIns="0" rtlCol="0" anchor="ctr">
            <a:noAutofit/>
          </a:bodyPr>
          <a:lstStyle>
            <a:lvl1pPr marL="0" indent="0">
              <a:buNone/>
              <a:defRPr lang="es-ES" sz="1319" b="0" smtClean="0">
                <a:solidFill>
                  <a:schemeClr val="bg1"/>
                </a:solidFill>
              </a:defRPr>
            </a:lvl1pPr>
            <a:lvl2pPr marL="376961" indent="0">
              <a:buNone/>
              <a:defRPr lang="es-ES" sz="2968" smtClean="0"/>
            </a:lvl2pPr>
            <a:lvl3pPr marL="1130884" indent="0">
              <a:buNone/>
              <a:defRPr lang="es-ES" sz="2968" smtClean="0"/>
            </a:lvl3pPr>
            <a:lvl4pPr marL="1790567" indent="0">
              <a:buFont typeface="Arial" panose="020B0604020202020204" pitchFamily="34" charset="0"/>
              <a:buNone/>
              <a:defRPr lang="es-ES" smtClean="0"/>
            </a:lvl4pPr>
            <a:lvl5pPr marL="2638730" indent="0">
              <a:buNone/>
              <a:defRPr lang="es-ES"/>
            </a:lvl5pPr>
          </a:lstStyle>
          <a:p>
            <a:pPr marL="0" lvl="0"/>
            <a:r>
              <a:rPr lang="en-GB" noProof="0" dirty="0"/>
              <a:t>Document Title</a:t>
            </a:r>
          </a:p>
        </p:txBody>
      </p:sp>
    </p:spTree>
    <p:extLst>
      <p:ext uri="{BB962C8B-B14F-4D97-AF65-F5344CB8AC3E}">
        <p14:creationId xmlns:p14="http://schemas.microsoft.com/office/powerpoint/2010/main" val="36000396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1471528" y="251321"/>
            <a:ext cx="17001313" cy="1055017"/>
          </a:xfrm>
        </p:spPr>
        <p:txBody>
          <a:bodyPr/>
          <a:lstStyle>
            <a:lvl1pPr algn="l">
              <a:defRPr>
                <a:solidFill>
                  <a:srgbClr val="7030A0"/>
                </a:solidFill>
                <a:latin typeface="Segoe UI Semilight" panose="020B0402040204020203" pitchFamily="34" charset="0"/>
                <a:cs typeface="Segoe UI Semilight" panose="020B0402040204020203" pitchFamily="34" charset="0"/>
              </a:defRPr>
            </a:lvl1pPr>
          </a:lstStyle>
          <a:p>
            <a:r>
              <a:rPr lang="en-US" dirty="0"/>
              <a:t>Click to edit master title style</a:t>
            </a:r>
          </a:p>
        </p:txBody>
      </p:sp>
      <p:sp>
        <p:nvSpPr>
          <p:cNvPr id="8" name="Content Placeholder 7"/>
          <p:cNvSpPr>
            <a:spLocks noGrp="1"/>
          </p:cNvSpPr>
          <p:nvPr>
            <p:ph sz="quarter" idx="11"/>
          </p:nvPr>
        </p:nvSpPr>
        <p:spPr>
          <a:xfrm>
            <a:off x="248757" y="2010551"/>
            <a:ext cx="19732286" cy="8544842"/>
          </a:xfrm>
        </p:spPr>
        <p:txBody>
          <a:bodyPr/>
          <a:lstStyle>
            <a:lvl1pPr>
              <a:defRPr lang="en-US" sz="3517" b="1" kern="1200" dirty="0" smtClean="0">
                <a:solidFill>
                  <a:schemeClr val="tx1"/>
                </a:solidFill>
                <a:latin typeface="Arial" panose="020B0604020202020204" pitchFamily="34" charset="0"/>
                <a:ea typeface="+mn-ea"/>
                <a:cs typeface="Arial" panose="020B0604020202020204" pitchFamily="34" charset="0"/>
              </a:defRPr>
            </a:lvl1pPr>
            <a:lvl2pPr marL="1088277" indent="-418567">
              <a:defRPr lang="en-US" sz="2858" kern="1200" dirty="0" smtClean="0">
                <a:solidFill>
                  <a:schemeClr val="tx1">
                    <a:lumMod val="50000"/>
                    <a:lumOff val="50000"/>
                  </a:schemeClr>
                </a:solidFill>
                <a:latin typeface="Arial" panose="020B0604020202020204" pitchFamily="34" charset="0"/>
                <a:ea typeface="+mn-ea"/>
                <a:cs typeface="Arial" panose="020B0604020202020204" pitchFamily="34" charset="0"/>
              </a:defRPr>
            </a:lvl2pPr>
            <a:lvl3pPr marL="2009508" indent="-670084">
              <a:defRPr lang="en-US" sz="2638" kern="1200" dirty="0" smtClean="0">
                <a:solidFill>
                  <a:schemeClr val="tx1"/>
                </a:solidFill>
                <a:latin typeface="Arial" panose="020B0604020202020204" pitchFamily="34" charset="0"/>
                <a:ea typeface="+mn-ea"/>
                <a:cs typeface="Arial" panose="020B0604020202020204" pitchFamily="34" charset="0"/>
              </a:defRPr>
            </a:lvl3pPr>
            <a:lvl4pPr marL="2343991" indent="-334853">
              <a:defRPr lang="en-US" sz="2198" i="1" kern="1200" dirty="0" smtClean="0">
                <a:solidFill>
                  <a:schemeClr val="tx2"/>
                </a:solidFill>
                <a:latin typeface="Arial" panose="020B0604020202020204" pitchFamily="34" charset="0"/>
                <a:ea typeface="+mn-ea"/>
                <a:cs typeface="Arial" panose="020B0604020202020204" pitchFamily="34" charset="0"/>
              </a:defRPr>
            </a:lvl4pPr>
            <a:lvl5pPr marL="3013699" indent="-334853">
              <a:defRPr lang="en-US" sz="2198" kern="1200" dirty="0">
                <a:solidFill>
                  <a:schemeClr val="tx1"/>
                </a:solidFill>
                <a:latin typeface="Arial" panose="020B0604020202020204" pitchFamily="34" charset="0"/>
                <a:ea typeface="+mn-ea"/>
                <a:cs typeface="Arial" panose="020B0604020202020204" pitchFamily="34" charset="0"/>
              </a:defRPr>
            </a:lvl5pPr>
          </a:lstStyle>
          <a:p>
            <a:pPr marL="0" lvl="0" indent="0" algn="l" defTabSz="669710" rtl="0" eaLnBrk="1" latinLnBrk="0" hangingPunct="1">
              <a:spcBef>
                <a:spcPct val="20000"/>
              </a:spcBef>
              <a:buFont typeface="Arial"/>
              <a:buNone/>
            </a:pPr>
            <a:r>
              <a:rPr lang="en-US" dirty="0"/>
              <a:t>Click to edit Master text styles</a:t>
            </a:r>
          </a:p>
          <a:p>
            <a:pPr marL="1088277" lvl="1" indent="-418567" algn="l" defTabSz="669710" rtl="0" eaLnBrk="1" latinLnBrk="0" hangingPunct="1">
              <a:spcBef>
                <a:spcPct val="20000"/>
              </a:spcBef>
              <a:buFont typeface="Arial"/>
              <a:buChar char="–"/>
            </a:pPr>
            <a:r>
              <a:rPr lang="en-US" dirty="0"/>
              <a:t>Second level</a:t>
            </a:r>
          </a:p>
          <a:p>
            <a:pPr marL="1841984" lvl="2" indent="-502561" algn="l" defTabSz="669710" rtl="0" eaLnBrk="1" latinLnBrk="0" hangingPunct="1">
              <a:spcBef>
                <a:spcPct val="20000"/>
              </a:spcBef>
              <a:buFont typeface="+mj-lt"/>
              <a:buAutoNum type="arabicPeriod"/>
            </a:pPr>
            <a:r>
              <a:rPr lang="en-US" dirty="0"/>
              <a:t>Third level</a:t>
            </a:r>
          </a:p>
          <a:p>
            <a:pPr marL="2343991" lvl="3" indent="-334853" algn="l" defTabSz="669710" rtl="0" eaLnBrk="1" latinLnBrk="0" hangingPunct="1">
              <a:spcBef>
                <a:spcPct val="20000"/>
              </a:spcBef>
              <a:buFont typeface="Arial"/>
              <a:buChar char="–"/>
            </a:pPr>
            <a:r>
              <a:rPr lang="en-US" dirty="0"/>
              <a:t>Fourth level</a:t>
            </a:r>
          </a:p>
          <a:p>
            <a:pPr marL="3013699" lvl="4" indent="-334853" algn="l" defTabSz="669710" rtl="0" eaLnBrk="1" latinLnBrk="0" hangingPunct="1">
              <a:spcBef>
                <a:spcPct val="20000"/>
              </a:spcBef>
              <a:buFont typeface="Arial"/>
              <a:buChar char="»"/>
            </a:pPr>
            <a:r>
              <a:rPr lang="en-US" dirty="0"/>
              <a:t>Fifth level</a:t>
            </a:r>
          </a:p>
        </p:txBody>
      </p:sp>
    </p:spTree>
    <p:extLst>
      <p:ext uri="{BB962C8B-B14F-4D97-AF65-F5344CB8AC3E}">
        <p14:creationId xmlns:p14="http://schemas.microsoft.com/office/powerpoint/2010/main" val="124503940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itle Sllide 40px">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2651B967-5412-4F9E-949F-4173106E63EA}"/>
              </a:ext>
            </a:extLst>
          </p:cNvPr>
          <p:cNvSpPr>
            <a:spLocks noGrp="1"/>
          </p:cNvSpPr>
          <p:nvPr>
            <p:ph type="pic" sz="quarter" idx="11"/>
          </p:nvPr>
        </p:nvSpPr>
        <p:spPr>
          <a:xfrm>
            <a:off x="0" y="0"/>
            <a:ext cx="20104100" cy="11309350"/>
          </a:xfrm>
        </p:spPr>
        <p:txBody>
          <a:bodyPr anchor="ctr"/>
          <a:lstStyle>
            <a:lvl1pPr marL="0" indent="0" algn="ctr">
              <a:buNone/>
              <a:defRPr/>
            </a:lvl1pPr>
          </a:lstStyle>
          <a:p>
            <a:endParaRPr lang="en-GB"/>
          </a:p>
        </p:txBody>
      </p:sp>
      <p:pic>
        <p:nvPicPr>
          <p:cNvPr id="19" name="Imagen 18">
            <a:extLst>
              <a:ext uri="{FF2B5EF4-FFF2-40B4-BE49-F238E27FC236}">
                <a16:creationId xmlns:a16="http://schemas.microsoft.com/office/drawing/2014/main" id="{CDE873E3-468F-41C9-A3D5-AE1CFF571F4A}"/>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206379" y="10190981"/>
            <a:ext cx="1167349" cy="583716"/>
          </a:xfrm>
          <a:prstGeom prst="rect">
            <a:avLst/>
          </a:prstGeom>
        </p:spPr>
      </p:pic>
      <p:sp>
        <p:nvSpPr>
          <p:cNvPr id="2" name="Title 1">
            <a:extLst>
              <a:ext uri="{FF2B5EF4-FFF2-40B4-BE49-F238E27FC236}">
                <a16:creationId xmlns:a16="http://schemas.microsoft.com/office/drawing/2014/main" id="{1D616A16-5F6F-4F25-88DA-B5D1E5C6D6A9}"/>
              </a:ext>
            </a:extLst>
          </p:cNvPr>
          <p:cNvSpPr>
            <a:spLocks noGrp="1"/>
          </p:cNvSpPr>
          <p:nvPr>
            <p:ph type="title" hasCustomPrompt="1"/>
          </p:nvPr>
        </p:nvSpPr>
        <p:spPr>
          <a:xfrm>
            <a:off x="496617" y="314896"/>
            <a:ext cx="8693826" cy="4615742"/>
          </a:xfrm>
        </p:spPr>
        <p:txBody>
          <a:bodyPr vert="horz" lIns="0" tIns="0" rIns="0" bIns="0" rtlCol="0" anchor="t">
            <a:noAutofit/>
          </a:bodyPr>
          <a:lstStyle>
            <a:lvl1pPr>
              <a:defRPr lang="en-GB" sz="6596" dirty="0">
                <a:solidFill>
                  <a:schemeClr val="bg1"/>
                </a:solidFill>
              </a:defRPr>
            </a:lvl1pPr>
          </a:lstStyle>
          <a:p>
            <a:pPr lvl="0">
              <a:lnSpc>
                <a:spcPts val="5772"/>
              </a:lnSpc>
            </a:pPr>
            <a:r>
              <a:rPr lang="en-GB" noProof="0"/>
              <a:t>Title</a:t>
            </a:r>
          </a:p>
        </p:txBody>
      </p:sp>
      <p:sp>
        <p:nvSpPr>
          <p:cNvPr id="14" name="Marcador de texto 19">
            <a:extLst>
              <a:ext uri="{FF2B5EF4-FFF2-40B4-BE49-F238E27FC236}">
                <a16:creationId xmlns:a16="http://schemas.microsoft.com/office/drawing/2014/main" id="{F0A5F956-78D9-483E-8513-18F922BFD069}"/>
              </a:ext>
            </a:extLst>
          </p:cNvPr>
          <p:cNvSpPr>
            <a:spLocks noGrp="1"/>
          </p:cNvSpPr>
          <p:nvPr>
            <p:ph type="body" sz="quarter" idx="10" hasCustomPrompt="1"/>
          </p:nvPr>
        </p:nvSpPr>
        <p:spPr>
          <a:xfrm>
            <a:off x="17185412" y="389504"/>
            <a:ext cx="2985439" cy="250572"/>
          </a:xfrm>
          <a:noFill/>
        </p:spPr>
        <p:txBody>
          <a:bodyPr wrap="square" lIns="0" tIns="0" rIns="0" bIns="0" rtlCol="0" anchor="ctr">
            <a:noAutofit/>
          </a:bodyPr>
          <a:lstStyle>
            <a:lvl1pPr marL="0" indent="0">
              <a:buNone/>
              <a:defRPr lang="es-ES" sz="1319" b="0" smtClean="0">
                <a:solidFill>
                  <a:schemeClr val="bg1"/>
                </a:solidFill>
              </a:defRPr>
            </a:lvl1pPr>
            <a:lvl2pPr marL="376961" indent="0">
              <a:buNone/>
              <a:defRPr lang="es-ES" sz="2968" smtClean="0"/>
            </a:lvl2pPr>
            <a:lvl3pPr marL="1130884" indent="0">
              <a:buNone/>
              <a:defRPr lang="es-ES" sz="2968" smtClean="0"/>
            </a:lvl3pPr>
            <a:lvl4pPr marL="1790567" indent="0">
              <a:buFont typeface="Arial" panose="020B0604020202020204" pitchFamily="34" charset="0"/>
              <a:buNone/>
              <a:defRPr lang="es-ES" smtClean="0"/>
            </a:lvl4pPr>
            <a:lvl5pPr marL="2638730" indent="0">
              <a:buNone/>
              <a:defRPr lang="es-ES"/>
            </a:lvl5pPr>
          </a:lstStyle>
          <a:p>
            <a:pPr marL="0" lvl="0"/>
            <a:r>
              <a:rPr lang="es-ES" noProof="0" dirty="0"/>
              <a:t>D</a:t>
            </a:r>
            <a:r>
              <a:rPr lang="en-GB" noProof="0" dirty="0" err="1"/>
              <a:t>ocument</a:t>
            </a:r>
            <a:r>
              <a:rPr lang="en-GB" noProof="0" dirty="0"/>
              <a:t> Title</a:t>
            </a:r>
          </a:p>
        </p:txBody>
      </p:sp>
    </p:spTree>
    <p:extLst>
      <p:ext uri="{BB962C8B-B14F-4D97-AF65-F5344CB8AC3E}">
        <p14:creationId xmlns:p14="http://schemas.microsoft.com/office/powerpoint/2010/main" val="246013427"/>
      </p:ext>
    </p:extLst>
  </p:cSld>
  <p:clrMapOvr>
    <a:overrideClrMapping bg1="lt1" tx1="dk1" bg2="lt2" tx2="dk2" accent1="accent1" accent2="accent2" accent3="accent3" accent4="accent4" accent5="accent5" accent6="accent6" hlink="hlink" folHlink="folHlink"/>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itle Sllide 40px - purple">
    <p:bg>
      <p:bgRef idx="1001">
        <a:schemeClr val="bg1"/>
      </p:bgRef>
    </p:bg>
    <p:spTree>
      <p:nvGrpSpPr>
        <p:cNvPr id="1" name=""/>
        <p:cNvGrpSpPr/>
        <p:nvPr/>
      </p:nvGrpSpPr>
      <p:grpSpPr>
        <a:xfrm>
          <a:off x="0" y="0"/>
          <a:ext cx="0" cy="0"/>
          <a:chOff x="0" y="0"/>
          <a:chExt cx="0" cy="0"/>
        </a:xfrm>
      </p:grpSpPr>
      <p:pic>
        <p:nvPicPr>
          <p:cNvPr id="19" name="Imagen 18">
            <a:extLst>
              <a:ext uri="{FF2B5EF4-FFF2-40B4-BE49-F238E27FC236}">
                <a16:creationId xmlns:a16="http://schemas.microsoft.com/office/drawing/2014/main" id="{CDE873E3-468F-41C9-A3D5-AE1CFF571F4A}"/>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206379" y="10190981"/>
            <a:ext cx="1167349" cy="583716"/>
          </a:xfrm>
          <a:prstGeom prst="rect">
            <a:avLst/>
          </a:prstGeom>
        </p:spPr>
      </p:pic>
      <p:sp>
        <p:nvSpPr>
          <p:cNvPr id="2" name="Title 1">
            <a:extLst>
              <a:ext uri="{FF2B5EF4-FFF2-40B4-BE49-F238E27FC236}">
                <a16:creationId xmlns:a16="http://schemas.microsoft.com/office/drawing/2014/main" id="{1D616A16-5F6F-4F25-88DA-B5D1E5C6D6A9}"/>
              </a:ext>
            </a:extLst>
          </p:cNvPr>
          <p:cNvSpPr>
            <a:spLocks noGrp="1"/>
          </p:cNvSpPr>
          <p:nvPr>
            <p:ph type="title" hasCustomPrompt="1"/>
          </p:nvPr>
        </p:nvSpPr>
        <p:spPr>
          <a:xfrm>
            <a:off x="496617" y="314896"/>
            <a:ext cx="8693826" cy="4615742"/>
          </a:xfrm>
        </p:spPr>
        <p:txBody>
          <a:bodyPr vert="horz" lIns="0" tIns="0" rIns="0" bIns="0" rtlCol="0" anchor="t">
            <a:noAutofit/>
          </a:bodyPr>
          <a:lstStyle>
            <a:lvl1pPr>
              <a:lnSpc>
                <a:spcPct val="100000"/>
              </a:lnSpc>
              <a:defRPr lang="en-GB" sz="6596" dirty="0">
                <a:solidFill>
                  <a:schemeClr val="tx2"/>
                </a:solidFill>
              </a:defRPr>
            </a:lvl1pPr>
          </a:lstStyle>
          <a:p>
            <a:pPr lvl="0">
              <a:lnSpc>
                <a:spcPts val="5772"/>
              </a:lnSpc>
            </a:pPr>
            <a:r>
              <a:rPr lang="en-GB" noProof="0"/>
              <a:t>Title</a:t>
            </a:r>
          </a:p>
        </p:txBody>
      </p:sp>
      <p:sp>
        <p:nvSpPr>
          <p:cNvPr id="14" name="Marcador de texto 19">
            <a:extLst>
              <a:ext uri="{FF2B5EF4-FFF2-40B4-BE49-F238E27FC236}">
                <a16:creationId xmlns:a16="http://schemas.microsoft.com/office/drawing/2014/main" id="{F0A5F956-78D9-483E-8513-18F922BFD069}"/>
              </a:ext>
            </a:extLst>
          </p:cNvPr>
          <p:cNvSpPr>
            <a:spLocks noGrp="1"/>
          </p:cNvSpPr>
          <p:nvPr>
            <p:ph type="body" sz="quarter" idx="10" hasCustomPrompt="1"/>
          </p:nvPr>
        </p:nvSpPr>
        <p:spPr>
          <a:xfrm>
            <a:off x="17185412" y="389504"/>
            <a:ext cx="2985439" cy="250572"/>
          </a:xfrm>
          <a:noFill/>
        </p:spPr>
        <p:txBody>
          <a:bodyPr wrap="square" lIns="0" tIns="0" rIns="0" bIns="0" rtlCol="0" anchor="ctr">
            <a:noAutofit/>
          </a:bodyPr>
          <a:lstStyle>
            <a:lvl1pPr marL="0" indent="0">
              <a:buNone/>
              <a:defRPr lang="es-ES" sz="1319" b="0" smtClean="0">
                <a:solidFill>
                  <a:schemeClr val="tx2"/>
                </a:solidFill>
              </a:defRPr>
            </a:lvl1pPr>
            <a:lvl2pPr marL="376961" indent="0">
              <a:buNone/>
              <a:defRPr lang="es-ES" sz="2968" smtClean="0"/>
            </a:lvl2pPr>
            <a:lvl3pPr marL="1130884" indent="0">
              <a:buNone/>
              <a:defRPr lang="es-ES" sz="2968" smtClean="0"/>
            </a:lvl3pPr>
            <a:lvl4pPr marL="1790567" indent="0">
              <a:buFont typeface="Arial" panose="020B0604020202020204" pitchFamily="34" charset="0"/>
              <a:buNone/>
              <a:defRPr lang="es-ES" smtClean="0"/>
            </a:lvl4pPr>
            <a:lvl5pPr marL="2638730" indent="0">
              <a:buNone/>
              <a:defRPr lang="es-ES"/>
            </a:lvl5pPr>
          </a:lstStyle>
          <a:p>
            <a:pPr marL="0" lvl="0"/>
            <a:r>
              <a:rPr lang="es-ES" noProof="0" dirty="0"/>
              <a:t>D</a:t>
            </a:r>
            <a:r>
              <a:rPr lang="en-GB" noProof="0" dirty="0" err="1"/>
              <a:t>ocument</a:t>
            </a:r>
            <a:r>
              <a:rPr lang="en-GB" noProof="0" dirty="0"/>
              <a:t> Title</a:t>
            </a:r>
          </a:p>
        </p:txBody>
      </p:sp>
      <p:pic>
        <p:nvPicPr>
          <p:cNvPr id="8" name="Imagen 15">
            <a:extLst>
              <a:ext uri="{FF2B5EF4-FFF2-40B4-BE49-F238E27FC236}">
                <a16:creationId xmlns:a16="http://schemas.microsoft.com/office/drawing/2014/main" id="{B065F7FD-B3E1-43A0-BA90-5D534CBEF16D}"/>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8206627" y="10175274"/>
            <a:ext cx="1170610" cy="607079"/>
          </a:xfrm>
          <a:prstGeom prst="rect">
            <a:avLst/>
          </a:prstGeom>
        </p:spPr>
      </p:pic>
    </p:spTree>
    <p:extLst>
      <p:ext uri="{BB962C8B-B14F-4D97-AF65-F5344CB8AC3E}">
        <p14:creationId xmlns:p14="http://schemas.microsoft.com/office/powerpoint/2010/main" val="3886346593"/>
      </p:ext>
    </p:extLst>
  </p:cSld>
  <p:clrMapOvr>
    <a:overrideClrMapping bg1="lt1" tx1="dk1" bg2="lt2" tx2="dk2" accent1="accent1" accent2="accent2" accent3="accent3" accent4="accent4" accent5="accent5" accent6="accent6" hlink="hlink" folHlink="folHlink"/>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Contents-10 numbering-white background">
    <p:bg>
      <p:bgRef idx="1001">
        <a:schemeClr val="bg1"/>
      </p:bgRef>
    </p:bg>
    <p:spTree>
      <p:nvGrpSpPr>
        <p:cNvPr id="1" name=""/>
        <p:cNvGrpSpPr/>
        <p:nvPr/>
      </p:nvGrpSpPr>
      <p:grpSpPr>
        <a:xfrm>
          <a:off x="0" y="0"/>
          <a:ext cx="0" cy="0"/>
          <a:chOff x="0" y="0"/>
          <a:chExt cx="0" cy="0"/>
        </a:xfrm>
      </p:grpSpPr>
      <p:pic>
        <p:nvPicPr>
          <p:cNvPr id="19" name="Imagen 18">
            <a:extLst>
              <a:ext uri="{FF2B5EF4-FFF2-40B4-BE49-F238E27FC236}">
                <a16:creationId xmlns:a16="http://schemas.microsoft.com/office/drawing/2014/main" id="{CDE873E3-468F-41C9-A3D5-AE1CFF571F4A}"/>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206379" y="10190981"/>
            <a:ext cx="1167349" cy="583716"/>
          </a:xfrm>
          <a:prstGeom prst="rect">
            <a:avLst/>
          </a:prstGeom>
        </p:spPr>
      </p:pic>
      <p:sp>
        <p:nvSpPr>
          <p:cNvPr id="14" name="Marcador de texto 19">
            <a:extLst>
              <a:ext uri="{FF2B5EF4-FFF2-40B4-BE49-F238E27FC236}">
                <a16:creationId xmlns:a16="http://schemas.microsoft.com/office/drawing/2014/main" id="{F0A5F956-78D9-483E-8513-18F922BFD069}"/>
              </a:ext>
            </a:extLst>
          </p:cNvPr>
          <p:cNvSpPr>
            <a:spLocks noGrp="1"/>
          </p:cNvSpPr>
          <p:nvPr>
            <p:ph type="body" sz="quarter" idx="10" hasCustomPrompt="1"/>
          </p:nvPr>
        </p:nvSpPr>
        <p:spPr>
          <a:xfrm>
            <a:off x="17185412" y="389504"/>
            <a:ext cx="2985439" cy="250572"/>
          </a:xfrm>
          <a:noFill/>
        </p:spPr>
        <p:txBody>
          <a:bodyPr wrap="square" lIns="0" tIns="0" rIns="0" bIns="0" rtlCol="0" anchor="ctr">
            <a:noAutofit/>
          </a:bodyPr>
          <a:lstStyle>
            <a:lvl1pPr marL="0" indent="0">
              <a:buNone/>
              <a:defRPr lang="es-ES" sz="1319" b="0" smtClean="0">
                <a:solidFill>
                  <a:schemeClr val="tx2"/>
                </a:solidFill>
              </a:defRPr>
            </a:lvl1pPr>
            <a:lvl2pPr marL="376961" indent="0">
              <a:buNone/>
              <a:defRPr lang="es-ES" sz="2968" smtClean="0"/>
            </a:lvl2pPr>
            <a:lvl3pPr marL="1130884" indent="0">
              <a:buNone/>
              <a:defRPr lang="es-ES" sz="2968" smtClean="0"/>
            </a:lvl3pPr>
            <a:lvl4pPr marL="1790567" indent="0">
              <a:buFont typeface="Arial" panose="020B0604020202020204" pitchFamily="34" charset="0"/>
              <a:buNone/>
              <a:defRPr lang="es-ES" smtClean="0"/>
            </a:lvl4pPr>
            <a:lvl5pPr marL="2638730" indent="0">
              <a:buNone/>
              <a:defRPr lang="es-ES"/>
            </a:lvl5pPr>
          </a:lstStyle>
          <a:p>
            <a:pPr marL="0" lvl="0"/>
            <a:r>
              <a:rPr lang="es-ES" noProof="0" dirty="0"/>
              <a:t>D</a:t>
            </a:r>
            <a:r>
              <a:rPr lang="en-GB" noProof="0" dirty="0" err="1"/>
              <a:t>ocument</a:t>
            </a:r>
            <a:r>
              <a:rPr lang="en-GB" noProof="0" dirty="0"/>
              <a:t> Title</a:t>
            </a:r>
          </a:p>
        </p:txBody>
      </p:sp>
      <p:pic>
        <p:nvPicPr>
          <p:cNvPr id="8" name="Imagen 15">
            <a:extLst>
              <a:ext uri="{FF2B5EF4-FFF2-40B4-BE49-F238E27FC236}">
                <a16:creationId xmlns:a16="http://schemas.microsoft.com/office/drawing/2014/main" id="{B065F7FD-B3E1-43A0-BA90-5D534CBEF16D}"/>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8206627" y="10175274"/>
            <a:ext cx="1170610" cy="607079"/>
          </a:xfrm>
          <a:prstGeom prst="rect">
            <a:avLst/>
          </a:prstGeom>
        </p:spPr>
      </p:pic>
      <p:sp>
        <p:nvSpPr>
          <p:cNvPr id="6" name="Text Placeholder 5">
            <a:extLst>
              <a:ext uri="{FF2B5EF4-FFF2-40B4-BE49-F238E27FC236}">
                <a16:creationId xmlns:a16="http://schemas.microsoft.com/office/drawing/2014/main" id="{96451491-55DA-494C-AE67-A7AA6F9EE7DA}"/>
              </a:ext>
            </a:extLst>
          </p:cNvPr>
          <p:cNvSpPr>
            <a:spLocks noGrp="1"/>
          </p:cNvSpPr>
          <p:nvPr>
            <p:ph type="body" sz="quarter" idx="11" hasCustomPrompt="1"/>
          </p:nvPr>
        </p:nvSpPr>
        <p:spPr>
          <a:xfrm>
            <a:off x="615165" y="3036771"/>
            <a:ext cx="1591576" cy="1055017"/>
          </a:xfrm>
        </p:spPr>
        <p:txBody>
          <a:bodyPr>
            <a:noAutofit/>
          </a:bodyPr>
          <a:lstStyle>
            <a:lvl1pPr marL="0" indent="0">
              <a:buNone/>
              <a:defRPr sz="7915">
                <a:solidFill>
                  <a:schemeClr val="tx2"/>
                </a:solidFill>
              </a:defRPr>
            </a:lvl1pPr>
            <a:lvl2pPr marL="753923" indent="0">
              <a:buNone/>
              <a:defRPr/>
            </a:lvl2pPr>
            <a:lvl3pPr marL="1507846" indent="0">
              <a:buNone/>
              <a:defRPr/>
            </a:lvl3pPr>
            <a:lvl4pPr marL="2261768" indent="0">
              <a:buNone/>
              <a:defRPr/>
            </a:lvl4pPr>
            <a:lvl5pPr marL="3015691" indent="0">
              <a:buNone/>
              <a:defRPr/>
            </a:lvl5pPr>
          </a:lstStyle>
          <a:p>
            <a:pPr lvl="0"/>
            <a:r>
              <a:rPr lang="en-GB" noProof="0"/>
              <a:t>Nº</a:t>
            </a:r>
          </a:p>
        </p:txBody>
      </p:sp>
      <p:sp>
        <p:nvSpPr>
          <p:cNvPr id="10" name="Text Placeholder 9">
            <a:extLst>
              <a:ext uri="{FF2B5EF4-FFF2-40B4-BE49-F238E27FC236}">
                <a16:creationId xmlns:a16="http://schemas.microsoft.com/office/drawing/2014/main" id="{ECD08C52-C62A-483D-AEB9-8ECE7A332507}"/>
              </a:ext>
            </a:extLst>
          </p:cNvPr>
          <p:cNvSpPr>
            <a:spLocks noGrp="1"/>
          </p:cNvSpPr>
          <p:nvPr>
            <p:ph type="body" sz="quarter" idx="12" hasCustomPrompt="1"/>
          </p:nvPr>
        </p:nvSpPr>
        <p:spPr>
          <a:xfrm>
            <a:off x="615164" y="4186033"/>
            <a:ext cx="3287858" cy="356200"/>
          </a:xfrm>
        </p:spPr>
        <p:txBody>
          <a:bodyPr>
            <a:normAutofit/>
          </a:bodyPr>
          <a:lstStyle>
            <a:lvl1pPr marL="0" indent="0" algn="l">
              <a:buFont typeface="Arial" panose="020B0604020202020204" pitchFamily="34" charset="0"/>
              <a:buNone/>
              <a:defRPr sz="1731" b="1"/>
            </a:lvl1pPr>
          </a:lstStyle>
          <a:p>
            <a:pPr lvl="0"/>
            <a:r>
              <a:rPr lang="en-GB" noProof="0"/>
              <a:t>TITLE</a:t>
            </a:r>
          </a:p>
        </p:txBody>
      </p:sp>
      <p:sp>
        <p:nvSpPr>
          <p:cNvPr id="13" name="Text Placeholder 9">
            <a:extLst>
              <a:ext uri="{FF2B5EF4-FFF2-40B4-BE49-F238E27FC236}">
                <a16:creationId xmlns:a16="http://schemas.microsoft.com/office/drawing/2014/main" id="{75D0857F-ADC8-4CFD-8864-141069A38FC9}"/>
              </a:ext>
            </a:extLst>
          </p:cNvPr>
          <p:cNvSpPr>
            <a:spLocks noGrp="1"/>
          </p:cNvSpPr>
          <p:nvPr>
            <p:ph type="body" sz="quarter" idx="13" hasCustomPrompt="1"/>
          </p:nvPr>
        </p:nvSpPr>
        <p:spPr>
          <a:xfrm>
            <a:off x="615164" y="4610123"/>
            <a:ext cx="3287858" cy="1602900"/>
          </a:xfrm>
        </p:spPr>
        <p:txBody>
          <a:bodyPr>
            <a:normAutofit/>
          </a:bodyPr>
          <a:lstStyle>
            <a:lvl1pPr marL="0" indent="0">
              <a:buNone/>
              <a:defRPr sz="1649" b="0"/>
            </a:lvl1pPr>
          </a:lstStyle>
          <a:p>
            <a:pPr lvl="0"/>
            <a:r>
              <a:rPr lang="en-GB" noProof="0"/>
              <a:t>Lorem</a:t>
            </a:r>
          </a:p>
        </p:txBody>
      </p:sp>
      <p:sp>
        <p:nvSpPr>
          <p:cNvPr id="15" name="Text Placeholder 5">
            <a:extLst>
              <a:ext uri="{FF2B5EF4-FFF2-40B4-BE49-F238E27FC236}">
                <a16:creationId xmlns:a16="http://schemas.microsoft.com/office/drawing/2014/main" id="{EA47D272-5350-465D-812F-44D6935CF029}"/>
              </a:ext>
            </a:extLst>
          </p:cNvPr>
          <p:cNvSpPr>
            <a:spLocks noGrp="1"/>
          </p:cNvSpPr>
          <p:nvPr>
            <p:ph type="body" sz="quarter" idx="14" hasCustomPrompt="1"/>
          </p:nvPr>
        </p:nvSpPr>
        <p:spPr>
          <a:xfrm>
            <a:off x="4409814" y="3036771"/>
            <a:ext cx="1591576" cy="1055017"/>
          </a:xfrm>
        </p:spPr>
        <p:txBody>
          <a:bodyPr>
            <a:noAutofit/>
          </a:bodyPr>
          <a:lstStyle>
            <a:lvl1pPr marL="0" indent="0">
              <a:buNone/>
              <a:defRPr sz="7915">
                <a:solidFill>
                  <a:schemeClr val="tx2"/>
                </a:solidFill>
              </a:defRPr>
            </a:lvl1pPr>
            <a:lvl2pPr marL="753923" indent="0">
              <a:buNone/>
              <a:defRPr/>
            </a:lvl2pPr>
            <a:lvl3pPr marL="1507846" indent="0">
              <a:buNone/>
              <a:defRPr/>
            </a:lvl3pPr>
            <a:lvl4pPr marL="2261768" indent="0">
              <a:buNone/>
              <a:defRPr/>
            </a:lvl4pPr>
            <a:lvl5pPr marL="3015691" indent="0">
              <a:buNone/>
              <a:defRPr/>
            </a:lvl5pPr>
          </a:lstStyle>
          <a:p>
            <a:pPr lvl="0"/>
            <a:r>
              <a:rPr lang="en-GB" noProof="0"/>
              <a:t>Nº</a:t>
            </a:r>
          </a:p>
        </p:txBody>
      </p:sp>
      <p:sp>
        <p:nvSpPr>
          <p:cNvPr id="16" name="Text Placeholder 9">
            <a:extLst>
              <a:ext uri="{FF2B5EF4-FFF2-40B4-BE49-F238E27FC236}">
                <a16:creationId xmlns:a16="http://schemas.microsoft.com/office/drawing/2014/main" id="{A74D1E6A-C29F-40C3-A21F-64983EE009B5}"/>
              </a:ext>
            </a:extLst>
          </p:cNvPr>
          <p:cNvSpPr>
            <a:spLocks noGrp="1"/>
          </p:cNvSpPr>
          <p:nvPr>
            <p:ph type="body" sz="quarter" idx="15" hasCustomPrompt="1"/>
          </p:nvPr>
        </p:nvSpPr>
        <p:spPr>
          <a:xfrm>
            <a:off x="4409813" y="4186033"/>
            <a:ext cx="3287858" cy="356200"/>
          </a:xfrm>
        </p:spPr>
        <p:txBody>
          <a:bodyPr>
            <a:normAutofit/>
          </a:bodyPr>
          <a:lstStyle>
            <a:lvl1pPr marL="0" indent="0" algn="l">
              <a:buNone/>
              <a:defRPr sz="1731" b="1"/>
            </a:lvl1pPr>
          </a:lstStyle>
          <a:p>
            <a:pPr lvl="0"/>
            <a:r>
              <a:rPr lang="en-GB" noProof="0"/>
              <a:t>TITLE</a:t>
            </a:r>
          </a:p>
        </p:txBody>
      </p:sp>
      <p:sp>
        <p:nvSpPr>
          <p:cNvPr id="17" name="Text Placeholder 9">
            <a:extLst>
              <a:ext uri="{FF2B5EF4-FFF2-40B4-BE49-F238E27FC236}">
                <a16:creationId xmlns:a16="http://schemas.microsoft.com/office/drawing/2014/main" id="{CB5F5ED8-32CC-43AE-95F2-320422A4B6F2}"/>
              </a:ext>
            </a:extLst>
          </p:cNvPr>
          <p:cNvSpPr>
            <a:spLocks noGrp="1"/>
          </p:cNvSpPr>
          <p:nvPr>
            <p:ph type="body" sz="quarter" idx="16" hasCustomPrompt="1"/>
          </p:nvPr>
        </p:nvSpPr>
        <p:spPr>
          <a:xfrm>
            <a:off x="4409813" y="4610123"/>
            <a:ext cx="3287858" cy="1602900"/>
          </a:xfrm>
        </p:spPr>
        <p:txBody>
          <a:bodyPr>
            <a:normAutofit/>
          </a:bodyPr>
          <a:lstStyle>
            <a:lvl1pPr marL="0" indent="0">
              <a:buNone/>
              <a:defRPr sz="1649" b="0"/>
            </a:lvl1pPr>
          </a:lstStyle>
          <a:p>
            <a:pPr lvl="0"/>
            <a:r>
              <a:rPr lang="en-GB" noProof="0"/>
              <a:t>Lorem</a:t>
            </a:r>
          </a:p>
        </p:txBody>
      </p:sp>
      <p:sp>
        <p:nvSpPr>
          <p:cNvPr id="18" name="Text Placeholder 5">
            <a:extLst>
              <a:ext uri="{FF2B5EF4-FFF2-40B4-BE49-F238E27FC236}">
                <a16:creationId xmlns:a16="http://schemas.microsoft.com/office/drawing/2014/main" id="{25A3565A-C592-4597-8606-88B88195191D}"/>
              </a:ext>
            </a:extLst>
          </p:cNvPr>
          <p:cNvSpPr>
            <a:spLocks noGrp="1"/>
          </p:cNvSpPr>
          <p:nvPr>
            <p:ph type="body" sz="quarter" idx="17" hasCustomPrompt="1"/>
          </p:nvPr>
        </p:nvSpPr>
        <p:spPr>
          <a:xfrm>
            <a:off x="8166767" y="3036771"/>
            <a:ext cx="1591576" cy="1055017"/>
          </a:xfrm>
        </p:spPr>
        <p:txBody>
          <a:bodyPr>
            <a:noAutofit/>
          </a:bodyPr>
          <a:lstStyle>
            <a:lvl1pPr marL="0" indent="0">
              <a:buNone/>
              <a:defRPr sz="7915">
                <a:solidFill>
                  <a:schemeClr val="tx2"/>
                </a:solidFill>
              </a:defRPr>
            </a:lvl1pPr>
            <a:lvl2pPr marL="753923" indent="0">
              <a:buNone/>
              <a:defRPr/>
            </a:lvl2pPr>
            <a:lvl3pPr marL="1507846" indent="0">
              <a:buNone/>
              <a:defRPr/>
            </a:lvl3pPr>
            <a:lvl4pPr marL="2261768" indent="0">
              <a:buNone/>
              <a:defRPr/>
            </a:lvl4pPr>
            <a:lvl5pPr marL="3015691" indent="0">
              <a:buNone/>
              <a:defRPr/>
            </a:lvl5pPr>
          </a:lstStyle>
          <a:p>
            <a:pPr lvl="0"/>
            <a:r>
              <a:rPr lang="en-GB" noProof="0"/>
              <a:t>Nº</a:t>
            </a:r>
          </a:p>
        </p:txBody>
      </p:sp>
      <p:sp>
        <p:nvSpPr>
          <p:cNvPr id="20" name="Text Placeholder 9">
            <a:extLst>
              <a:ext uri="{FF2B5EF4-FFF2-40B4-BE49-F238E27FC236}">
                <a16:creationId xmlns:a16="http://schemas.microsoft.com/office/drawing/2014/main" id="{E8ABFFFD-3581-4836-8C68-837FF6D9DD00}"/>
              </a:ext>
            </a:extLst>
          </p:cNvPr>
          <p:cNvSpPr>
            <a:spLocks noGrp="1"/>
          </p:cNvSpPr>
          <p:nvPr>
            <p:ph type="body" sz="quarter" idx="18" hasCustomPrompt="1"/>
          </p:nvPr>
        </p:nvSpPr>
        <p:spPr>
          <a:xfrm>
            <a:off x="8166766" y="4186033"/>
            <a:ext cx="3287858" cy="356200"/>
          </a:xfrm>
        </p:spPr>
        <p:txBody>
          <a:bodyPr>
            <a:normAutofit/>
          </a:bodyPr>
          <a:lstStyle>
            <a:lvl1pPr marL="0" indent="0" algn="l">
              <a:buNone/>
              <a:defRPr sz="1731" b="1"/>
            </a:lvl1pPr>
          </a:lstStyle>
          <a:p>
            <a:pPr lvl="0"/>
            <a:r>
              <a:rPr lang="en-GB" noProof="0"/>
              <a:t>TITLE</a:t>
            </a:r>
          </a:p>
        </p:txBody>
      </p:sp>
      <p:sp>
        <p:nvSpPr>
          <p:cNvPr id="21" name="Text Placeholder 9">
            <a:extLst>
              <a:ext uri="{FF2B5EF4-FFF2-40B4-BE49-F238E27FC236}">
                <a16:creationId xmlns:a16="http://schemas.microsoft.com/office/drawing/2014/main" id="{F1ECF6A5-EB6E-4BB8-871F-744ED5F47273}"/>
              </a:ext>
            </a:extLst>
          </p:cNvPr>
          <p:cNvSpPr>
            <a:spLocks noGrp="1"/>
          </p:cNvSpPr>
          <p:nvPr>
            <p:ph type="body" sz="quarter" idx="19" hasCustomPrompt="1"/>
          </p:nvPr>
        </p:nvSpPr>
        <p:spPr>
          <a:xfrm>
            <a:off x="8166766" y="4610123"/>
            <a:ext cx="3287858" cy="1602900"/>
          </a:xfrm>
        </p:spPr>
        <p:txBody>
          <a:bodyPr>
            <a:normAutofit/>
          </a:bodyPr>
          <a:lstStyle>
            <a:lvl1pPr marL="0" indent="0">
              <a:buNone/>
              <a:defRPr sz="1649" b="0"/>
            </a:lvl1pPr>
          </a:lstStyle>
          <a:p>
            <a:pPr lvl="0"/>
            <a:r>
              <a:rPr lang="en-GB" noProof="0"/>
              <a:t>Lorem</a:t>
            </a:r>
          </a:p>
        </p:txBody>
      </p:sp>
      <p:sp>
        <p:nvSpPr>
          <p:cNvPr id="22" name="Text Placeholder 5">
            <a:extLst>
              <a:ext uri="{FF2B5EF4-FFF2-40B4-BE49-F238E27FC236}">
                <a16:creationId xmlns:a16="http://schemas.microsoft.com/office/drawing/2014/main" id="{D14F4ACA-C450-4930-99A8-2FB7AB8A3E87}"/>
              </a:ext>
            </a:extLst>
          </p:cNvPr>
          <p:cNvSpPr>
            <a:spLocks noGrp="1"/>
          </p:cNvSpPr>
          <p:nvPr>
            <p:ph type="body" sz="quarter" idx="20" hasCustomPrompt="1"/>
          </p:nvPr>
        </p:nvSpPr>
        <p:spPr>
          <a:xfrm>
            <a:off x="11961416" y="3036771"/>
            <a:ext cx="1591576" cy="1055017"/>
          </a:xfrm>
        </p:spPr>
        <p:txBody>
          <a:bodyPr>
            <a:noAutofit/>
          </a:bodyPr>
          <a:lstStyle>
            <a:lvl1pPr marL="0" indent="0">
              <a:buNone/>
              <a:defRPr sz="7915">
                <a:solidFill>
                  <a:schemeClr val="tx2"/>
                </a:solidFill>
              </a:defRPr>
            </a:lvl1pPr>
            <a:lvl2pPr marL="753923" indent="0">
              <a:buNone/>
              <a:defRPr/>
            </a:lvl2pPr>
            <a:lvl3pPr marL="1507846" indent="0">
              <a:buNone/>
              <a:defRPr/>
            </a:lvl3pPr>
            <a:lvl4pPr marL="2261768" indent="0">
              <a:buNone/>
              <a:defRPr/>
            </a:lvl4pPr>
            <a:lvl5pPr marL="3015691" indent="0">
              <a:buNone/>
              <a:defRPr/>
            </a:lvl5pPr>
          </a:lstStyle>
          <a:p>
            <a:pPr lvl="0"/>
            <a:r>
              <a:rPr lang="en-GB" noProof="0"/>
              <a:t>Nº</a:t>
            </a:r>
          </a:p>
        </p:txBody>
      </p:sp>
      <p:sp>
        <p:nvSpPr>
          <p:cNvPr id="23" name="Text Placeholder 9">
            <a:extLst>
              <a:ext uri="{FF2B5EF4-FFF2-40B4-BE49-F238E27FC236}">
                <a16:creationId xmlns:a16="http://schemas.microsoft.com/office/drawing/2014/main" id="{452EFDD8-F731-4DE7-9CB9-F51D16D142E9}"/>
              </a:ext>
            </a:extLst>
          </p:cNvPr>
          <p:cNvSpPr>
            <a:spLocks noGrp="1"/>
          </p:cNvSpPr>
          <p:nvPr>
            <p:ph type="body" sz="quarter" idx="21" hasCustomPrompt="1"/>
          </p:nvPr>
        </p:nvSpPr>
        <p:spPr>
          <a:xfrm>
            <a:off x="11961415" y="4186033"/>
            <a:ext cx="3287858" cy="356200"/>
          </a:xfrm>
        </p:spPr>
        <p:txBody>
          <a:bodyPr>
            <a:normAutofit/>
          </a:bodyPr>
          <a:lstStyle>
            <a:lvl1pPr marL="0" indent="0" algn="l">
              <a:buNone/>
              <a:defRPr sz="1731" b="1"/>
            </a:lvl1pPr>
          </a:lstStyle>
          <a:p>
            <a:pPr lvl="0"/>
            <a:r>
              <a:rPr lang="en-GB" noProof="0"/>
              <a:t>TITLE</a:t>
            </a:r>
          </a:p>
        </p:txBody>
      </p:sp>
      <p:sp>
        <p:nvSpPr>
          <p:cNvPr id="24" name="Text Placeholder 9">
            <a:extLst>
              <a:ext uri="{FF2B5EF4-FFF2-40B4-BE49-F238E27FC236}">
                <a16:creationId xmlns:a16="http://schemas.microsoft.com/office/drawing/2014/main" id="{DC8EA6EF-76A1-4606-8285-B29DC6370529}"/>
              </a:ext>
            </a:extLst>
          </p:cNvPr>
          <p:cNvSpPr>
            <a:spLocks noGrp="1"/>
          </p:cNvSpPr>
          <p:nvPr>
            <p:ph type="body" sz="quarter" idx="22" hasCustomPrompt="1"/>
          </p:nvPr>
        </p:nvSpPr>
        <p:spPr>
          <a:xfrm>
            <a:off x="11961415" y="4610123"/>
            <a:ext cx="3287858" cy="1602900"/>
          </a:xfrm>
        </p:spPr>
        <p:txBody>
          <a:bodyPr>
            <a:normAutofit/>
          </a:bodyPr>
          <a:lstStyle>
            <a:lvl1pPr marL="0" indent="0">
              <a:buNone/>
              <a:defRPr sz="1649" b="0"/>
            </a:lvl1pPr>
          </a:lstStyle>
          <a:p>
            <a:pPr lvl="0"/>
            <a:r>
              <a:rPr lang="en-GB" noProof="0"/>
              <a:t>Lorem</a:t>
            </a:r>
          </a:p>
        </p:txBody>
      </p:sp>
      <p:sp>
        <p:nvSpPr>
          <p:cNvPr id="26" name="Text Placeholder 5">
            <a:extLst>
              <a:ext uri="{FF2B5EF4-FFF2-40B4-BE49-F238E27FC236}">
                <a16:creationId xmlns:a16="http://schemas.microsoft.com/office/drawing/2014/main" id="{4029AB7C-C9FD-4FF0-8840-1E9FEB163290}"/>
              </a:ext>
            </a:extLst>
          </p:cNvPr>
          <p:cNvSpPr>
            <a:spLocks noGrp="1"/>
          </p:cNvSpPr>
          <p:nvPr>
            <p:ph type="body" sz="quarter" idx="23" hasCustomPrompt="1"/>
          </p:nvPr>
        </p:nvSpPr>
        <p:spPr>
          <a:xfrm>
            <a:off x="15864438" y="3036771"/>
            <a:ext cx="1591576" cy="1055017"/>
          </a:xfrm>
        </p:spPr>
        <p:txBody>
          <a:bodyPr>
            <a:noAutofit/>
          </a:bodyPr>
          <a:lstStyle>
            <a:lvl1pPr marL="0" indent="0">
              <a:buNone/>
              <a:defRPr sz="7915">
                <a:solidFill>
                  <a:schemeClr val="tx2"/>
                </a:solidFill>
              </a:defRPr>
            </a:lvl1pPr>
            <a:lvl2pPr marL="753923" indent="0">
              <a:buNone/>
              <a:defRPr/>
            </a:lvl2pPr>
            <a:lvl3pPr marL="1507846" indent="0">
              <a:buNone/>
              <a:defRPr/>
            </a:lvl3pPr>
            <a:lvl4pPr marL="2261768" indent="0">
              <a:buNone/>
              <a:defRPr/>
            </a:lvl4pPr>
            <a:lvl5pPr marL="3015691" indent="0">
              <a:buNone/>
              <a:defRPr/>
            </a:lvl5pPr>
          </a:lstStyle>
          <a:p>
            <a:pPr lvl="0"/>
            <a:r>
              <a:rPr lang="en-GB" noProof="0"/>
              <a:t>Nº</a:t>
            </a:r>
          </a:p>
        </p:txBody>
      </p:sp>
      <p:sp>
        <p:nvSpPr>
          <p:cNvPr id="27" name="Text Placeholder 9">
            <a:extLst>
              <a:ext uri="{FF2B5EF4-FFF2-40B4-BE49-F238E27FC236}">
                <a16:creationId xmlns:a16="http://schemas.microsoft.com/office/drawing/2014/main" id="{2B7D9975-B0DF-400E-9270-5AE6A16D39B9}"/>
              </a:ext>
            </a:extLst>
          </p:cNvPr>
          <p:cNvSpPr>
            <a:spLocks noGrp="1"/>
          </p:cNvSpPr>
          <p:nvPr>
            <p:ph type="body" sz="quarter" idx="24" hasCustomPrompt="1"/>
          </p:nvPr>
        </p:nvSpPr>
        <p:spPr>
          <a:xfrm>
            <a:off x="15864437" y="4186033"/>
            <a:ext cx="3287858" cy="356200"/>
          </a:xfrm>
        </p:spPr>
        <p:txBody>
          <a:bodyPr>
            <a:normAutofit/>
          </a:bodyPr>
          <a:lstStyle>
            <a:lvl1pPr marL="0" indent="0" algn="l">
              <a:buNone/>
              <a:defRPr sz="1731" b="1"/>
            </a:lvl1pPr>
          </a:lstStyle>
          <a:p>
            <a:pPr lvl="0"/>
            <a:r>
              <a:rPr lang="en-GB" noProof="0"/>
              <a:t>TITLE</a:t>
            </a:r>
          </a:p>
        </p:txBody>
      </p:sp>
      <p:sp>
        <p:nvSpPr>
          <p:cNvPr id="28" name="Text Placeholder 9">
            <a:extLst>
              <a:ext uri="{FF2B5EF4-FFF2-40B4-BE49-F238E27FC236}">
                <a16:creationId xmlns:a16="http://schemas.microsoft.com/office/drawing/2014/main" id="{6044989C-0A51-44C3-8048-FBC92AD92945}"/>
              </a:ext>
            </a:extLst>
          </p:cNvPr>
          <p:cNvSpPr>
            <a:spLocks noGrp="1"/>
          </p:cNvSpPr>
          <p:nvPr>
            <p:ph type="body" sz="quarter" idx="25" hasCustomPrompt="1"/>
          </p:nvPr>
        </p:nvSpPr>
        <p:spPr>
          <a:xfrm>
            <a:off x="15864437" y="4610123"/>
            <a:ext cx="3287858" cy="1602900"/>
          </a:xfrm>
        </p:spPr>
        <p:txBody>
          <a:bodyPr>
            <a:normAutofit/>
          </a:bodyPr>
          <a:lstStyle>
            <a:lvl1pPr marL="0" indent="0">
              <a:buNone/>
              <a:defRPr sz="1649" b="0"/>
            </a:lvl1pPr>
          </a:lstStyle>
          <a:p>
            <a:pPr lvl="0"/>
            <a:r>
              <a:rPr lang="en-GB" noProof="0"/>
              <a:t>Lorem</a:t>
            </a:r>
          </a:p>
        </p:txBody>
      </p:sp>
      <p:sp>
        <p:nvSpPr>
          <p:cNvPr id="29" name="Text Placeholder 5">
            <a:extLst>
              <a:ext uri="{FF2B5EF4-FFF2-40B4-BE49-F238E27FC236}">
                <a16:creationId xmlns:a16="http://schemas.microsoft.com/office/drawing/2014/main" id="{EBEE3F2E-37F1-4BCA-9F54-FFD13786F096}"/>
              </a:ext>
            </a:extLst>
          </p:cNvPr>
          <p:cNvSpPr>
            <a:spLocks noGrp="1"/>
          </p:cNvSpPr>
          <p:nvPr>
            <p:ph type="body" sz="quarter" idx="26" hasCustomPrompt="1"/>
          </p:nvPr>
        </p:nvSpPr>
        <p:spPr>
          <a:xfrm>
            <a:off x="615165" y="6640560"/>
            <a:ext cx="1591576" cy="1055017"/>
          </a:xfrm>
        </p:spPr>
        <p:txBody>
          <a:bodyPr>
            <a:noAutofit/>
          </a:bodyPr>
          <a:lstStyle>
            <a:lvl1pPr marL="0" indent="0">
              <a:buNone/>
              <a:defRPr sz="7915">
                <a:solidFill>
                  <a:schemeClr val="tx2"/>
                </a:solidFill>
              </a:defRPr>
            </a:lvl1pPr>
            <a:lvl2pPr marL="753923" indent="0">
              <a:buNone/>
              <a:defRPr/>
            </a:lvl2pPr>
            <a:lvl3pPr marL="1507846" indent="0">
              <a:buNone/>
              <a:defRPr/>
            </a:lvl3pPr>
            <a:lvl4pPr marL="2261768" indent="0">
              <a:buNone/>
              <a:defRPr/>
            </a:lvl4pPr>
            <a:lvl5pPr marL="3015691" indent="0">
              <a:buNone/>
              <a:defRPr/>
            </a:lvl5pPr>
          </a:lstStyle>
          <a:p>
            <a:pPr lvl="0"/>
            <a:r>
              <a:rPr lang="en-GB" noProof="0"/>
              <a:t>Nº</a:t>
            </a:r>
          </a:p>
        </p:txBody>
      </p:sp>
      <p:sp>
        <p:nvSpPr>
          <p:cNvPr id="30" name="Text Placeholder 9">
            <a:extLst>
              <a:ext uri="{FF2B5EF4-FFF2-40B4-BE49-F238E27FC236}">
                <a16:creationId xmlns:a16="http://schemas.microsoft.com/office/drawing/2014/main" id="{81DEBFA4-5978-4578-8F0C-7C39ED73E2A1}"/>
              </a:ext>
            </a:extLst>
          </p:cNvPr>
          <p:cNvSpPr>
            <a:spLocks noGrp="1"/>
          </p:cNvSpPr>
          <p:nvPr>
            <p:ph type="body" sz="quarter" idx="27" hasCustomPrompt="1"/>
          </p:nvPr>
        </p:nvSpPr>
        <p:spPr>
          <a:xfrm>
            <a:off x="615164" y="7789822"/>
            <a:ext cx="3287858" cy="356200"/>
          </a:xfrm>
        </p:spPr>
        <p:txBody>
          <a:bodyPr>
            <a:normAutofit/>
          </a:bodyPr>
          <a:lstStyle>
            <a:lvl1pPr marL="0" indent="0" algn="l">
              <a:buNone/>
              <a:defRPr sz="1731" b="1"/>
            </a:lvl1pPr>
          </a:lstStyle>
          <a:p>
            <a:pPr lvl="0"/>
            <a:r>
              <a:rPr lang="en-GB" noProof="0"/>
              <a:t>TITLE</a:t>
            </a:r>
          </a:p>
        </p:txBody>
      </p:sp>
      <p:sp>
        <p:nvSpPr>
          <p:cNvPr id="31" name="Text Placeholder 9">
            <a:extLst>
              <a:ext uri="{FF2B5EF4-FFF2-40B4-BE49-F238E27FC236}">
                <a16:creationId xmlns:a16="http://schemas.microsoft.com/office/drawing/2014/main" id="{3281B3E2-E048-4F9F-96F2-EB4AC60190AA}"/>
              </a:ext>
            </a:extLst>
          </p:cNvPr>
          <p:cNvSpPr>
            <a:spLocks noGrp="1"/>
          </p:cNvSpPr>
          <p:nvPr>
            <p:ph type="body" sz="quarter" idx="28" hasCustomPrompt="1"/>
          </p:nvPr>
        </p:nvSpPr>
        <p:spPr>
          <a:xfrm>
            <a:off x="615164" y="8213913"/>
            <a:ext cx="3287858" cy="1602900"/>
          </a:xfrm>
        </p:spPr>
        <p:txBody>
          <a:bodyPr>
            <a:normAutofit/>
          </a:bodyPr>
          <a:lstStyle>
            <a:lvl1pPr marL="0" indent="0">
              <a:buNone/>
              <a:defRPr sz="1649" b="0"/>
            </a:lvl1pPr>
          </a:lstStyle>
          <a:p>
            <a:pPr lvl="0"/>
            <a:r>
              <a:rPr lang="en-GB" noProof="0"/>
              <a:t>Lorem</a:t>
            </a:r>
          </a:p>
        </p:txBody>
      </p:sp>
      <p:sp>
        <p:nvSpPr>
          <p:cNvPr id="32" name="Text Placeholder 5">
            <a:extLst>
              <a:ext uri="{FF2B5EF4-FFF2-40B4-BE49-F238E27FC236}">
                <a16:creationId xmlns:a16="http://schemas.microsoft.com/office/drawing/2014/main" id="{E89F656C-88AB-46B0-92BA-1E0F98BA0B30}"/>
              </a:ext>
            </a:extLst>
          </p:cNvPr>
          <p:cNvSpPr>
            <a:spLocks noGrp="1"/>
          </p:cNvSpPr>
          <p:nvPr>
            <p:ph type="body" sz="quarter" idx="29" hasCustomPrompt="1"/>
          </p:nvPr>
        </p:nvSpPr>
        <p:spPr>
          <a:xfrm>
            <a:off x="4409814" y="6640560"/>
            <a:ext cx="1591576" cy="1055017"/>
          </a:xfrm>
        </p:spPr>
        <p:txBody>
          <a:bodyPr>
            <a:noAutofit/>
          </a:bodyPr>
          <a:lstStyle>
            <a:lvl1pPr marL="0" indent="0">
              <a:buNone/>
              <a:defRPr sz="7915">
                <a:solidFill>
                  <a:schemeClr val="tx2"/>
                </a:solidFill>
              </a:defRPr>
            </a:lvl1pPr>
            <a:lvl2pPr marL="753923" indent="0">
              <a:buNone/>
              <a:defRPr/>
            </a:lvl2pPr>
            <a:lvl3pPr marL="1507846" indent="0">
              <a:buNone/>
              <a:defRPr/>
            </a:lvl3pPr>
            <a:lvl4pPr marL="2261768" indent="0">
              <a:buNone/>
              <a:defRPr/>
            </a:lvl4pPr>
            <a:lvl5pPr marL="3015691" indent="0">
              <a:buNone/>
              <a:defRPr/>
            </a:lvl5pPr>
          </a:lstStyle>
          <a:p>
            <a:pPr lvl="0"/>
            <a:r>
              <a:rPr lang="en-GB" noProof="0"/>
              <a:t>Nº</a:t>
            </a:r>
          </a:p>
        </p:txBody>
      </p:sp>
      <p:sp>
        <p:nvSpPr>
          <p:cNvPr id="33" name="Text Placeholder 9">
            <a:extLst>
              <a:ext uri="{FF2B5EF4-FFF2-40B4-BE49-F238E27FC236}">
                <a16:creationId xmlns:a16="http://schemas.microsoft.com/office/drawing/2014/main" id="{BEC4AD53-A8EE-4A8B-A8A9-AF7C00B8DF7C}"/>
              </a:ext>
            </a:extLst>
          </p:cNvPr>
          <p:cNvSpPr>
            <a:spLocks noGrp="1"/>
          </p:cNvSpPr>
          <p:nvPr>
            <p:ph type="body" sz="quarter" idx="30" hasCustomPrompt="1"/>
          </p:nvPr>
        </p:nvSpPr>
        <p:spPr>
          <a:xfrm>
            <a:off x="4409813" y="7789822"/>
            <a:ext cx="3287858" cy="356200"/>
          </a:xfrm>
        </p:spPr>
        <p:txBody>
          <a:bodyPr>
            <a:normAutofit/>
          </a:bodyPr>
          <a:lstStyle>
            <a:lvl1pPr marL="0" indent="0" algn="l">
              <a:buNone/>
              <a:defRPr sz="1731" b="1"/>
            </a:lvl1pPr>
          </a:lstStyle>
          <a:p>
            <a:pPr lvl="0"/>
            <a:r>
              <a:rPr lang="en-GB" noProof="0"/>
              <a:t>TITLE</a:t>
            </a:r>
          </a:p>
        </p:txBody>
      </p:sp>
      <p:sp>
        <p:nvSpPr>
          <p:cNvPr id="34" name="Text Placeholder 9">
            <a:extLst>
              <a:ext uri="{FF2B5EF4-FFF2-40B4-BE49-F238E27FC236}">
                <a16:creationId xmlns:a16="http://schemas.microsoft.com/office/drawing/2014/main" id="{5A282DFE-7C74-46C9-8D2C-83D7184D6220}"/>
              </a:ext>
            </a:extLst>
          </p:cNvPr>
          <p:cNvSpPr>
            <a:spLocks noGrp="1"/>
          </p:cNvSpPr>
          <p:nvPr>
            <p:ph type="body" sz="quarter" idx="31" hasCustomPrompt="1"/>
          </p:nvPr>
        </p:nvSpPr>
        <p:spPr>
          <a:xfrm>
            <a:off x="4409813" y="8213913"/>
            <a:ext cx="3287858" cy="1602900"/>
          </a:xfrm>
        </p:spPr>
        <p:txBody>
          <a:bodyPr>
            <a:normAutofit/>
          </a:bodyPr>
          <a:lstStyle>
            <a:lvl1pPr marL="0" indent="0">
              <a:buNone/>
              <a:defRPr sz="1649" b="0"/>
            </a:lvl1pPr>
          </a:lstStyle>
          <a:p>
            <a:pPr lvl="0"/>
            <a:r>
              <a:rPr lang="en-GB" noProof="0"/>
              <a:t>Lorem</a:t>
            </a:r>
          </a:p>
        </p:txBody>
      </p:sp>
      <p:sp>
        <p:nvSpPr>
          <p:cNvPr id="35" name="Text Placeholder 5">
            <a:extLst>
              <a:ext uri="{FF2B5EF4-FFF2-40B4-BE49-F238E27FC236}">
                <a16:creationId xmlns:a16="http://schemas.microsoft.com/office/drawing/2014/main" id="{E02076EF-85B9-4278-AB82-23384D605D48}"/>
              </a:ext>
            </a:extLst>
          </p:cNvPr>
          <p:cNvSpPr>
            <a:spLocks noGrp="1"/>
          </p:cNvSpPr>
          <p:nvPr>
            <p:ph type="body" sz="quarter" idx="32" hasCustomPrompt="1"/>
          </p:nvPr>
        </p:nvSpPr>
        <p:spPr>
          <a:xfrm>
            <a:off x="8166767" y="6640560"/>
            <a:ext cx="1591576" cy="1055017"/>
          </a:xfrm>
        </p:spPr>
        <p:txBody>
          <a:bodyPr>
            <a:noAutofit/>
          </a:bodyPr>
          <a:lstStyle>
            <a:lvl1pPr marL="0" indent="0">
              <a:buNone/>
              <a:defRPr sz="7915">
                <a:solidFill>
                  <a:schemeClr val="tx2"/>
                </a:solidFill>
              </a:defRPr>
            </a:lvl1pPr>
            <a:lvl2pPr marL="753923" indent="0">
              <a:buNone/>
              <a:defRPr/>
            </a:lvl2pPr>
            <a:lvl3pPr marL="1507846" indent="0">
              <a:buNone/>
              <a:defRPr/>
            </a:lvl3pPr>
            <a:lvl4pPr marL="2261768" indent="0">
              <a:buNone/>
              <a:defRPr/>
            </a:lvl4pPr>
            <a:lvl5pPr marL="3015691" indent="0">
              <a:buNone/>
              <a:defRPr/>
            </a:lvl5pPr>
          </a:lstStyle>
          <a:p>
            <a:pPr lvl="0"/>
            <a:r>
              <a:rPr lang="en-GB" noProof="0"/>
              <a:t>Nº</a:t>
            </a:r>
          </a:p>
        </p:txBody>
      </p:sp>
      <p:sp>
        <p:nvSpPr>
          <p:cNvPr id="36" name="Text Placeholder 9">
            <a:extLst>
              <a:ext uri="{FF2B5EF4-FFF2-40B4-BE49-F238E27FC236}">
                <a16:creationId xmlns:a16="http://schemas.microsoft.com/office/drawing/2014/main" id="{E4437FC0-3723-4401-BC4E-7D0A28F732AF}"/>
              </a:ext>
            </a:extLst>
          </p:cNvPr>
          <p:cNvSpPr>
            <a:spLocks noGrp="1"/>
          </p:cNvSpPr>
          <p:nvPr>
            <p:ph type="body" sz="quarter" idx="33" hasCustomPrompt="1"/>
          </p:nvPr>
        </p:nvSpPr>
        <p:spPr>
          <a:xfrm>
            <a:off x="8166766" y="7789822"/>
            <a:ext cx="3287858" cy="356200"/>
          </a:xfrm>
        </p:spPr>
        <p:txBody>
          <a:bodyPr>
            <a:normAutofit/>
          </a:bodyPr>
          <a:lstStyle>
            <a:lvl1pPr marL="0" indent="0" algn="l">
              <a:buNone/>
              <a:defRPr sz="1731" b="1"/>
            </a:lvl1pPr>
          </a:lstStyle>
          <a:p>
            <a:pPr lvl="0"/>
            <a:r>
              <a:rPr lang="en-GB" noProof="0"/>
              <a:t>TITLE</a:t>
            </a:r>
          </a:p>
        </p:txBody>
      </p:sp>
      <p:sp>
        <p:nvSpPr>
          <p:cNvPr id="37" name="Text Placeholder 9">
            <a:extLst>
              <a:ext uri="{FF2B5EF4-FFF2-40B4-BE49-F238E27FC236}">
                <a16:creationId xmlns:a16="http://schemas.microsoft.com/office/drawing/2014/main" id="{8883DC26-E441-464E-B954-44D6FF0981BA}"/>
              </a:ext>
            </a:extLst>
          </p:cNvPr>
          <p:cNvSpPr>
            <a:spLocks noGrp="1"/>
          </p:cNvSpPr>
          <p:nvPr>
            <p:ph type="body" sz="quarter" idx="34" hasCustomPrompt="1"/>
          </p:nvPr>
        </p:nvSpPr>
        <p:spPr>
          <a:xfrm>
            <a:off x="8166766" y="8213913"/>
            <a:ext cx="3287858" cy="1602900"/>
          </a:xfrm>
        </p:spPr>
        <p:txBody>
          <a:bodyPr>
            <a:normAutofit/>
          </a:bodyPr>
          <a:lstStyle>
            <a:lvl1pPr marL="0" indent="0">
              <a:buNone/>
              <a:defRPr sz="1649" b="0"/>
            </a:lvl1pPr>
          </a:lstStyle>
          <a:p>
            <a:pPr lvl="0"/>
            <a:r>
              <a:rPr lang="en-GB" noProof="0"/>
              <a:t>Lorem</a:t>
            </a:r>
          </a:p>
        </p:txBody>
      </p:sp>
      <p:sp>
        <p:nvSpPr>
          <p:cNvPr id="38" name="Text Placeholder 5">
            <a:extLst>
              <a:ext uri="{FF2B5EF4-FFF2-40B4-BE49-F238E27FC236}">
                <a16:creationId xmlns:a16="http://schemas.microsoft.com/office/drawing/2014/main" id="{968A70C8-EE78-46BE-9F38-09E41463BB9F}"/>
              </a:ext>
            </a:extLst>
          </p:cNvPr>
          <p:cNvSpPr>
            <a:spLocks noGrp="1"/>
          </p:cNvSpPr>
          <p:nvPr>
            <p:ph type="body" sz="quarter" idx="35" hasCustomPrompt="1"/>
          </p:nvPr>
        </p:nvSpPr>
        <p:spPr>
          <a:xfrm>
            <a:off x="11961416" y="6640560"/>
            <a:ext cx="1591576" cy="1055017"/>
          </a:xfrm>
        </p:spPr>
        <p:txBody>
          <a:bodyPr>
            <a:noAutofit/>
          </a:bodyPr>
          <a:lstStyle>
            <a:lvl1pPr marL="0" indent="0">
              <a:buNone/>
              <a:defRPr sz="7915">
                <a:solidFill>
                  <a:schemeClr val="tx2"/>
                </a:solidFill>
              </a:defRPr>
            </a:lvl1pPr>
            <a:lvl2pPr marL="753923" indent="0">
              <a:buNone/>
              <a:defRPr/>
            </a:lvl2pPr>
            <a:lvl3pPr marL="1507846" indent="0">
              <a:buNone/>
              <a:defRPr/>
            </a:lvl3pPr>
            <a:lvl4pPr marL="2261768" indent="0">
              <a:buNone/>
              <a:defRPr/>
            </a:lvl4pPr>
            <a:lvl5pPr marL="3015691" indent="0">
              <a:buNone/>
              <a:defRPr/>
            </a:lvl5pPr>
          </a:lstStyle>
          <a:p>
            <a:pPr lvl="0"/>
            <a:r>
              <a:rPr lang="en-GB" noProof="0"/>
              <a:t>Nº</a:t>
            </a:r>
          </a:p>
        </p:txBody>
      </p:sp>
      <p:sp>
        <p:nvSpPr>
          <p:cNvPr id="39" name="Text Placeholder 9">
            <a:extLst>
              <a:ext uri="{FF2B5EF4-FFF2-40B4-BE49-F238E27FC236}">
                <a16:creationId xmlns:a16="http://schemas.microsoft.com/office/drawing/2014/main" id="{DCFA9B7E-C954-4371-A0B4-6839A16D66D3}"/>
              </a:ext>
            </a:extLst>
          </p:cNvPr>
          <p:cNvSpPr>
            <a:spLocks noGrp="1"/>
          </p:cNvSpPr>
          <p:nvPr>
            <p:ph type="body" sz="quarter" idx="36" hasCustomPrompt="1"/>
          </p:nvPr>
        </p:nvSpPr>
        <p:spPr>
          <a:xfrm>
            <a:off x="11961415" y="7789822"/>
            <a:ext cx="3287858" cy="356200"/>
          </a:xfrm>
        </p:spPr>
        <p:txBody>
          <a:bodyPr>
            <a:normAutofit/>
          </a:bodyPr>
          <a:lstStyle>
            <a:lvl1pPr marL="0" indent="0" algn="l">
              <a:buNone/>
              <a:defRPr sz="1731" b="1"/>
            </a:lvl1pPr>
          </a:lstStyle>
          <a:p>
            <a:pPr lvl="0"/>
            <a:r>
              <a:rPr lang="en-GB" noProof="0"/>
              <a:t>TITLE</a:t>
            </a:r>
          </a:p>
        </p:txBody>
      </p:sp>
      <p:sp>
        <p:nvSpPr>
          <p:cNvPr id="40" name="Text Placeholder 9">
            <a:extLst>
              <a:ext uri="{FF2B5EF4-FFF2-40B4-BE49-F238E27FC236}">
                <a16:creationId xmlns:a16="http://schemas.microsoft.com/office/drawing/2014/main" id="{6D71BA04-AABC-45E5-9656-45E0BB19D42F}"/>
              </a:ext>
            </a:extLst>
          </p:cNvPr>
          <p:cNvSpPr>
            <a:spLocks noGrp="1"/>
          </p:cNvSpPr>
          <p:nvPr>
            <p:ph type="body" sz="quarter" idx="37" hasCustomPrompt="1"/>
          </p:nvPr>
        </p:nvSpPr>
        <p:spPr>
          <a:xfrm>
            <a:off x="11961415" y="8213913"/>
            <a:ext cx="3287858" cy="1602900"/>
          </a:xfrm>
        </p:spPr>
        <p:txBody>
          <a:bodyPr>
            <a:normAutofit/>
          </a:bodyPr>
          <a:lstStyle>
            <a:lvl1pPr marL="0" indent="0">
              <a:buNone/>
              <a:defRPr sz="1649" b="0"/>
            </a:lvl1pPr>
          </a:lstStyle>
          <a:p>
            <a:pPr lvl="0"/>
            <a:r>
              <a:rPr lang="en-GB" noProof="0"/>
              <a:t>Lorem</a:t>
            </a:r>
          </a:p>
        </p:txBody>
      </p:sp>
      <p:sp>
        <p:nvSpPr>
          <p:cNvPr id="41" name="Text Placeholder 5">
            <a:extLst>
              <a:ext uri="{FF2B5EF4-FFF2-40B4-BE49-F238E27FC236}">
                <a16:creationId xmlns:a16="http://schemas.microsoft.com/office/drawing/2014/main" id="{2A0135A2-338E-4337-8F7D-C89BCB301081}"/>
              </a:ext>
            </a:extLst>
          </p:cNvPr>
          <p:cNvSpPr>
            <a:spLocks noGrp="1"/>
          </p:cNvSpPr>
          <p:nvPr>
            <p:ph type="body" sz="quarter" idx="38" hasCustomPrompt="1"/>
          </p:nvPr>
        </p:nvSpPr>
        <p:spPr>
          <a:xfrm>
            <a:off x="15864438" y="6640560"/>
            <a:ext cx="1591576" cy="1055017"/>
          </a:xfrm>
        </p:spPr>
        <p:txBody>
          <a:bodyPr>
            <a:noAutofit/>
          </a:bodyPr>
          <a:lstStyle>
            <a:lvl1pPr marL="0" indent="0">
              <a:buNone/>
              <a:defRPr sz="7915">
                <a:solidFill>
                  <a:schemeClr val="tx2"/>
                </a:solidFill>
              </a:defRPr>
            </a:lvl1pPr>
            <a:lvl2pPr marL="753923" indent="0">
              <a:buNone/>
              <a:defRPr/>
            </a:lvl2pPr>
            <a:lvl3pPr marL="1507846" indent="0">
              <a:buNone/>
              <a:defRPr/>
            </a:lvl3pPr>
            <a:lvl4pPr marL="2261768" indent="0">
              <a:buNone/>
              <a:defRPr/>
            </a:lvl4pPr>
            <a:lvl5pPr marL="3015691" indent="0">
              <a:buNone/>
              <a:defRPr/>
            </a:lvl5pPr>
          </a:lstStyle>
          <a:p>
            <a:pPr lvl="0"/>
            <a:r>
              <a:rPr lang="en-GB" noProof="0"/>
              <a:t>Nº</a:t>
            </a:r>
          </a:p>
        </p:txBody>
      </p:sp>
      <p:sp>
        <p:nvSpPr>
          <p:cNvPr id="42" name="Text Placeholder 9">
            <a:extLst>
              <a:ext uri="{FF2B5EF4-FFF2-40B4-BE49-F238E27FC236}">
                <a16:creationId xmlns:a16="http://schemas.microsoft.com/office/drawing/2014/main" id="{B47283B0-869D-4FF5-8A79-618919C330BE}"/>
              </a:ext>
            </a:extLst>
          </p:cNvPr>
          <p:cNvSpPr>
            <a:spLocks noGrp="1"/>
          </p:cNvSpPr>
          <p:nvPr>
            <p:ph type="body" sz="quarter" idx="39" hasCustomPrompt="1"/>
          </p:nvPr>
        </p:nvSpPr>
        <p:spPr>
          <a:xfrm>
            <a:off x="15864437" y="7789822"/>
            <a:ext cx="3287858" cy="356200"/>
          </a:xfrm>
        </p:spPr>
        <p:txBody>
          <a:bodyPr>
            <a:normAutofit/>
          </a:bodyPr>
          <a:lstStyle>
            <a:lvl1pPr marL="0" indent="0" algn="l">
              <a:buNone/>
              <a:defRPr sz="1731" b="1"/>
            </a:lvl1pPr>
          </a:lstStyle>
          <a:p>
            <a:pPr lvl="0"/>
            <a:r>
              <a:rPr lang="en-GB" noProof="0"/>
              <a:t>TITLE</a:t>
            </a:r>
          </a:p>
        </p:txBody>
      </p:sp>
      <p:sp>
        <p:nvSpPr>
          <p:cNvPr id="43" name="Text Placeholder 9">
            <a:extLst>
              <a:ext uri="{FF2B5EF4-FFF2-40B4-BE49-F238E27FC236}">
                <a16:creationId xmlns:a16="http://schemas.microsoft.com/office/drawing/2014/main" id="{E7254A4F-5904-4BFE-B81D-AE8C682CE01E}"/>
              </a:ext>
            </a:extLst>
          </p:cNvPr>
          <p:cNvSpPr>
            <a:spLocks noGrp="1"/>
          </p:cNvSpPr>
          <p:nvPr>
            <p:ph type="body" sz="quarter" idx="40" hasCustomPrompt="1"/>
          </p:nvPr>
        </p:nvSpPr>
        <p:spPr>
          <a:xfrm>
            <a:off x="15864437" y="8213913"/>
            <a:ext cx="3287858" cy="1602900"/>
          </a:xfrm>
        </p:spPr>
        <p:txBody>
          <a:bodyPr>
            <a:normAutofit/>
          </a:bodyPr>
          <a:lstStyle>
            <a:lvl1pPr marL="0" indent="0">
              <a:buNone/>
              <a:defRPr sz="1649" b="0"/>
            </a:lvl1pPr>
          </a:lstStyle>
          <a:p>
            <a:pPr lvl="0"/>
            <a:r>
              <a:rPr lang="en-GB" noProof="0"/>
              <a:t>Lorem</a:t>
            </a:r>
          </a:p>
        </p:txBody>
      </p:sp>
      <p:sp>
        <p:nvSpPr>
          <p:cNvPr id="11" name="Title 10">
            <a:extLst>
              <a:ext uri="{FF2B5EF4-FFF2-40B4-BE49-F238E27FC236}">
                <a16:creationId xmlns:a16="http://schemas.microsoft.com/office/drawing/2014/main" id="{B384F1BB-96E7-4D3C-AEA6-2038C6C940A2}"/>
              </a:ext>
            </a:extLst>
          </p:cNvPr>
          <p:cNvSpPr>
            <a:spLocks noGrp="1"/>
          </p:cNvSpPr>
          <p:nvPr>
            <p:ph type="title" hasCustomPrompt="1"/>
          </p:nvPr>
        </p:nvSpPr>
        <p:spPr>
          <a:xfrm>
            <a:off x="615163" y="396486"/>
            <a:ext cx="8682983" cy="2546037"/>
          </a:xfrm>
        </p:spPr>
        <p:txBody>
          <a:bodyPr anchor="t">
            <a:normAutofit/>
          </a:bodyPr>
          <a:lstStyle>
            <a:lvl1pPr>
              <a:lnSpc>
                <a:spcPts val="9234"/>
              </a:lnSpc>
              <a:defRPr sz="9564">
                <a:solidFill>
                  <a:schemeClr val="tx2"/>
                </a:solidFill>
              </a:defRPr>
            </a:lvl1pPr>
          </a:lstStyle>
          <a:p>
            <a:r>
              <a:rPr lang="en-GB" noProof="0"/>
              <a:t>Title</a:t>
            </a:r>
          </a:p>
        </p:txBody>
      </p:sp>
    </p:spTree>
    <p:extLst>
      <p:ext uri="{BB962C8B-B14F-4D97-AF65-F5344CB8AC3E}">
        <p14:creationId xmlns:p14="http://schemas.microsoft.com/office/powerpoint/2010/main" val="2388445000"/>
      </p:ext>
    </p:extLst>
  </p:cSld>
  <p:clrMapOvr>
    <a:overrideClrMapping bg1="lt1" tx1="dk1" bg2="lt2" tx2="dk2" accent1="accent1" accent2="accent2" accent3="accent3" accent4="accent4" accent5="accent5" accent6="accent6" hlink="hlink" folHlink="folHlink"/>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Contents-tilte white - 58px">
    <p:bg>
      <p:bgRef idx="1001">
        <a:schemeClr val="bg1"/>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C677C15-D783-4350-B9E7-52E834A09207}"/>
              </a:ext>
            </a:extLst>
          </p:cNvPr>
          <p:cNvSpPr>
            <a:spLocks noGrp="1"/>
          </p:cNvSpPr>
          <p:nvPr>
            <p:ph type="pic" sz="quarter" idx="11"/>
          </p:nvPr>
        </p:nvSpPr>
        <p:spPr>
          <a:xfrm>
            <a:off x="0" y="0"/>
            <a:ext cx="20104100" cy="11309350"/>
          </a:xfrm>
        </p:spPr>
        <p:txBody>
          <a:bodyPr/>
          <a:lstStyle/>
          <a:p>
            <a:endParaRPr lang="en-GB"/>
          </a:p>
        </p:txBody>
      </p:sp>
      <p:sp>
        <p:nvSpPr>
          <p:cNvPr id="14" name="Marcador de texto 19">
            <a:extLst>
              <a:ext uri="{FF2B5EF4-FFF2-40B4-BE49-F238E27FC236}">
                <a16:creationId xmlns:a16="http://schemas.microsoft.com/office/drawing/2014/main" id="{F0A5F956-78D9-483E-8513-18F922BFD069}"/>
              </a:ext>
            </a:extLst>
          </p:cNvPr>
          <p:cNvSpPr>
            <a:spLocks noGrp="1"/>
          </p:cNvSpPr>
          <p:nvPr>
            <p:ph type="body" sz="quarter" idx="10" hasCustomPrompt="1"/>
          </p:nvPr>
        </p:nvSpPr>
        <p:spPr>
          <a:xfrm>
            <a:off x="17185412" y="389504"/>
            <a:ext cx="2985439" cy="250572"/>
          </a:xfrm>
          <a:noFill/>
        </p:spPr>
        <p:txBody>
          <a:bodyPr wrap="square" lIns="0" tIns="0" rIns="0" bIns="0" rtlCol="0" anchor="ctr">
            <a:noAutofit/>
          </a:bodyPr>
          <a:lstStyle>
            <a:lvl1pPr marL="0" indent="0">
              <a:buNone/>
              <a:defRPr lang="es-ES" sz="1319" b="0" smtClean="0">
                <a:solidFill>
                  <a:schemeClr val="bg1"/>
                </a:solidFill>
              </a:defRPr>
            </a:lvl1pPr>
            <a:lvl2pPr marL="376961" indent="0">
              <a:buNone/>
              <a:defRPr lang="es-ES" sz="2968" smtClean="0"/>
            </a:lvl2pPr>
            <a:lvl3pPr marL="1130884" indent="0">
              <a:buNone/>
              <a:defRPr lang="es-ES" sz="2968" smtClean="0"/>
            </a:lvl3pPr>
            <a:lvl4pPr marL="1790567" indent="0">
              <a:buFont typeface="Arial" panose="020B0604020202020204" pitchFamily="34" charset="0"/>
              <a:buNone/>
              <a:defRPr lang="es-ES" smtClean="0"/>
            </a:lvl4pPr>
            <a:lvl5pPr marL="2638730" indent="0">
              <a:buNone/>
              <a:defRPr lang="es-ES"/>
            </a:lvl5pPr>
          </a:lstStyle>
          <a:p>
            <a:pPr marL="0" lvl="0"/>
            <a:r>
              <a:rPr lang="es-ES" noProof="0" dirty="0"/>
              <a:t>D</a:t>
            </a:r>
            <a:r>
              <a:rPr lang="en-GB" noProof="0" dirty="0" err="1"/>
              <a:t>ocument</a:t>
            </a:r>
            <a:r>
              <a:rPr lang="en-GB" noProof="0" dirty="0"/>
              <a:t> Title</a:t>
            </a:r>
          </a:p>
        </p:txBody>
      </p:sp>
      <p:sp>
        <p:nvSpPr>
          <p:cNvPr id="11" name="Title 10">
            <a:extLst>
              <a:ext uri="{FF2B5EF4-FFF2-40B4-BE49-F238E27FC236}">
                <a16:creationId xmlns:a16="http://schemas.microsoft.com/office/drawing/2014/main" id="{B384F1BB-96E7-4D3C-AEA6-2038C6C940A2}"/>
              </a:ext>
            </a:extLst>
          </p:cNvPr>
          <p:cNvSpPr>
            <a:spLocks noGrp="1"/>
          </p:cNvSpPr>
          <p:nvPr>
            <p:ph type="title" hasCustomPrompt="1"/>
          </p:nvPr>
        </p:nvSpPr>
        <p:spPr>
          <a:xfrm>
            <a:off x="615163" y="396486"/>
            <a:ext cx="8682983" cy="2546037"/>
          </a:xfrm>
        </p:spPr>
        <p:txBody>
          <a:bodyPr anchor="t">
            <a:normAutofit/>
          </a:bodyPr>
          <a:lstStyle>
            <a:lvl1pPr>
              <a:lnSpc>
                <a:spcPts val="9234"/>
              </a:lnSpc>
              <a:defRPr sz="9564">
                <a:solidFill>
                  <a:schemeClr val="bg1"/>
                </a:solidFill>
              </a:defRPr>
            </a:lvl1pPr>
          </a:lstStyle>
          <a:p>
            <a:r>
              <a:rPr lang="en-GB" noProof="0"/>
              <a:t>Title</a:t>
            </a:r>
          </a:p>
        </p:txBody>
      </p:sp>
    </p:spTree>
    <p:extLst>
      <p:ext uri="{BB962C8B-B14F-4D97-AF65-F5344CB8AC3E}">
        <p14:creationId xmlns:p14="http://schemas.microsoft.com/office/powerpoint/2010/main" val="1517384005"/>
      </p:ext>
    </p:extLst>
  </p:cSld>
  <p:clrMapOvr>
    <a:overrideClrMapping bg1="lt1" tx1="dk1" bg2="lt2" tx2="dk2" accent1="accent1" accent2="accent2" accent3="accent3" accent4="accent4" accent5="accent5" accent6="accent6" hlink="hlink" folHlink="folHlink"/>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Picture bottom">
    <p:bg>
      <p:bgRef idx="1001">
        <a:schemeClr val="bg1"/>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C677C15-D783-4350-B9E7-52E834A09207}"/>
              </a:ext>
            </a:extLst>
          </p:cNvPr>
          <p:cNvSpPr>
            <a:spLocks noGrp="1"/>
          </p:cNvSpPr>
          <p:nvPr>
            <p:ph type="pic" sz="quarter" idx="11"/>
          </p:nvPr>
        </p:nvSpPr>
        <p:spPr>
          <a:xfrm>
            <a:off x="0" y="5089207"/>
            <a:ext cx="20104100" cy="6220143"/>
          </a:xfrm>
        </p:spPr>
        <p:txBody>
          <a:bodyPr/>
          <a:lstStyle/>
          <a:p>
            <a:endParaRPr lang="en-GB"/>
          </a:p>
        </p:txBody>
      </p:sp>
      <p:sp>
        <p:nvSpPr>
          <p:cNvPr id="11" name="Title 10">
            <a:extLst>
              <a:ext uri="{FF2B5EF4-FFF2-40B4-BE49-F238E27FC236}">
                <a16:creationId xmlns:a16="http://schemas.microsoft.com/office/drawing/2014/main" id="{B384F1BB-96E7-4D3C-AEA6-2038C6C940A2}"/>
              </a:ext>
            </a:extLst>
          </p:cNvPr>
          <p:cNvSpPr>
            <a:spLocks noGrp="1"/>
          </p:cNvSpPr>
          <p:nvPr>
            <p:ph type="title" hasCustomPrompt="1"/>
          </p:nvPr>
        </p:nvSpPr>
        <p:spPr>
          <a:xfrm>
            <a:off x="615163" y="396486"/>
            <a:ext cx="8682983" cy="2546037"/>
          </a:xfrm>
        </p:spPr>
        <p:txBody>
          <a:bodyPr anchor="t">
            <a:normAutofit/>
          </a:bodyPr>
          <a:lstStyle>
            <a:lvl1pPr>
              <a:lnSpc>
                <a:spcPts val="8905"/>
              </a:lnSpc>
              <a:defRPr sz="9564">
                <a:solidFill>
                  <a:schemeClr val="tx2"/>
                </a:solidFill>
              </a:defRPr>
            </a:lvl1pPr>
          </a:lstStyle>
          <a:p>
            <a:r>
              <a:rPr lang="en-GB" noProof="0"/>
              <a:t>Title</a:t>
            </a:r>
          </a:p>
        </p:txBody>
      </p:sp>
    </p:spTree>
    <p:extLst>
      <p:ext uri="{BB962C8B-B14F-4D97-AF65-F5344CB8AC3E}">
        <p14:creationId xmlns:p14="http://schemas.microsoft.com/office/powerpoint/2010/main" val="2667900985"/>
      </p:ext>
    </p:extLst>
  </p:cSld>
  <p:clrMapOvr>
    <a:overrideClrMapping bg1="lt1" tx1="dk1" bg2="lt2" tx2="dk2" accent1="accent1" accent2="accent2" accent3="accent3" accent4="accent4" accent5="accent5" accent6="accent6" hlink="hlink" folHlink="folHlink"/>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Picture bottom-purple background">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C677C15-D783-4350-B9E7-52E834A09207}"/>
              </a:ext>
            </a:extLst>
          </p:cNvPr>
          <p:cNvSpPr>
            <a:spLocks noGrp="1"/>
          </p:cNvSpPr>
          <p:nvPr>
            <p:ph type="pic" sz="quarter" idx="11"/>
          </p:nvPr>
        </p:nvSpPr>
        <p:spPr>
          <a:xfrm>
            <a:off x="0" y="5654675"/>
            <a:ext cx="20104100" cy="5654675"/>
          </a:xfrm>
        </p:spPr>
        <p:txBody>
          <a:bodyPr/>
          <a:lstStyle/>
          <a:p>
            <a:endParaRPr lang="en-GB"/>
          </a:p>
        </p:txBody>
      </p:sp>
      <p:grpSp>
        <p:nvGrpSpPr>
          <p:cNvPr id="4" name="Group 3">
            <a:extLst>
              <a:ext uri="{FF2B5EF4-FFF2-40B4-BE49-F238E27FC236}">
                <a16:creationId xmlns:a16="http://schemas.microsoft.com/office/drawing/2014/main" id="{D1988B3F-0739-4242-BE75-F4A848D4034D}"/>
              </a:ext>
            </a:extLst>
          </p:cNvPr>
          <p:cNvGrpSpPr/>
          <p:nvPr userDrawn="1"/>
        </p:nvGrpSpPr>
        <p:grpSpPr>
          <a:xfrm>
            <a:off x="1" y="3670479"/>
            <a:ext cx="20013106" cy="7168675"/>
            <a:chOff x="0" y="2225781"/>
            <a:chExt cx="13680558" cy="4900019"/>
          </a:xfrm>
        </p:grpSpPr>
        <p:sp>
          <p:nvSpPr>
            <p:cNvPr id="5" name="object 4">
              <a:extLst>
                <a:ext uri="{FF2B5EF4-FFF2-40B4-BE49-F238E27FC236}">
                  <a16:creationId xmlns:a16="http://schemas.microsoft.com/office/drawing/2014/main" id="{590506FE-57E0-584D-BC47-90F09DBCD688}"/>
                </a:ext>
              </a:extLst>
            </p:cNvPr>
            <p:cNvSpPr/>
            <p:nvPr/>
          </p:nvSpPr>
          <p:spPr>
            <a:xfrm>
              <a:off x="0" y="4614067"/>
              <a:ext cx="776605" cy="279400"/>
            </a:xfrm>
            <a:custGeom>
              <a:avLst/>
              <a:gdLst/>
              <a:ahLst/>
              <a:cxnLst/>
              <a:rect l="l" t="t" r="r" b="b"/>
              <a:pathLst>
                <a:path w="776605" h="279400">
                  <a:moveTo>
                    <a:pt x="97656" y="230555"/>
                  </a:moveTo>
                  <a:lnTo>
                    <a:pt x="0" y="263971"/>
                  </a:lnTo>
                  <a:lnTo>
                    <a:pt x="0" y="279205"/>
                  </a:lnTo>
                  <a:lnTo>
                    <a:pt x="106152" y="242887"/>
                  </a:lnTo>
                  <a:lnTo>
                    <a:pt x="97656" y="230555"/>
                  </a:lnTo>
                  <a:close/>
                </a:path>
                <a:path w="776605" h="279400">
                  <a:moveTo>
                    <a:pt x="119754" y="222999"/>
                  </a:moveTo>
                  <a:lnTo>
                    <a:pt x="110788" y="226072"/>
                  </a:lnTo>
                  <a:lnTo>
                    <a:pt x="119284" y="238404"/>
                  </a:lnTo>
                  <a:lnTo>
                    <a:pt x="140620" y="231089"/>
                  </a:lnTo>
                  <a:lnTo>
                    <a:pt x="119754" y="222999"/>
                  </a:lnTo>
                  <a:close/>
                </a:path>
                <a:path w="776605" h="279400">
                  <a:moveTo>
                    <a:pt x="771620" y="0"/>
                  </a:moveTo>
                  <a:lnTo>
                    <a:pt x="144964" y="214376"/>
                  </a:lnTo>
                  <a:lnTo>
                    <a:pt x="165830" y="222465"/>
                  </a:lnTo>
                  <a:lnTo>
                    <a:pt x="776281" y="13639"/>
                  </a:lnTo>
                  <a:lnTo>
                    <a:pt x="774007" y="9461"/>
                  </a:lnTo>
                  <a:lnTo>
                    <a:pt x="772407" y="4864"/>
                  </a:lnTo>
                  <a:lnTo>
                    <a:pt x="771620" y="0"/>
                  </a:lnTo>
                  <a:close/>
                </a:path>
              </a:pathLst>
            </a:custGeom>
            <a:solidFill>
              <a:srgbClr val="EF3D60">
                <a:alpha val="50999"/>
              </a:srgbClr>
            </a:solidFill>
          </p:spPr>
          <p:txBody>
            <a:bodyPr wrap="square" lIns="0" tIns="0" rIns="0" bIns="0" rtlCol="0"/>
            <a:lstStyle/>
            <a:p>
              <a:endParaRPr sz="2968"/>
            </a:p>
          </p:txBody>
        </p:sp>
        <p:sp>
          <p:nvSpPr>
            <p:cNvPr id="6" name="object 5">
              <a:extLst>
                <a:ext uri="{FF2B5EF4-FFF2-40B4-BE49-F238E27FC236}">
                  <a16:creationId xmlns:a16="http://schemas.microsoft.com/office/drawing/2014/main" id="{6B293071-EE5C-014D-B178-3FE80D9A250C}"/>
                </a:ext>
              </a:extLst>
            </p:cNvPr>
            <p:cNvSpPr/>
            <p:nvPr/>
          </p:nvSpPr>
          <p:spPr>
            <a:xfrm>
              <a:off x="0" y="5289523"/>
              <a:ext cx="405130" cy="53340"/>
            </a:xfrm>
            <a:custGeom>
              <a:avLst/>
              <a:gdLst/>
              <a:ahLst/>
              <a:cxnLst/>
              <a:rect l="l" t="t" r="r" b="b"/>
              <a:pathLst>
                <a:path w="405130" h="53339">
                  <a:moveTo>
                    <a:pt x="0" y="0"/>
                  </a:moveTo>
                  <a:lnTo>
                    <a:pt x="0" y="12304"/>
                  </a:lnTo>
                  <a:lnTo>
                    <a:pt x="404296" y="52734"/>
                  </a:lnTo>
                  <a:lnTo>
                    <a:pt x="404258" y="48504"/>
                  </a:lnTo>
                  <a:lnTo>
                    <a:pt x="404461" y="46142"/>
                  </a:lnTo>
                  <a:lnTo>
                    <a:pt x="404842" y="43818"/>
                  </a:lnTo>
                  <a:lnTo>
                    <a:pt x="391469" y="39145"/>
                  </a:lnTo>
                  <a:lnTo>
                    <a:pt x="0" y="0"/>
                  </a:lnTo>
                  <a:close/>
                </a:path>
              </a:pathLst>
            </a:custGeom>
            <a:solidFill>
              <a:srgbClr val="EF3D60">
                <a:alpha val="50999"/>
              </a:srgbClr>
            </a:solidFill>
          </p:spPr>
          <p:txBody>
            <a:bodyPr wrap="square" lIns="0" tIns="0" rIns="0" bIns="0" rtlCol="0"/>
            <a:lstStyle/>
            <a:p>
              <a:endParaRPr sz="2968"/>
            </a:p>
          </p:txBody>
        </p:sp>
        <p:sp>
          <p:nvSpPr>
            <p:cNvPr id="7" name="object 6">
              <a:extLst>
                <a:ext uri="{FF2B5EF4-FFF2-40B4-BE49-F238E27FC236}">
                  <a16:creationId xmlns:a16="http://schemas.microsoft.com/office/drawing/2014/main" id="{4B413223-4C29-E342-9B1B-474E847B9194}"/>
                </a:ext>
              </a:extLst>
            </p:cNvPr>
            <p:cNvSpPr/>
            <p:nvPr/>
          </p:nvSpPr>
          <p:spPr>
            <a:xfrm>
              <a:off x="482813" y="4481402"/>
              <a:ext cx="1717675" cy="847725"/>
            </a:xfrm>
            <a:custGeom>
              <a:avLst/>
              <a:gdLst/>
              <a:ahLst/>
              <a:cxnLst/>
              <a:rect l="l" t="t" r="r" b="b"/>
              <a:pathLst>
                <a:path w="1717675" h="847725">
                  <a:moveTo>
                    <a:pt x="385241" y="645833"/>
                  </a:moveTo>
                  <a:lnTo>
                    <a:pt x="0" y="833513"/>
                  </a:lnTo>
                  <a:lnTo>
                    <a:pt x="2959" y="837577"/>
                  </a:lnTo>
                  <a:lnTo>
                    <a:pt x="5232" y="842162"/>
                  </a:lnTo>
                  <a:lnTo>
                    <a:pt x="6642" y="847115"/>
                  </a:lnTo>
                  <a:lnTo>
                    <a:pt x="404507" y="653300"/>
                  </a:lnTo>
                  <a:lnTo>
                    <a:pt x="385241" y="645833"/>
                  </a:lnTo>
                  <a:close/>
                </a:path>
                <a:path w="1717675" h="847725">
                  <a:moveTo>
                    <a:pt x="739203" y="473392"/>
                  </a:moveTo>
                  <a:lnTo>
                    <a:pt x="406273" y="635584"/>
                  </a:lnTo>
                  <a:lnTo>
                    <a:pt x="425538" y="643051"/>
                  </a:lnTo>
                  <a:lnTo>
                    <a:pt x="751954" y="484035"/>
                  </a:lnTo>
                  <a:lnTo>
                    <a:pt x="739203" y="473392"/>
                  </a:lnTo>
                  <a:close/>
                </a:path>
                <a:path w="1717675" h="847725">
                  <a:moveTo>
                    <a:pt x="936155" y="377444"/>
                  </a:moveTo>
                  <a:lnTo>
                    <a:pt x="751497" y="467398"/>
                  </a:lnTo>
                  <a:lnTo>
                    <a:pt x="764260" y="478040"/>
                  </a:lnTo>
                  <a:lnTo>
                    <a:pt x="955154" y="385038"/>
                  </a:lnTo>
                  <a:lnTo>
                    <a:pt x="936155" y="377444"/>
                  </a:lnTo>
                  <a:close/>
                </a:path>
                <a:path w="1717675" h="847725">
                  <a:moveTo>
                    <a:pt x="1710931" y="0"/>
                  </a:moveTo>
                  <a:lnTo>
                    <a:pt x="958735" y="366445"/>
                  </a:lnTo>
                  <a:lnTo>
                    <a:pt x="977734" y="374040"/>
                  </a:lnTo>
                  <a:lnTo>
                    <a:pt x="1717560" y="13614"/>
                  </a:lnTo>
                  <a:lnTo>
                    <a:pt x="1714601" y="9563"/>
                  </a:lnTo>
                  <a:lnTo>
                    <a:pt x="1712340" y="4953"/>
                  </a:lnTo>
                  <a:lnTo>
                    <a:pt x="1710931" y="0"/>
                  </a:lnTo>
                  <a:close/>
                </a:path>
              </a:pathLst>
            </a:custGeom>
            <a:solidFill>
              <a:srgbClr val="EF3D60">
                <a:alpha val="50999"/>
              </a:srgbClr>
            </a:solidFill>
          </p:spPr>
          <p:txBody>
            <a:bodyPr wrap="square" lIns="0" tIns="0" rIns="0" bIns="0" rtlCol="0"/>
            <a:lstStyle/>
            <a:p>
              <a:endParaRPr sz="2968"/>
            </a:p>
          </p:txBody>
        </p:sp>
        <p:sp>
          <p:nvSpPr>
            <p:cNvPr id="8" name="object 7">
              <a:extLst>
                <a:ext uri="{FF2B5EF4-FFF2-40B4-BE49-F238E27FC236}">
                  <a16:creationId xmlns:a16="http://schemas.microsoft.com/office/drawing/2014/main" id="{67A59557-6DAD-D443-A2E2-669C5D4B0EE9}"/>
                </a:ext>
              </a:extLst>
            </p:cNvPr>
            <p:cNvSpPr/>
            <p:nvPr/>
          </p:nvSpPr>
          <p:spPr>
            <a:xfrm>
              <a:off x="462728" y="4643509"/>
              <a:ext cx="337185" cy="661035"/>
            </a:xfrm>
            <a:custGeom>
              <a:avLst/>
              <a:gdLst/>
              <a:ahLst/>
              <a:cxnLst/>
              <a:rect l="l" t="t" r="r" b="b"/>
              <a:pathLst>
                <a:path w="337184" h="661035">
                  <a:moveTo>
                    <a:pt x="138087" y="380098"/>
                  </a:moveTo>
                  <a:lnTo>
                    <a:pt x="0" y="656196"/>
                  </a:lnTo>
                  <a:lnTo>
                    <a:pt x="3035" y="657313"/>
                  </a:lnTo>
                  <a:lnTo>
                    <a:pt x="5905" y="658761"/>
                  </a:lnTo>
                  <a:lnTo>
                    <a:pt x="8572" y="660501"/>
                  </a:lnTo>
                  <a:lnTo>
                    <a:pt x="147027" y="383565"/>
                  </a:lnTo>
                  <a:lnTo>
                    <a:pt x="138087" y="380098"/>
                  </a:lnTo>
                  <a:close/>
                </a:path>
                <a:path w="337184" h="661035">
                  <a:moveTo>
                    <a:pt x="328180" y="0"/>
                  </a:moveTo>
                  <a:lnTo>
                    <a:pt x="145795" y="364680"/>
                  </a:lnTo>
                  <a:lnTo>
                    <a:pt x="154749" y="368160"/>
                  </a:lnTo>
                  <a:lnTo>
                    <a:pt x="336677" y="4267"/>
                  </a:lnTo>
                  <a:lnTo>
                    <a:pt x="333679" y="3149"/>
                  </a:lnTo>
                  <a:lnTo>
                    <a:pt x="330834" y="1714"/>
                  </a:lnTo>
                  <a:lnTo>
                    <a:pt x="328180" y="0"/>
                  </a:lnTo>
                  <a:close/>
                </a:path>
              </a:pathLst>
            </a:custGeom>
            <a:solidFill>
              <a:srgbClr val="EF3D60">
                <a:alpha val="50999"/>
              </a:srgbClr>
            </a:solidFill>
          </p:spPr>
          <p:txBody>
            <a:bodyPr wrap="square" lIns="0" tIns="0" rIns="0" bIns="0" rtlCol="0"/>
            <a:lstStyle/>
            <a:p>
              <a:endParaRPr sz="2968"/>
            </a:p>
          </p:txBody>
        </p:sp>
        <p:sp>
          <p:nvSpPr>
            <p:cNvPr id="9" name="object 8">
              <a:extLst>
                <a:ext uri="{FF2B5EF4-FFF2-40B4-BE49-F238E27FC236}">
                  <a16:creationId xmlns:a16="http://schemas.microsoft.com/office/drawing/2014/main" id="{873E29A1-A1BE-1941-8F9F-051BCA58323C}"/>
                </a:ext>
              </a:extLst>
            </p:cNvPr>
            <p:cNvSpPr/>
            <p:nvPr/>
          </p:nvSpPr>
          <p:spPr>
            <a:xfrm>
              <a:off x="0" y="4938382"/>
              <a:ext cx="418465" cy="377825"/>
            </a:xfrm>
            <a:custGeom>
              <a:avLst/>
              <a:gdLst/>
              <a:ahLst/>
              <a:cxnLst/>
              <a:rect l="l" t="t" r="r" b="b"/>
              <a:pathLst>
                <a:path w="418465" h="377825">
                  <a:moveTo>
                    <a:pt x="0" y="0"/>
                  </a:moveTo>
                  <a:lnTo>
                    <a:pt x="0" y="14079"/>
                  </a:lnTo>
                  <a:lnTo>
                    <a:pt x="411894" y="377485"/>
                  </a:lnTo>
                  <a:lnTo>
                    <a:pt x="413633" y="374958"/>
                  </a:lnTo>
                  <a:lnTo>
                    <a:pt x="415615" y="372634"/>
                  </a:lnTo>
                  <a:lnTo>
                    <a:pt x="417837" y="370538"/>
                  </a:lnTo>
                  <a:lnTo>
                    <a:pt x="414484" y="365674"/>
                  </a:lnTo>
                  <a:lnTo>
                    <a:pt x="0" y="0"/>
                  </a:lnTo>
                  <a:close/>
                </a:path>
              </a:pathLst>
            </a:custGeom>
            <a:solidFill>
              <a:srgbClr val="EF3D60">
                <a:alpha val="50999"/>
              </a:srgbClr>
            </a:solidFill>
          </p:spPr>
          <p:txBody>
            <a:bodyPr wrap="square" lIns="0" tIns="0" rIns="0" bIns="0" rtlCol="0"/>
            <a:lstStyle/>
            <a:p>
              <a:endParaRPr sz="2968"/>
            </a:p>
          </p:txBody>
        </p:sp>
        <p:sp>
          <p:nvSpPr>
            <p:cNvPr id="10" name="object 9">
              <a:extLst>
                <a:ext uri="{FF2B5EF4-FFF2-40B4-BE49-F238E27FC236}">
                  <a16:creationId xmlns:a16="http://schemas.microsoft.com/office/drawing/2014/main" id="{983AE195-938F-2846-A5CA-80C9622E0996}"/>
                </a:ext>
              </a:extLst>
            </p:cNvPr>
            <p:cNvSpPr/>
            <p:nvPr/>
          </p:nvSpPr>
          <p:spPr>
            <a:xfrm>
              <a:off x="0" y="5175830"/>
              <a:ext cx="410209" cy="158115"/>
            </a:xfrm>
            <a:custGeom>
              <a:avLst/>
              <a:gdLst/>
              <a:ahLst/>
              <a:cxnLst/>
              <a:rect l="l" t="t" r="r" b="b"/>
              <a:pathLst>
                <a:path w="410209" h="158114">
                  <a:moveTo>
                    <a:pt x="0" y="0"/>
                  </a:moveTo>
                  <a:lnTo>
                    <a:pt x="0" y="15808"/>
                  </a:lnTo>
                  <a:lnTo>
                    <a:pt x="404836" y="157517"/>
                  </a:lnTo>
                  <a:lnTo>
                    <a:pt x="405662" y="152475"/>
                  </a:lnTo>
                  <a:lnTo>
                    <a:pt x="407376" y="147725"/>
                  </a:lnTo>
                  <a:lnTo>
                    <a:pt x="409776" y="143433"/>
                  </a:lnTo>
                  <a:lnTo>
                    <a:pt x="0" y="0"/>
                  </a:lnTo>
                  <a:close/>
                </a:path>
              </a:pathLst>
            </a:custGeom>
            <a:solidFill>
              <a:srgbClr val="EF3D60">
                <a:alpha val="50999"/>
              </a:srgbClr>
            </a:solidFill>
          </p:spPr>
          <p:txBody>
            <a:bodyPr wrap="square" lIns="0" tIns="0" rIns="0" bIns="0" rtlCol="0"/>
            <a:lstStyle/>
            <a:p>
              <a:endParaRPr sz="2968"/>
            </a:p>
          </p:txBody>
        </p:sp>
        <p:sp>
          <p:nvSpPr>
            <p:cNvPr id="12" name="object 10">
              <a:extLst>
                <a:ext uri="{FF2B5EF4-FFF2-40B4-BE49-F238E27FC236}">
                  <a16:creationId xmlns:a16="http://schemas.microsoft.com/office/drawing/2014/main" id="{BCC55A90-BED9-4149-865E-B6A416CA572A}"/>
                </a:ext>
              </a:extLst>
            </p:cNvPr>
            <p:cNvSpPr/>
            <p:nvPr/>
          </p:nvSpPr>
          <p:spPr>
            <a:xfrm>
              <a:off x="0" y="4679487"/>
              <a:ext cx="429259" cy="629920"/>
            </a:xfrm>
            <a:custGeom>
              <a:avLst/>
              <a:gdLst/>
              <a:ahLst/>
              <a:cxnLst/>
              <a:rect l="l" t="t" r="r" b="b"/>
              <a:pathLst>
                <a:path w="429259" h="629920">
                  <a:moveTo>
                    <a:pt x="82475" y="143126"/>
                  </a:moveTo>
                  <a:lnTo>
                    <a:pt x="417843" y="629435"/>
                  </a:lnTo>
                  <a:lnTo>
                    <a:pt x="421069" y="626374"/>
                  </a:lnTo>
                  <a:lnTo>
                    <a:pt x="424778" y="623809"/>
                  </a:lnTo>
                  <a:lnTo>
                    <a:pt x="428829" y="621853"/>
                  </a:lnTo>
                  <a:lnTo>
                    <a:pt x="104611" y="151712"/>
                  </a:lnTo>
                  <a:lnTo>
                    <a:pt x="82475" y="143126"/>
                  </a:lnTo>
                  <a:close/>
                </a:path>
                <a:path w="429259" h="629920">
                  <a:moveTo>
                    <a:pt x="0" y="0"/>
                  </a:moveTo>
                  <a:lnTo>
                    <a:pt x="0" y="23533"/>
                  </a:lnTo>
                  <a:lnTo>
                    <a:pt x="65152" y="118006"/>
                  </a:lnTo>
                  <a:lnTo>
                    <a:pt x="87301" y="126591"/>
                  </a:lnTo>
                  <a:lnTo>
                    <a:pt x="0" y="0"/>
                  </a:lnTo>
                  <a:close/>
                </a:path>
              </a:pathLst>
            </a:custGeom>
            <a:solidFill>
              <a:srgbClr val="EF3D60">
                <a:alpha val="50999"/>
              </a:srgbClr>
            </a:solidFill>
          </p:spPr>
          <p:txBody>
            <a:bodyPr wrap="square" lIns="0" tIns="0" rIns="0" bIns="0" rtlCol="0"/>
            <a:lstStyle/>
            <a:p>
              <a:endParaRPr sz="2968"/>
            </a:p>
          </p:txBody>
        </p:sp>
        <p:sp>
          <p:nvSpPr>
            <p:cNvPr id="13" name="object 11">
              <a:extLst>
                <a:ext uri="{FF2B5EF4-FFF2-40B4-BE49-F238E27FC236}">
                  <a16:creationId xmlns:a16="http://schemas.microsoft.com/office/drawing/2014/main" id="{16600449-6259-D84C-A2DE-8D11C0896EFF}"/>
                </a:ext>
              </a:extLst>
            </p:cNvPr>
            <p:cNvSpPr/>
            <p:nvPr/>
          </p:nvSpPr>
          <p:spPr>
            <a:xfrm>
              <a:off x="489545" y="5339463"/>
              <a:ext cx="1382395" cy="185420"/>
            </a:xfrm>
            <a:custGeom>
              <a:avLst/>
              <a:gdLst/>
              <a:ahLst/>
              <a:cxnLst/>
              <a:rect l="l" t="t" r="r" b="b"/>
              <a:pathLst>
                <a:path w="1382395" h="185420">
                  <a:moveTo>
                    <a:pt x="1562" y="0"/>
                  </a:moveTo>
                  <a:lnTo>
                    <a:pt x="1574" y="5016"/>
                  </a:lnTo>
                  <a:lnTo>
                    <a:pt x="1016" y="8915"/>
                  </a:lnTo>
                  <a:lnTo>
                    <a:pt x="0" y="12611"/>
                  </a:lnTo>
                  <a:lnTo>
                    <a:pt x="1381683" y="185369"/>
                  </a:lnTo>
                  <a:lnTo>
                    <a:pt x="1381658" y="181864"/>
                  </a:lnTo>
                  <a:lnTo>
                    <a:pt x="1381887" y="179400"/>
                  </a:lnTo>
                  <a:lnTo>
                    <a:pt x="1382293" y="176999"/>
                  </a:lnTo>
                  <a:lnTo>
                    <a:pt x="1365618" y="170535"/>
                  </a:lnTo>
                  <a:lnTo>
                    <a:pt x="1562" y="0"/>
                  </a:lnTo>
                  <a:close/>
                </a:path>
              </a:pathLst>
            </a:custGeom>
            <a:solidFill>
              <a:srgbClr val="EF3D60">
                <a:alpha val="50999"/>
              </a:srgbClr>
            </a:solidFill>
          </p:spPr>
          <p:txBody>
            <a:bodyPr wrap="square" lIns="0" tIns="0" rIns="0" bIns="0" rtlCol="0"/>
            <a:lstStyle/>
            <a:p>
              <a:endParaRPr sz="2968"/>
            </a:p>
          </p:txBody>
        </p:sp>
        <p:sp>
          <p:nvSpPr>
            <p:cNvPr id="14" name="object 12">
              <a:extLst>
                <a:ext uri="{FF2B5EF4-FFF2-40B4-BE49-F238E27FC236}">
                  <a16:creationId xmlns:a16="http://schemas.microsoft.com/office/drawing/2014/main" id="{8B2A0FA8-6B7A-FB4F-9B00-46D4358A8C2A}"/>
                </a:ext>
              </a:extLst>
            </p:cNvPr>
            <p:cNvSpPr/>
            <p:nvPr/>
          </p:nvSpPr>
          <p:spPr>
            <a:xfrm>
              <a:off x="1945593" y="4488069"/>
              <a:ext cx="1450975" cy="1017269"/>
            </a:xfrm>
            <a:custGeom>
              <a:avLst/>
              <a:gdLst/>
              <a:ahLst/>
              <a:cxnLst/>
              <a:rect l="l" t="t" r="r" b="b"/>
              <a:pathLst>
                <a:path w="1450975" h="1017270">
                  <a:moveTo>
                    <a:pt x="386422" y="736003"/>
                  </a:moveTo>
                  <a:lnTo>
                    <a:pt x="0" y="1005332"/>
                  </a:lnTo>
                  <a:lnTo>
                    <a:pt x="3378" y="1008773"/>
                  </a:lnTo>
                  <a:lnTo>
                    <a:pt x="6197" y="1012774"/>
                  </a:lnTo>
                  <a:lnTo>
                    <a:pt x="8280" y="1017181"/>
                  </a:lnTo>
                  <a:lnTo>
                    <a:pt x="402488" y="742429"/>
                  </a:lnTo>
                  <a:lnTo>
                    <a:pt x="386422" y="736003"/>
                  </a:lnTo>
                  <a:close/>
                </a:path>
                <a:path w="1450975" h="1017270">
                  <a:moveTo>
                    <a:pt x="757097" y="477647"/>
                  </a:moveTo>
                  <a:lnTo>
                    <a:pt x="404685" y="723277"/>
                  </a:lnTo>
                  <a:lnTo>
                    <a:pt x="420750" y="729703"/>
                  </a:lnTo>
                  <a:lnTo>
                    <a:pt x="767245" y="488213"/>
                  </a:lnTo>
                  <a:lnTo>
                    <a:pt x="757097" y="477647"/>
                  </a:lnTo>
                  <a:close/>
                </a:path>
                <a:path w="1450975" h="1017270">
                  <a:moveTo>
                    <a:pt x="984389" y="319239"/>
                  </a:moveTo>
                  <a:lnTo>
                    <a:pt x="768083" y="470001"/>
                  </a:lnTo>
                  <a:lnTo>
                    <a:pt x="778217" y="480555"/>
                  </a:lnTo>
                  <a:lnTo>
                    <a:pt x="999464" y="326351"/>
                  </a:lnTo>
                  <a:lnTo>
                    <a:pt x="984389" y="319239"/>
                  </a:lnTo>
                  <a:close/>
                </a:path>
                <a:path w="1450975" h="1017270">
                  <a:moveTo>
                    <a:pt x="1442440" y="0"/>
                  </a:moveTo>
                  <a:lnTo>
                    <a:pt x="1001864" y="307060"/>
                  </a:lnTo>
                  <a:lnTo>
                    <a:pt x="1016952" y="314172"/>
                  </a:lnTo>
                  <a:lnTo>
                    <a:pt x="1450708" y="11861"/>
                  </a:lnTo>
                  <a:lnTo>
                    <a:pt x="1447330" y="8420"/>
                  </a:lnTo>
                  <a:lnTo>
                    <a:pt x="1444523" y="4419"/>
                  </a:lnTo>
                  <a:lnTo>
                    <a:pt x="1442440" y="0"/>
                  </a:lnTo>
                  <a:close/>
                </a:path>
              </a:pathLst>
            </a:custGeom>
            <a:solidFill>
              <a:srgbClr val="EF3D60">
                <a:alpha val="50999"/>
              </a:srgbClr>
            </a:solidFill>
          </p:spPr>
          <p:txBody>
            <a:bodyPr wrap="square" lIns="0" tIns="0" rIns="0" bIns="0" rtlCol="0"/>
            <a:lstStyle/>
            <a:p>
              <a:endParaRPr sz="2968"/>
            </a:p>
          </p:txBody>
        </p:sp>
        <p:sp>
          <p:nvSpPr>
            <p:cNvPr id="15" name="object 13">
              <a:extLst>
                <a:ext uri="{FF2B5EF4-FFF2-40B4-BE49-F238E27FC236}">
                  <a16:creationId xmlns:a16="http://schemas.microsoft.com/office/drawing/2014/main" id="{4E8E8B57-F9BB-E346-BC49-49DF70415DF6}"/>
                </a:ext>
              </a:extLst>
            </p:cNvPr>
            <p:cNvSpPr/>
            <p:nvPr/>
          </p:nvSpPr>
          <p:spPr>
            <a:xfrm>
              <a:off x="1921968" y="4509129"/>
              <a:ext cx="306705" cy="975360"/>
            </a:xfrm>
            <a:custGeom>
              <a:avLst/>
              <a:gdLst/>
              <a:ahLst/>
              <a:cxnLst/>
              <a:rect l="l" t="t" r="r" b="b"/>
              <a:pathLst>
                <a:path w="306705" h="975360">
                  <a:moveTo>
                    <a:pt x="114211" y="596607"/>
                  </a:moveTo>
                  <a:lnTo>
                    <a:pt x="0" y="971918"/>
                  </a:lnTo>
                  <a:lnTo>
                    <a:pt x="3644" y="972527"/>
                  </a:lnTo>
                  <a:lnTo>
                    <a:pt x="7150" y="973607"/>
                  </a:lnTo>
                  <a:lnTo>
                    <a:pt x="10426" y="975080"/>
                  </a:lnTo>
                  <a:lnTo>
                    <a:pt x="124371" y="600671"/>
                  </a:lnTo>
                  <a:lnTo>
                    <a:pt x="114211" y="596607"/>
                  </a:lnTo>
                  <a:close/>
                </a:path>
                <a:path w="306705" h="975360">
                  <a:moveTo>
                    <a:pt x="295770" y="0"/>
                  </a:moveTo>
                  <a:lnTo>
                    <a:pt x="119646" y="578751"/>
                  </a:lnTo>
                  <a:lnTo>
                    <a:pt x="129806" y="582803"/>
                  </a:lnTo>
                  <a:lnTo>
                    <a:pt x="306196" y="3175"/>
                  </a:lnTo>
                  <a:lnTo>
                    <a:pt x="302552" y="2552"/>
                  </a:lnTo>
                  <a:lnTo>
                    <a:pt x="299046" y="1473"/>
                  </a:lnTo>
                  <a:lnTo>
                    <a:pt x="295770" y="0"/>
                  </a:lnTo>
                  <a:close/>
                </a:path>
              </a:pathLst>
            </a:custGeom>
            <a:solidFill>
              <a:srgbClr val="EF3D60">
                <a:alpha val="50999"/>
              </a:srgbClr>
            </a:solidFill>
          </p:spPr>
          <p:txBody>
            <a:bodyPr wrap="square" lIns="0" tIns="0" rIns="0" bIns="0" rtlCol="0"/>
            <a:lstStyle/>
            <a:p>
              <a:endParaRPr sz="2968"/>
            </a:p>
          </p:txBody>
        </p:sp>
        <p:sp>
          <p:nvSpPr>
            <p:cNvPr id="16" name="object 14">
              <a:extLst>
                <a:ext uri="{FF2B5EF4-FFF2-40B4-BE49-F238E27FC236}">
                  <a16:creationId xmlns:a16="http://schemas.microsoft.com/office/drawing/2014/main" id="{3FFA5BAA-E692-8141-98AB-AFA98F584F1F}"/>
                </a:ext>
              </a:extLst>
            </p:cNvPr>
            <p:cNvSpPr/>
            <p:nvPr/>
          </p:nvSpPr>
          <p:spPr>
            <a:xfrm>
              <a:off x="843466" y="4631415"/>
              <a:ext cx="1042669" cy="869315"/>
            </a:xfrm>
            <a:custGeom>
              <a:avLst/>
              <a:gdLst/>
              <a:ahLst/>
              <a:cxnLst/>
              <a:rect l="l" t="t" r="r" b="b"/>
              <a:pathLst>
                <a:path w="1042669" h="869314">
                  <a:moveTo>
                    <a:pt x="6934" y="0"/>
                  </a:moveTo>
                  <a:lnTo>
                    <a:pt x="4953" y="2921"/>
                  </a:lnTo>
                  <a:lnTo>
                    <a:pt x="2628" y="5588"/>
                  </a:lnTo>
                  <a:lnTo>
                    <a:pt x="0" y="7937"/>
                  </a:lnTo>
                  <a:lnTo>
                    <a:pt x="1032306" y="868172"/>
                  </a:lnTo>
                  <a:lnTo>
                    <a:pt x="1034580" y="869048"/>
                  </a:lnTo>
                  <a:lnTo>
                    <a:pt x="1036688" y="865746"/>
                  </a:lnTo>
                  <a:lnTo>
                    <a:pt x="1039241" y="862749"/>
                  </a:lnTo>
                  <a:lnTo>
                    <a:pt x="1042149" y="860132"/>
                  </a:lnTo>
                  <a:lnTo>
                    <a:pt x="12750" y="2324"/>
                  </a:lnTo>
                  <a:lnTo>
                    <a:pt x="6934" y="0"/>
                  </a:lnTo>
                  <a:close/>
                </a:path>
              </a:pathLst>
            </a:custGeom>
            <a:solidFill>
              <a:srgbClr val="EF3D60">
                <a:alpha val="50999"/>
              </a:srgbClr>
            </a:solidFill>
          </p:spPr>
          <p:txBody>
            <a:bodyPr wrap="square" lIns="0" tIns="0" rIns="0" bIns="0" rtlCol="0"/>
            <a:lstStyle/>
            <a:p>
              <a:endParaRPr sz="2968"/>
            </a:p>
          </p:txBody>
        </p:sp>
        <p:sp>
          <p:nvSpPr>
            <p:cNvPr id="17" name="object 15">
              <a:extLst>
                <a:ext uri="{FF2B5EF4-FFF2-40B4-BE49-F238E27FC236}">
                  <a16:creationId xmlns:a16="http://schemas.microsoft.com/office/drawing/2014/main" id="{14A38A62-9B93-DD46-9A9E-1FD70BB1CE6C}"/>
                </a:ext>
              </a:extLst>
            </p:cNvPr>
            <p:cNvSpPr/>
            <p:nvPr/>
          </p:nvSpPr>
          <p:spPr>
            <a:xfrm>
              <a:off x="0" y="4772239"/>
              <a:ext cx="1878330" cy="744220"/>
            </a:xfrm>
            <a:custGeom>
              <a:avLst/>
              <a:gdLst/>
              <a:ahLst/>
              <a:cxnLst/>
              <a:rect l="l" t="t" r="r" b="b"/>
              <a:pathLst>
                <a:path w="1878329" h="744220">
                  <a:moveTo>
                    <a:pt x="0" y="0"/>
                  </a:moveTo>
                  <a:lnTo>
                    <a:pt x="0" y="18391"/>
                  </a:lnTo>
                  <a:lnTo>
                    <a:pt x="1871842" y="744225"/>
                  </a:lnTo>
                  <a:lnTo>
                    <a:pt x="1872833" y="738421"/>
                  </a:lnTo>
                  <a:lnTo>
                    <a:pt x="1874979" y="732998"/>
                  </a:lnTo>
                  <a:lnTo>
                    <a:pt x="1878040" y="728223"/>
                  </a:lnTo>
                  <a:lnTo>
                    <a:pt x="0" y="0"/>
                  </a:lnTo>
                  <a:close/>
                </a:path>
              </a:pathLst>
            </a:custGeom>
            <a:solidFill>
              <a:srgbClr val="EF3D60">
                <a:alpha val="50999"/>
              </a:srgbClr>
            </a:solidFill>
          </p:spPr>
          <p:txBody>
            <a:bodyPr wrap="square" lIns="0" tIns="0" rIns="0" bIns="0" rtlCol="0"/>
            <a:lstStyle/>
            <a:p>
              <a:endParaRPr sz="2968"/>
            </a:p>
          </p:txBody>
        </p:sp>
        <p:sp>
          <p:nvSpPr>
            <p:cNvPr id="18" name="object 16">
              <a:extLst>
                <a:ext uri="{FF2B5EF4-FFF2-40B4-BE49-F238E27FC236}">
                  <a16:creationId xmlns:a16="http://schemas.microsoft.com/office/drawing/2014/main" id="{0B16AAFC-0975-0147-8735-E649C574FBC2}"/>
                </a:ext>
              </a:extLst>
            </p:cNvPr>
            <p:cNvSpPr/>
            <p:nvPr/>
          </p:nvSpPr>
          <p:spPr>
            <a:xfrm>
              <a:off x="1957116" y="5520410"/>
              <a:ext cx="1336040" cy="99060"/>
            </a:xfrm>
            <a:custGeom>
              <a:avLst/>
              <a:gdLst/>
              <a:ahLst/>
              <a:cxnLst/>
              <a:rect l="l" t="t" r="r" b="b"/>
              <a:pathLst>
                <a:path w="1336039" h="99060">
                  <a:moveTo>
                    <a:pt x="800" y="0"/>
                  </a:moveTo>
                  <a:lnTo>
                    <a:pt x="876" y="1130"/>
                  </a:lnTo>
                  <a:lnTo>
                    <a:pt x="927" y="6502"/>
                  </a:lnTo>
                  <a:lnTo>
                    <a:pt x="609" y="9499"/>
                  </a:lnTo>
                  <a:lnTo>
                    <a:pt x="0" y="12395"/>
                  </a:lnTo>
                  <a:lnTo>
                    <a:pt x="1335189" y="98501"/>
                  </a:lnTo>
                  <a:lnTo>
                    <a:pt x="1335062" y="92646"/>
                  </a:lnTo>
                  <a:lnTo>
                    <a:pt x="1335252" y="90284"/>
                  </a:lnTo>
                  <a:lnTo>
                    <a:pt x="1335633" y="87960"/>
                  </a:lnTo>
                  <a:lnTo>
                    <a:pt x="1330032" y="85725"/>
                  </a:lnTo>
                  <a:lnTo>
                    <a:pt x="800" y="0"/>
                  </a:lnTo>
                  <a:close/>
                </a:path>
              </a:pathLst>
            </a:custGeom>
            <a:solidFill>
              <a:srgbClr val="EF3D60">
                <a:alpha val="50999"/>
              </a:srgbClr>
            </a:solidFill>
          </p:spPr>
          <p:txBody>
            <a:bodyPr wrap="square" lIns="0" tIns="0" rIns="0" bIns="0" rtlCol="0"/>
            <a:lstStyle/>
            <a:p>
              <a:endParaRPr sz="2968"/>
            </a:p>
          </p:txBody>
        </p:sp>
        <p:sp>
          <p:nvSpPr>
            <p:cNvPr id="19" name="object 17">
              <a:extLst>
                <a:ext uri="{FF2B5EF4-FFF2-40B4-BE49-F238E27FC236}">
                  <a16:creationId xmlns:a16="http://schemas.microsoft.com/office/drawing/2014/main" id="{48E35781-6FEA-9B4F-90B4-97B572D54FF5}"/>
                </a:ext>
              </a:extLst>
            </p:cNvPr>
            <p:cNvSpPr/>
            <p:nvPr/>
          </p:nvSpPr>
          <p:spPr>
            <a:xfrm>
              <a:off x="3369335" y="4210323"/>
              <a:ext cx="2090420" cy="1389380"/>
            </a:xfrm>
            <a:custGeom>
              <a:avLst/>
              <a:gdLst/>
              <a:ahLst/>
              <a:cxnLst/>
              <a:rect l="l" t="t" r="r" b="b"/>
              <a:pathLst>
                <a:path w="2090420" h="1389379">
                  <a:moveTo>
                    <a:pt x="502030" y="1041044"/>
                  </a:moveTo>
                  <a:lnTo>
                    <a:pt x="12268" y="1364081"/>
                  </a:lnTo>
                  <a:lnTo>
                    <a:pt x="0" y="1377835"/>
                  </a:lnTo>
                  <a:lnTo>
                    <a:pt x="2781" y="1381264"/>
                  </a:lnTo>
                  <a:lnTo>
                    <a:pt x="5041" y="1385125"/>
                  </a:lnTo>
                  <a:lnTo>
                    <a:pt x="6680" y="1389303"/>
                  </a:lnTo>
                  <a:lnTo>
                    <a:pt x="521068" y="1050023"/>
                  </a:lnTo>
                  <a:lnTo>
                    <a:pt x="502030" y="1041044"/>
                  </a:lnTo>
                  <a:close/>
                </a:path>
                <a:path w="2090420" h="1389379">
                  <a:moveTo>
                    <a:pt x="729957" y="890714"/>
                  </a:moveTo>
                  <a:lnTo>
                    <a:pt x="520103" y="1029131"/>
                  </a:lnTo>
                  <a:lnTo>
                    <a:pt x="539127" y="1038110"/>
                  </a:lnTo>
                  <a:lnTo>
                    <a:pt x="743534" y="903287"/>
                  </a:lnTo>
                  <a:lnTo>
                    <a:pt x="729957" y="890714"/>
                  </a:lnTo>
                  <a:close/>
                </a:path>
                <a:path w="2090420" h="1389379">
                  <a:moveTo>
                    <a:pt x="1132751" y="625043"/>
                  </a:moveTo>
                  <a:lnTo>
                    <a:pt x="741730" y="882942"/>
                  </a:lnTo>
                  <a:lnTo>
                    <a:pt x="755307" y="895515"/>
                  </a:lnTo>
                  <a:lnTo>
                    <a:pt x="1136548" y="644055"/>
                  </a:lnTo>
                  <a:lnTo>
                    <a:pt x="1132751" y="625043"/>
                  </a:lnTo>
                  <a:close/>
                </a:path>
                <a:path w="2090420" h="1389379">
                  <a:moveTo>
                    <a:pt x="1174280" y="597636"/>
                  </a:moveTo>
                  <a:lnTo>
                    <a:pt x="1144879" y="617029"/>
                  </a:lnTo>
                  <a:lnTo>
                    <a:pt x="1148676" y="636054"/>
                  </a:lnTo>
                  <a:lnTo>
                    <a:pt x="1177099" y="617308"/>
                  </a:lnTo>
                  <a:lnTo>
                    <a:pt x="1174280" y="597636"/>
                  </a:lnTo>
                  <a:close/>
                </a:path>
                <a:path w="2090420" h="1389379">
                  <a:moveTo>
                    <a:pt x="1287564" y="522922"/>
                  </a:moveTo>
                  <a:lnTo>
                    <a:pt x="1185189" y="590448"/>
                  </a:lnTo>
                  <a:lnTo>
                    <a:pt x="1187996" y="610120"/>
                  </a:lnTo>
                  <a:lnTo>
                    <a:pt x="1287564" y="544449"/>
                  </a:lnTo>
                  <a:lnTo>
                    <a:pt x="1287564" y="522922"/>
                  </a:lnTo>
                  <a:close/>
                </a:path>
                <a:path w="2090420" h="1389379">
                  <a:moveTo>
                    <a:pt x="1503298" y="380619"/>
                  </a:moveTo>
                  <a:lnTo>
                    <a:pt x="1303693" y="512279"/>
                  </a:lnTo>
                  <a:lnTo>
                    <a:pt x="1303693" y="533806"/>
                  </a:lnTo>
                  <a:lnTo>
                    <a:pt x="1519910" y="391198"/>
                  </a:lnTo>
                  <a:lnTo>
                    <a:pt x="1503298" y="380619"/>
                  </a:lnTo>
                  <a:close/>
                </a:path>
                <a:path w="2090420" h="1389379">
                  <a:moveTo>
                    <a:pt x="1627720" y="298564"/>
                  </a:moveTo>
                  <a:lnTo>
                    <a:pt x="1518907" y="370332"/>
                  </a:lnTo>
                  <a:lnTo>
                    <a:pt x="1535518" y="380898"/>
                  </a:lnTo>
                  <a:lnTo>
                    <a:pt x="1643049" y="309968"/>
                  </a:lnTo>
                  <a:lnTo>
                    <a:pt x="1627720" y="298564"/>
                  </a:lnTo>
                  <a:close/>
                </a:path>
                <a:path w="2090420" h="1389379">
                  <a:moveTo>
                    <a:pt x="2080361" y="0"/>
                  </a:moveTo>
                  <a:lnTo>
                    <a:pt x="1644129" y="287731"/>
                  </a:lnTo>
                  <a:lnTo>
                    <a:pt x="1659470" y="299148"/>
                  </a:lnTo>
                  <a:lnTo>
                    <a:pt x="2090254" y="14998"/>
                  </a:lnTo>
                  <a:lnTo>
                    <a:pt x="2085987" y="10782"/>
                  </a:lnTo>
                  <a:lnTo>
                    <a:pt x="2082596" y="5689"/>
                  </a:lnTo>
                  <a:lnTo>
                    <a:pt x="2080361" y="0"/>
                  </a:lnTo>
                  <a:close/>
                </a:path>
              </a:pathLst>
            </a:custGeom>
            <a:solidFill>
              <a:srgbClr val="EF3D60">
                <a:alpha val="50999"/>
              </a:srgbClr>
            </a:solidFill>
          </p:spPr>
          <p:txBody>
            <a:bodyPr wrap="square" lIns="0" tIns="0" rIns="0" bIns="0" rtlCol="0"/>
            <a:lstStyle/>
            <a:p>
              <a:endParaRPr sz="2968"/>
            </a:p>
          </p:txBody>
        </p:sp>
        <p:sp>
          <p:nvSpPr>
            <p:cNvPr id="20" name="object 18">
              <a:extLst>
                <a:ext uri="{FF2B5EF4-FFF2-40B4-BE49-F238E27FC236}">
                  <a16:creationId xmlns:a16="http://schemas.microsoft.com/office/drawing/2014/main" id="{598D2049-8EE0-C54E-AFD8-AFFD9F910255}"/>
                </a:ext>
              </a:extLst>
            </p:cNvPr>
            <p:cNvSpPr/>
            <p:nvPr/>
          </p:nvSpPr>
          <p:spPr>
            <a:xfrm>
              <a:off x="3349943" y="3446970"/>
              <a:ext cx="1301115" cy="2128520"/>
            </a:xfrm>
            <a:custGeom>
              <a:avLst/>
              <a:gdLst/>
              <a:ahLst/>
              <a:cxnLst/>
              <a:rect l="l" t="t" r="r" b="b"/>
              <a:pathLst>
                <a:path w="1301114" h="2128520">
                  <a:moveTo>
                    <a:pt x="267563" y="1684654"/>
                  </a:moveTo>
                  <a:lnTo>
                    <a:pt x="0" y="2127529"/>
                  </a:lnTo>
                  <a:lnTo>
                    <a:pt x="749" y="2127783"/>
                  </a:lnTo>
                  <a:lnTo>
                    <a:pt x="2222" y="2128367"/>
                  </a:lnTo>
                  <a:lnTo>
                    <a:pt x="278028" y="1689582"/>
                  </a:lnTo>
                  <a:lnTo>
                    <a:pt x="267563" y="1684654"/>
                  </a:lnTo>
                  <a:close/>
                </a:path>
                <a:path w="1301114" h="2128520">
                  <a:moveTo>
                    <a:pt x="40881" y="2094483"/>
                  </a:moveTo>
                  <a:lnTo>
                    <a:pt x="37045" y="2100592"/>
                  </a:lnTo>
                  <a:lnTo>
                    <a:pt x="37503" y="2100072"/>
                  </a:lnTo>
                  <a:lnTo>
                    <a:pt x="40881" y="2094483"/>
                  </a:lnTo>
                  <a:close/>
                </a:path>
                <a:path w="1301114" h="2128520">
                  <a:moveTo>
                    <a:pt x="452259" y="1378978"/>
                  </a:moveTo>
                  <a:lnTo>
                    <a:pt x="277177" y="1668754"/>
                  </a:lnTo>
                  <a:lnTo>
                    <a:pt x="287934" y="1673821"/>
                  </a:lnTo>
                  <a:lnTo>
                    <a:pt x="465531" y="1391284"/>
                  </a:lnTo>
                  <a:lnTo>
                    <a:pt x="452259" y="1378978"/>
                  </a:lnTo>
                  <a:close/>
                </a:path>
                <a:path w="1301114" h="2128520">
                  <a:moveTo>
                    <a:pt x="953071" y="550049"/>
                  </a:moveTo>
                  <a:lnTo>
                    <a:pt x="459485" y="1367002"/>
                  </a:lnTo>
                  <a:lnTo>
                    <a:pt x="472909" y="1379423"/>
                  </a:lnTo>
                  <a:lnTo>
                    <a:pt x="954633" y="582104"/>
                  </a:lnTo>
                  <a:lnTo>
                    <a:pt x="952144" y="576618"/>
                  </a:lnTo>
                  <a:lnTo>
                    <a:pt x="950747" y="570534"/>
                  </a:lnTo>
                  <a:lnTo>
                    <a:pt x="950747" y="559193"/>
                  </a:lnTo>
                  <a:lnTo>
                    <a:pt x="951572" y="554469"/>
                  </a:lnTo>
                  <a:lnTo>
                    <a:pt x="953071" y="550049"/>
                  </a:lnTo>
                  <a:close/>
                </a:path>
                <a:path w="1301114" h="2128520">
                  <a:moveTo>
                    <a:pt x="1285405" y="0"/>
                  </a:moveTo>
                  <a:lnTo>
                    <a:pt x="962583" y="534314"/>
                  </a:lnTo>
                  <a:lnTo>
                    <a:pt x="968637" y="528987"/>
                  </a:lnTo>
                  <a:lnTo>
                    <a:pt x="975609" y="524849"/>
                  </a:lnTo>
                  <a:lnTo>
                    <a:pt x="983345" y="522059"/>
                  </a:lnTo>
                  <a:lnTo>
                    <a:pt x="991692" y="520776"/>
                  </a:lnTo>
                  <a:lnTo>
                    <a:pt x="1300746" y="9258"/>
                  </a:lnTo>
                  <a:lnTo>
                    <a:pt x="1294980" y="7251"/>
                  </a:lnTo>
                  <a:lnTo>
                    <a:pt x="1289773" y="4076"/>
                  </a:lnTo>
                  <a:lnTo>
                    <a:pt x="1285405" y="0"/>
                  </a:lnTo>
                  <a:close/>
                </a:path>
              </a:pathLst>
            </a:custGeom>
            <a:solidFill>
              <a:srgbClr val="EF3D60">
                <a:alpha val="50999"/>
              </a:srgbClr>
            </a:solidFill>
          </p:spPr>
          <p:txBody>
            <a:bodyPr wrap="square" lIns="0" tIns="0" rIns="0" bIns="0" rtlCol="0"/>
            <a:lstStyle/>
            <a:p>
              <a:endParaRPr sz="2968"/>
            </a:p>
          </p:txBody>
        </p:sp>
        <p:sp>
          <p:nvSpPr>
            <p:cNvPr id="21" name="object 19">
              <a:extLst>
                <a:ext uri="{FF2B5EF4-FFF2-40B4-BE49-F238E27FC236}">
                  <a16:creationId xmlns:a16="http://schemas.microsoft.com/office/drawing/2014/main" id="{9E0E4177-217B-5F4C-BB6A-235CB94506B7}"/>
                </a:ext>
              </a:extLst>
            </p:cNvPr>
            <p:cNvSpPr/>
            <p:nvPr/>
          </p:nvSpPr>
          <p:spPr>
            <a:xfrm>
              <a:off x="3364591" y="4359318"/>
              <a:ext cx="1094105" cy="1229360"/>
            </a:xfrm>
            <a:custGeom>
              <a:avLst/>
              <a:gdLst/>
              <a:ahLst/>
              <a:cxnLst/>
              <a:rect l="l" t="t" r="r" b="b"/>
              <a:pathLst>
                <a:path w="1094104" h="1229360">
                  <a:moveTo>
                    <a:pt x="352018" y="819048"/>
                  </a:moveTo>
                  <a:lnTo>
                    <a:pt x="22390" y="1188250"/>
                  </a:lnTo>
                  <a:lnTo>
                    <a:pt x="0" y="1223860"/>
                  </a:lnTo>
                  <a:lnTo>
                    <a:pt x="1714" y="1225397"/>
                  </a:lnTo>
                  <a:lnTo>
                    <a:pt x="3302" y="1227061"/>
                  </a:lnTo>
                  <a:lnTo>
                    <a:pt x="4749" y="1228839"/>
                  </a:lnTo>
                  <a:lnTo>
                    <a:pt x="365099" y="825220"/>
                  </a:lnTo>
                  <a:lnTo>
                    <a:pt x="352018" y="819048"/>
                  </a:lnTo>
                  <a:close/>
                </a:path>
                <a:path w="1094104" h="1229360">
                  <a:moveTo>
                    <a:pt x="563003" y="582739"/>
                  </a:moveTo>
                  <a:lnTo>
                    <a:pt x="364858" y="804672"/>
                  </a:lnTo>
                  <a:lnTo>
                    <a:pt x="377952" y="810844"/>
                  </a:lnTo>
                  <a:lnTo>
                    <a:pt x="573176" y="592162"/>
                  </a:lnTo>
                  <a:lnTo>
                    <a:pt x="563003" y="582739"/>
                  </a:lnTo>
                  <a:close/>
                </a:path>
                <a:path w="1094104" h="1229360">
                  <a:moveTo>
                    <a:pt x="1049794" y="37515"/>
                  </a:moveTo>
                  <a:lnTo>
                    <a:pt x="572135" y="572516"/>
                  </a:lnTo>
                  <a:lnTo>
                    <a:pt x="582307" y="581939"/>
                  </a:lnTo>
                  <a:lnTo>
                    <a:pt x="1053198" y="54533"/>
                  </a:lnTo>
                  <a:lnTo>
                    <a:pt x="1049794" y="37515"/>
                  </a:lnTo>
                  <a:close/>
                </a:path>
                <a:path w="1094104" h="1229360">
                  <a:moveTo>
                    <a:pt x="1083271" y="0"/>
                  </a:moveTo>
                  <a:lnTo>
                    <a:pt x="1061008" y="24955"/>
                  </a:lnTo>
                  <a:lnTo>
                    <a:pt x="1064412" y="41973"/>
                  </a:lnTo>
                  <a:lnTo>
                    <a:pt x="1093622" y="9245"/>
                  </a:lnTo>
                  <a:lnTo>
                    <a:pt x="1089685" y="6743"/>
                  </a:lnTo>
                  <a:lnTo>
                    <a:pt x="1086205" y="3606"/>
                  </a:lnTo>
                  <a:lnTo>
                    <a:pt x="1083271" y="0"/>
                  </a:lnTo>
                  <a:close/>
                </a:path>
              </a:pathLst>
            </a:custGeom>
            <a:solidFill>
              <a:srgbClr val="EF3D60">
                <a:alpha val="50999"/>
              </a:srgbClr>
            </a:solidFill>
          </p:spPr>
          <p:txBody>
            <a:bodyPr wrap="square" lIns="0" tIns="0" rIns="0" bIns="0" rtlCol="0"/>
            <a:lstStyle/>
            <a:p>
              <a:endParaRPr sz="2968"/>
            </a:p>
          </p:txBody>
        </p:sp>
        <p:sp>
          <p:nvSpPr>
            <p:cNvPr id="22" name="object 20">
              <a:extLst>
                <a:ext uri="{FF2B5EF4-FFF2-40B4-BE49-F238E27FC236}">
                  <a16:creationId xmlns:a16="http://schemas.microsoft.com/office/drawing/2014/main" id="{44DAF7A3-E342-024D-A57E-79885248A44D}"/>
                </a:ext>
              </a:extLst>
            </p:cNvPr>
            <p:cNvSpPr/>
            <p:nvPr/>
          </p:nvSpPr>
          <p:spPr>
            <a:xfrm>
              <a:off x="3333543" y="4511992"/>
              <a:ext cx="95885" cy="1061085"/>
            </a:xfrm>
            <a:custGeom>
              <a:avLst/>
              <a:gdLst/>
              <a:ahLst/>
              <a:cxnLst/>
              <a:rect l="l" t="t" r="r" b="b"/>
              <a:pathLst>
                <a:path w="95885" h="1061085">
                  <a:moveTo>
                    <a:pt x="11136" y="1060068"/>
                  </a:moveTo>
                  <a:lnTo>
                    <a:pt x="5143" y="1060068"/>
                  </a:lnTo>
                  <a:lnTo>
                    <a:pt x="8166" y="1060399"/>
                  </a:lnTo>
                  <a:lnTo>
                    <a:pt x="11061" y="1061008"/>
                  </a:lnTo>
                  <a:lnTo>
                    <a:pt x="11136" y="1060068"/>
                  </a:lnTo>
                  <a:close/>
                </a:path>
                <a:path w="95885" h="1061085">
                  <a:moveTo>
                    <a:pt x="44272" y="506564"/>
                  </a:moveTo>
                  <a:lnTo>
                    <a:pt x="0" y="1060119"/>
                  </a:lnTo>
                  <a:lnTo>
                    <a:pt x="1358" y="1060068"/>
                  </a:lnTo>
                  <a:lnTo>
                    <a:pt x="11136" y="1060068"/>
                  </a:lnTo>
                  <a:lnTo>
                    <a:pt x="55016" y="511632"/>
                  </a:lnTo>
                  <a:lnTo>
                    <a:pt x="44272" y="506564"/>
                  </a:lnTo>
                  <a:close/>
                </a:path>
                <a:path w="95885" h="1061085">
                  <a:moveTo>
                    <a:pt x="84797" y="0"/>
                  </a:moveTo>
                  <a:lnTo>
                    <a:pt x="45846" y="486879"/>
                  </a:lnTo>
                  <a:lnTo>
                    <a:pt x="56591" y="491947"/>
                  </a:lnTo>
                  <a:lnTo>
                    <a:pt x="95868" y="927"/>
                  </a:lnTo>
                  <a:lnTo>
                    <a:pt x="90665" y="927"/>
                  </a:lnTo>
                  <a:lnTo>
                    <a:pt x="87680" y="609"/>
                  </a:lnTo>
                  <a:lnTo>
                    <a:pt x="84797" y="0"/>
                  </a:lnTo>
                  <a:close/>
                </a:path>
                <a:path w="95885" h="1061085">
                  <a:moveTo>
                    <a:pt x="95872" y="876"/>
                  </a:moveTo>
                  <a:lnTo>
                    <a:pt x="94449" y="927"/>
                  </a:lnTo>
                  <a:lnTo>
                    <a:pt x="95868" y="927"/>
                  </a:lnTo>
                  <a:close/>
                </a:path>
              </a:pathLst>
            </a:custGeom>
            <a:solidFill>
              <a:srgbClr val="EF3D60">
                <a:alpha val="50999"/>
              </a:srgbClr>
            </a:solidFill>
          </p:spPr>
          <p:txBody>
            <a:bodyPr wrap="square" lIns="0" tIns="0" rIns="0" bIns="0" rtlCol="0"/>
            <a:lstStyle/>
            <a:p>
              <a:endParaRPr sz="2968"/>
            </a:p>
          </p:txBody>
        </p:sp>
        <p:sp>
          <p:nvSpPr>
            <p:cNvPr id="23" name="object 21">
              <a:extLst>
                <a:ext uri="{FF2B5EF4-FFF2-40B4-BE49-F238E27FC236}">
                  <a16:creationId xmlns:a16="http://schemas.microsoft.com/office/drawing/2014/main" id="{B983349E-928F-0F4F-9343-DF714075B715}"/>
                </a:ext>
              </a:extLst>
            </p:cNvPr>
            <p:cNvSpPr/>
            <p:nvPr/>
          </p:nvSpPr>
          <p:spPr>
            <a:xfrm>
              <a:off x="2260459" y="4495961"/>
              <a:ext cx="1050290" cy="1093470"/>
            </a:xfrm>
            <a:custGeom>
              <a:avLst/>
              <a:gdLst/>
              <a:ahLst/>
              <a:cxnLst/>
              <a:rect l="l" t="t" r="r" b="b"/>
              <a:pathLst>
                <a:path w="1050289" h="1093470">
                  <a:moveTo>
                    <a:pt x="9474" y="0"/>
                  </a:moveTo>
                  <a:lnTo>
                    <a:pt x="6794" y="3479"/>
                  </a:lnTo>
                  <a:lnTo>
                    <a:pt x="3594" y="6540"/>
                  </a:lnTo>
                  <a:lnTo>
                    <a:pt x="0" y="9080"/>
                  </a:lnTo>
                  <a:lnTo>
                    <a:pt x="1040650" y="1093127"/>
                  </a:lnTo>
                  <a:lnTo>
                    <a:pt x="1043343" y="1089621"/>
                  </a:lnTo>
                  <a:lnTo>
                    <a:pt x="1046568" y="1086535"/>
                  </a:lnTo>
                  <a:lnTo>
                    <a:pt x="1050188" y="1083983"/>
                  </a:lnTo>
                  <a:lnTo>
                    <a:pt x="9740" y="126"/>
                  </a:lnTo>
                  <a:lnTo>
                    <a:pt x="9474" y="0"/>
                  </a:lnTo>
                  <a:close/>
                </a:path>
              </a:pathLst>
            </a:custGeom>
            <a:solidFill>
              <a:srgbClr val="EF3D60">
                <a:alpha val="50999"/>
              </a:srgbClr>
            </a:solidFill>
          </p:spPr>
          <p:txBody>
            <a:bodyPr wrap="square" lIns="0" tIns="0" rIns="0" bIns="0" rtlCol="0"/>
            <a:lstStyle/>
            <a:p>
              <a:endParaRPr sz="2968"/>
            </a:p>
          </p:txBody>
        </p:sp>
        <p:sp>
          <p:nvSpPr>
            <p:cNvPr id="24" name="object 22">
              <a:extLst>
                <a:ext uri="{FF2B5EF4-FFF2-40B4-BE49-F238E27FC236}">
                  <a16:creationId xmlns:a16="http://schemas.microsoft.com/office/drawing/2014/main" id="{0CA452B0-255F-C149-99E2-7702590D7910}"/>
                </a:ext>
              </a:extLst>
            </p:cNvPr>
            <p:cNvSpPr/>
            <p:nvPr/>
          </p:nvSpPr>
          <p:spPr>
            <a:xfrm>
              <a:off x="850403" y="4614142"/>
              <a:ext cx="2449830" cy="994410"/>
            </a:xfrm>
            <a:custGeom>
              <a:avLst/>
              <a:gdLst/>
              <a:ahLst/>
              <a:cxnLst/>
              <a:rect l="l" t="t" r="r" b="b"/>
              <a:pathLst>
                <a:path w="2449829" h="994410">
                  <a:moveTo>
                    <a:pt x="6908" y="0"/>
                  </a:moveTo>
                  <a:lnTo>
                    <a:pt x="5867" y="6324"/>
                  </a:lnTo>
                  <a:lnTo>
                    <a:pt x="3467" y="12179"/>
                  </a:lnTo>
                  <a:lnTo>
                    <a:pt x="0" y="17271"/>
                  </a:lnTo>
                  <a:lnTo>
                    <a:pt x="2442349" y="994232"/>
                  </a:lnTo>
                  <a:lnTo>
                    <a:pt x="2443391" y="987907"/>
                  </a:lnTo>
                  <a:lnTo>
                    <a:pt x="2445804" y="982052"/>
                  </a:lnTo>
                  <a:lnTo>
                    <a:pt x="2449258" y="976960"/>
                  </a:lnTo>
                  <a:lnTo>
                    <a:pt x="6908" y="0"/>
                  </a:lnTo>
                  <a:close/>
                </a:path>
              </a:pathLst>
            </a:custGeom>
            <a:solidFill>
              <a:srgbClr val="EF3D60">
                <a:alpha val="50999"/>
              </a:srgbClr>
            </a:solidFill>
          </p:spPr>
          <p:txBody>
            <a:bodyPr wrap="square" lIns="0" tIns="0" rIns="0" bIns="0" rtlCol="0"/>
            <a:lstStyle/>
            <a:p>
              <a:endParaRPr sz="2968"/>
            </a:p>
          </p:txBody>
        </p:sp>
        <p:sp>
          <p:nvSpPr>
            <p:cNvPr id="25" name="object 23">
              <a:extLst>
                <a:ext uri="{FF2B5EF4-FFF2-40B4-BE49-F238E27FC236}">
                  <a16:creationId xmlns:a16="http://schemas.microsoft.com/office/drawing/2014/main" id="{F5603647-A314-E04C-AAB0-ADDF1FA1C2CF}"/>
                </a:ext>
              </a:extLst>
            </p:cNvPr>
            <p:cNvSpPr/>
            <p:nvPr/>
          </p:nvSpPr>
          <p:spPr>
            <a:xfrm>
              <a:off x="3352165" y="4043403"/>
              <a:ext cx="975360" cy="1539875"/>
            </a:xfrm>
            <a:custGeom>
              <a:avLst/>
              <a:gdLst/>
              <a:ahLst/>
              <a:cxnLst/>
              <a:rect l="l" t="t" r="r" b="b"/>
              <a:pathLst>
                <a:path w="975360" h="1539875">
                  <a:moveTo>
                    <a:pt x="275805" y="1093152"/>
                  </a:moveTo>
                  <a:lnTo>
                    <a:pt x="0" y="1531937"/>
                  </a:lnTo>
                  <a:lnTo>
                    <a:pt x="4597" y="1533842"/>
                  </a:lnTo>
                  <a:lnTo>
                    <a:pt x="8788" y="1536496"/>
                  </a:lnTo>
                  <a:lnTo>
                    <a:pt x="12433" y="1539773"/>
                  </a:lnTo>
                  <a:lnTo>
                    <a:pt x="289191" y="1099464"/>
                  </a:lnTo>
                  <a:lnTo>
                    <a:pt x="275805" y="1093152"/>
                  </a:lnTo>
                  <a:close/>
                </a:path>
                <a:path w="975360" h="1539875">
                  <a:moveTo>
                    <a:pt x="463308" y="794842"/>
                  </a:moveTo>
                  <a:lnTo>
                    <a:pt x="285711" y="1077391"/>
                  </a:lnTo>
                  <a:lnTo>
                    <a:pt x="299084" y="1083703"/>
                  </a:lnTo>
                  <a:lnTo>
                    <a:pt x="474268" y="805002"/>
                  </a:lnTo>
                  <a:lnTo>
                    <a:pt x="463308" y="794842"/>
                  </a:lnTo>
                  <a:close/>
                </a:path>
                <a:path w="975360" h="1539875">
                  <a:moveTo>
                    <a:pt x="962939" y="0"/>
                  </a:moveTo>
                  <a:lnTo>
                    <a:pt x="470738" y="783043"/>
                  </a:lnTo>
                  <a:lnTo>
                    <a:pt x="481685" y="793191"/>
                  </a:lnTo>
                  <a:lnTo>
                    <a:pt x="975334" y="7810"/>
                  </a:lnTo>
                  <a:lnTo>
                    <a:pt x="970749" y="5918"/>
                  </a:lnTo>
                  <a:lnTo>
                    <a:pt x="966571" y="3251"/>
                  </a:lnTo>
                  <a:lnTo>
                    <a:pt x="962939" y="0"/>
                  </a:lnTo>
                  <a:close/>
                </a:path>
              </a:pathLst>
            </a:custGeom>
            <a:solidFill>
              <a:srgbClr val="EF3D60">
                <a:alpha val="50999"/>
              </a:srgbClr>
            </a:solidFill>
          </p:spPr>
          <p:txBody>
            <a:bodyPr wrap="square" lIns="0" tIns="0" rIns="0" bIns="0" rtlCol="0"/>
            <a:lstStyle/>
            <a:p>
              <a:endParaRPr sz="2968"/>
            </a:p>
          </p:txBody>
        </p:sp>
        <p:sp>
          <p:nvSpPr>
            <p:cNvPr id="26" name="object 24">
              <a:extLst>
                <a:ext uri="{FF2B5EF4-FFF2-40B4-BE49-F238E27FC236}">
                  <a16:creationId xmlns:a16="http://schemas.microsoft.com/office/drawing/2014/main" id="{787CE57B-0BD3-8547-9A4E-554F9E788CBE}"/>
                </a:ext>
              </a:extLst>
            </p:cNvPr>
            <p:cNvSpPr/>
            <p:nvPr/>
          </p:nvSpPr>
          <p:spPr>
            <a:xfrm>
              <a:off x="3378762" y="5620301"/>
              <a:ext cx="1243330" cy="0"/>
            </a:xfrm>
            <a:custGeom>
              <a:avLst/>
              <a:gdLst/>
              <a:ahLst/>
              <a:cxnLst/>
              <a:rect l="l" t="t" r="r" b="b"/>
              <a:pathLst>
                <a:path w="1243329">
                  <a:moveTo>
                    <a:pt x="0" y="0"/>
                  </a:moveTo>
                  <a:lnTo>
                    <a:pt x="1243030" y="0"/>
                  </a:lnTo>
                </a:path>
              </a:pathLst>
            </a:custGeom>
            <a:ln w="3175">
              <a:solidFill>
                <a:srgbClr val="EF3D60"/>
              </a:solidFill>
            </a:ln>
          </p:spPr>
          <p:txBody>
            <a:bodyPr wrap="square" lIns="0" tIns="0" rIns="0" bIns="0" rtlCol="0"/>
            <a:lstStyle/>
            <a:p>
              <a:endParaRPr sz="2968"/>
            </a:p>
          </p:txBody>
        </p:sp>
        <p:sp>
          <p:nvSpPr>
            <p:cNvPr id="27" name="object 25">
              <a:extLst>
                <a:ext uri="{FF2B5EF4-FFF2-40B4-BE49-F238E27FC236}">
                  <a16:creationId xmlns:a16="http://schemas.microsoft.com/office/drawing/2014/main" id="{3A442346-9B87-584F-A3BE-45057A453C00}"/>
                </a:ext>
              </a:extLst>
            </p:cNvPr>
            <p:cNvSpPr/>
            <p:nvPr/>
          </p:nvSpPr>
          <p:spPr>
            <a:xfrm>
              <a:off x="3378951" y="5618396"/>
              <a:ext cx="1242695" cy="0"/>
            </a:xfrm>
            <a:custGeom>
              <a:avLst/>
              <a:gdLst/>
              <a:ahLst/>
              <a:cxnLst/>
              <a:rect l="l" t="t" r="r" b="b"/>
              <a:pathLst>
                <a:path w="1242695">
                  <a:moveTo>
                    <a:pt x="0" y="0"/>
                  </a:moveTo>
                  <a:lnTo>
                    <a:pt x="1242651" y="0"/>
                  </a:lnTo>
                </a:path>
              </a:pathLst>
            </a:custGeom>
            <a:ln w="3175">
              <a:solidFill>
                <a:srgbClr val="EF3D60"/>
              </a:solidFill>
            </a:ln>
          </p:spPr>
          <p:txBody>
            <a:bodyPr wrap="square" lIns="0" tIns="0" rIns="0" bIns="0" rtlCol="0"/>
            <a:lstStyle/>
            <a:p>
              <a:endParaRPr sz="2968"/>
            </a:p>
          </p:txBody>
        </p:sp>
        <p:sp>
          <p:nvSpPr>
            <p:cNvPr id="28" name="object 26">
              <a:extLst>
                <a:ext uri="{FF2B5EF4-FFF2-40B4-BE49-F238E27FC236}">
                  <a16:creationId xmlns:a16="http://schemas.microsoft.com/office/drawing/2014/main" id="{E1FD870E-2F9D-9F4A-9764-EB89EA587018}"/>
                </a:ext>
              </a:extLst>
            </p:cNvPr>
            <p:cNvSpPr/>
            <p:nvPr/>
          </p:nvSpPr>
          <p:spPr>
            <a:xfrm>
              <a:off x="3379012" y="5615221"/>
              <a:ext cx="1242695" cy="0"/>
            </a:xfrm>
            <a:custGeom>
              <a:avLst/>
              <a:gdLst/>
              <a:ahLst/>
              <a:cxnLst/>
              <a:rect l="l" t="t" r="r" b="b"/>
              <a:pathLst>
                <a:path w="1242695">
                  <a:moveTo>
                    <a:pt x="0" y="0"/>
                  </a:moveTo>
                  <a:lnTo>
                    <a:pt x="1242529" y="0"/>
                  </a:lnTo>
                </a:path>
              </a:pathLst>
            </a:custGeom>
            <a:ln w="3809">
              <a:solidFill>
                <a:srgbClr val="EF3D60"/>
              </a:solidFill>
            </a:ln>
          </p:spPr>
          <p:txBody>
            <a:bodyPr wrap="square" lIns="0" tIns="0" rIns="0" bIns="0" rtlCol="0"/>
            <a:lstStyle/>
            <a:p>
              <a:endParaRPr sz="2968"/>
            </a:p>
          </p:txBody>
        </p:sp>
        <p:sp>
          <p:nvSpPr>
            <p:cNvPr id="29" name="object 27">
              <a:extLst>
                <a:ext uri="{FF2B5EF4-FFF2-40B4-BE49-F238E27FC236}">
                  <a16:creationId xmlns:a16="http://schemas.microsoft.com/office/drawing/2014/main" id="{2A7277FE-F592-654E-939D-852597E7DDFC}"/>
                </a:ext>
              </a:extLst>
            </p:cNvPr>
            <p:cNvSpPr/>
            <p:nvPr/>
          </p:nvSpPr>
          <p:spPr>
            <a:xfrm>
              <a:off x="3378958" y="5612681"/>
              <a:ext cx="1242695" cy="0"/>
            </a:xfrm>
            <a:custGeom>
              <a:avLst/>
              <a:gdLst/>
              <a:ahLst/>
              <a:cxnLst/>
              <a:rect l="l" t="t" r="r" b="b"/>
              <a:pathLst>
                <a:path w="1242695">
                  <a:moveTo>
                    <a:pt x="0" y="0"/>
                  </a:moveTo>
                  <a:lnTo>
                    <a:pt x="1242638" y="0"/>
                  </a:lnTo>
                </a:path>
              </a:pathLst>
            </a:custGeom>
            <a:ln w="3175">
              <a:solidFill>
                <a:srgbClr val="EF3D60"/>
              </a:solidFill>
            </a:ln>
          </p:spPr>
          <p:txBody>
            <a:bodyPr wrap="square" lIns="0" tIns="0" rIns="0" bIns="0" rtlCol="0"/>
            <a:lstStyle/>
            <a:p>
              <a:endParaRPr sz="2968"/>
            </a:p>
          </p:txBody>
        </p:sp>
        <p:sp>
          <p:nvSpPr>
            <p:cNvPr id="30" name="object 28">
              <a:extLst>
                <a:ext uri="{FF2B5EF4-FFF2-40B4-BE49-F238E27FC236}">
                  <a16:creationId xmlns:a16="http://schemas.microsoft.com/office/drawing/2014/main" id="{B64CE7CF-D16E-094F-ADBD-209E3DF619EB}"/>
                </a:ext>
              </a:extLst>
            </p:cNvPr>
            <p:cNvSpPr/>
            <p:nvPr/>
          </p:nvSpPr>
          <p:spPr>
            <a:xfrm>
              <a:off x="3378779" y="5610776"/>
              <a:ext cx="1243330" cy="0"/>
            </a:xfrm>
            <a:custGeom>
              <a:avLst/>
              <a:gdLst/>
              <a:ahLst/>
              <a:cxnLst/>
              <a:rect l="l" t="t" r="r" b="b"/>
              <a:pathLst>
                <a:path w="1243329">
                  <a:moveTo>
                    <a:pt x="0" y="0"/>
                  </a:moveTo>
                  <a:lnTo>
                    <a:pt x="1242996" y="0"/>
                  </a:lnTo>
                </a:path>
              </a:pathLst>
            </a:custGeom>
            <a:ln w="3175">
              <a:solidFill>
                <a:srgbClr val="EF3D60"/>
              </a:solidFill>
            </a:ln>
          </p:spPr>
          <p:txBody>
            <a:bodyPr wrap="square" lIns="0" tIns="0" rIns="0" bIns="0" rtlCol="0"/>
            <a:lstStyle/>
            <a:p>
              <a:endParaRPr sz="2968"/>
            </a:p>
          </p:txBody>
        </p:sp>
        <p:sp>
          <p:nvSpPr>
            <p:cNvPr id="31" name="object 29">
              <a:extLst>
                <a:ext uri="{FF2B5EF4-FFF2-40B4-BE49-F238E27FC236}">
                  <a16:creationId xmlns:a16="http://schemas.microsoft.com/office/drawing/2014/main" id="{838D775B-8DF3-8B43-A672-D01AD30B1AC3}"/>
                </a:ext>
              </a:extLst>
            </p:cNvPr>
            <p:cNvSpPr/>
            <p:nvPr/>
          </p:nvSpPr>
          <p:spPr>
            <a:xfrm>
              <a:off x="4705336" y="5158054"/>
              <a:ext cx="2074545" cy="450850"/>
            </a:xfrm>
            <a:custGeom>
              <a:avLst/>
              <a:gdLst/>
              <a:ahLst/>
              <a:cxnLst/>
              <a:rect l="l" t="t" r="r" b="b"/>
              <a:pathLst>
                <a:path w="2074545" h="450850">
                  <a:moveTo>
                    <a:pt x="1312125" y="161404"/>
                  </a:moveTo>
                  <a:lnTo>
                    <a:pt x="1854" y="440194"/>
                  </a:lnTo>
                  <a:lnTo>
                    <a:pt x="0" y="441439"/>
                  </a:lnTo>
                  <a:lnTo>
                    <a:pt x="1104" y="444233"/>
                  </a:lnTo>
                  <a:lnTo>
                    <a:pt x="1943" y="447192"/>
                  </a:lnTo>
                  <a:lnTo>
                    <a:pt x="2451" y="450240"/>
                  </a:lnTo>
                  <a:lnTo>
                    <a:pt x="32321" y="450240"/>
                  </a:lnTo>
                  <a:lnTo>
                    <a:pt x="1331595" y="173799"/>
                  </a:lnTo>
                  <a:lnTo>
                    <a:pt x="1312125" y="161404"/>
                  </a:lnTo>
                  <a:close/>
                </a:path>
                <a:path w="2074545" h="450850">
                  <a:moveTo>
                    <a:pt x="1365097" y="150139"/>
                  </a:moveTo>
                  <a:lnTo>
                    <a:pt x="1335951" y="156337"/>
                  </a:lnTo>
                  <a:lnTo>
                    <a:pt x="1355420" y="168732"/>
                  </a:lnTo>
                  <a:lnTo>
                    <a:pt x="1382369" y="162991"/>
                  </a:lnTo>
                  <a:lnTo>
                    <a:pt x="1365097" y="150139"/>
                  </a:lnTo>
                  <a:close/>
                </a:path>
                <a:path w="2074545" h="450850">
                  <a:moveTo>
                    <a:pt x="1540179" y="112877"/>
                  </a:moveTo>
                  <a:lnTo>
                    <a:pt x="1389138" y="145021"/>
                  </a:lnTo>
                  <a:lnTo>
                    <a:pt x="1406398" y="157873"/>
                  </a:lnTo>
                  <a:lnTo>
                    <a:pt x="1550377" y="127254"/>
                  </a:lnTo>
                  <a:lnTo>
                    <a:pt x="1540179" y="112877"/>
                  </a:lnTo>
                  <a:close/>
                </a:path>
                <a:path w="2074545" h="450850">
                  <a:moveTo>
                    <a:pt x="1584972" y="103352"/>
                  </a:moveTo>
                  <a:lnTo>
                    <a:pt x="1555013" y="109728"/>
                  </a:lnTo>
                  <a:lnTo>
                    <a:pt x="1565198" y="124091"/>
                  </a:lnTo>
                  <a:lnTo>
                    <a:pt x="1593329" y="118110"/>
                  </a:lnTo>
                  <a:lnTo>
                    <a:pt x="1584972" y="103352"/>
                  </a:lnTo>
                  <a:close/>
                </a:path>
                <a:path w="2074545" h="450850">
                  <a:moveTo>
                    <a:pt x="1901342" y="36042"/>
                  </a:moveTo>
                  <a:lnTo>
                    <a:pt x="1598485" y="100469"/>
                  </a:lnTo>
                  <a:lnTo>
                    <a:pt x="1606842" y="115227"/>
                  </a:lnTo>
                  <a:lnTo>
                    <a:pt x="1896554" y="53594"/>
                  </a:lnTo>
                  <a:lnTo>
                    <a:pt x="1901342" y="36042"/>
                  </a:lnTo>
                  <a:close/>
                </a:path>
                <a:path w="2074545" h="450850">
                  <a:moveTo>
                    <a:pt x="2070722" y="0"/>
                  </a:moveTo>
                  <a:lnTo>
                    <a:pt x="1915756" y="32969"/>
                  </a:lnTo>
                  <a:lnTo>
                    <a:pt x="1910969" y="50520"/>
                  </a:lnTo>
                  <a:lnTo>
                    <a:pt x="2074062" y="15824"/>
                  </a:lnTo>
                  <a:lnTo>
                    <a:pt x="2072017" y="10934"/>
                  </a:lnTo>
                  <a:lnTo>
                    <a:pt x="2070836" y="5600"/>
                  </a:lnTo>
                  <a:lnTo>
                    <a:pt x="2070722" y="0"/>
                  </a:lnTo>
                  <a:close/>
                </a:path>
              </a:pathLst>
            </a:custGeom>
            <a:solidFill>
              <a:srgbClr val="EF3D60">
                <a:alpha val="50999"/>
              </a:srgbClr>
            </a:solidFill>
          </p:spPr>
          <p:txBody>
            <a:bodyPr wrap="square" lIns="0" tIns="0" rIns="0" bIns="0" rtlCol="0"/>
            <a:lstStyle/>
            <a:p>
              <a:endParaRPr sz="2968"/>
            </a:p>
          </p:txBody>
        </p:sp>
        <p:sp>
          <p:nvSpPr>
            <p:cNvPr id="32" name="object 30">
              <a:extLst>
                <a:ext uri="{FF2B5EF4-FFF2-40B4-BE49-F238E27FC236}">
                  <a16:creationId xmlns:a16="http://schemas.microsoft.com/office/drawing/2014/main" id="{270BB310-9FEF-274C-BA5D-9B50E578B419}"/>
                </a:ext>
              </a:extLst>
            </p:cNvPr>
            <p:cNvSpPr/>
            <p:nvPr/>
          </p:nvSpPr>
          <p:spPr>
            <a:xfrm>
              <a:off x="4680717" y="4228129"/>
              <a:ext cx="793750" cy="1349375"/>
            </a:xfrm>
            <a:custGeom>
              <a:avLst/>
              <a:gdLst/>
              <a:ahLst/>
              <a:cxnLst/>
              <a:rect l="l" t="t" r="r" b="b"/>
              <a:pathLst>
                <a:path w="793750" h="1349375">
                  <a:moveTo>
                    <a:pt x="468985" y="539127"/>
                  </a:moveTo>
                  <a:lnTo>
                    <a:pt x="0" y="1346885"/>
                  </a:lnTo>
                  <a:lnTo>
                    <a:pt x="1663" y="1347533"/>
                  </a:lnTo>
                  <a:lnTo>
                    <a:pt x="3263" y="1348270"/>
                  </a:lnTo>
                  <a:lnTo>
                    <a:pt x="4825" y="1349108"/>
                  </a:lnTo>
                  <a:lnTo>
                    <a:pt x="43865" y="1298194"/>
                  </a:lnTo>
                  <a:lnTo>
                    <a:pt x="480377" y="546379"/>
                  </a:lnTo>
                  <a:lnTo>
                    <a:pt x="468985" y="539127"/>
                  </a:lnTo>
                  <a:close/>
                </a:path>
                <a:path w="793750" h="1349375">
                  <a:moveTo>
                    <a:pt x="527634" y="438099"/>
                  </a:moveTo>
                  <a:lnTo>
                    <a:pt x="477558" y="524357"/>
                  </a:lnTo>
                  <a:lnTo>
                    <a:pt x="488950" y="531609"/>
                  </a:lnTo>
                  <a:lnTo>
                    <a:pt x="538530" y="446214"/>
                  </a:lnTo>
                  <a:lnTo>
                    <a:pt x="527634" y="438099"/>
                  </a:lnTo>
                  <a:close/>
                </a:path>
                <a:path w="793750" h="1349375">
                  <a:moveTo>
                    <a:pt x="782002" y="0"/>
                  </a:moveTo>
                  <a:lnTo>
                    <a:pt x="536981" y="422020"/>
                  </a:lnTo>
                  <a:lnTo>
                    <a:pt x="547878" y="430123"/>
                  </a:lnTo>
                  <a:lnTo>
                    <a:pt x="793648" y="6794"/>
                  </a:lnTo>
                  <a:lnTo>
                    <a:pt x="789406" y="5143"/>
                  </a:lnTo>
                  <a:lnTo>
                    <a:pt x="785482" y="2832"/>
                  </a:lnTo>
                  <a:lnTo>
                    <a:pt x="782002" y="0"/>
                  </a:lnTo>
                  <a:close/>
                </a:path>
              </a:pathLst>
            </a:custGeom>
            <a:solidFill>
              <a:srgbClr val="EF3D60">
                <a:alpha val="50999"/>
              </a:srgbClr>
            </a:solidFill>
          </p:spPr>
          <p:txBody>
            <a:bodyPr wrap="square" lIns="0" tIns="0" rIns="0" bIns="0" rtlCol="0"/>
            <a:lstStyle/>
            <a:p>
              <a:endParaRPr sz="2968"/>
            </a:p>
          </p:txBody>
        </p:sp>
        <p:sp>
          <p:nvSpPr>
            <p:cNvPr id="33" name="object 31">
              <a:extLst>
                <a:ext uri="{FF2B5EF4-FFF2-40B4-BE49-F238E27FC236}">
                  <a16:creationId xmlns:a16="http://schemas.microsoft.com/office/drawing/2014/main" id="{E9149877-0396-294D-8C7E-062C09DEC4A9}"/>
                </a:ext>
              </a:extLst>
            </p:cNvPr>
            <p:cNvSpPr/>
            <p:nvPr/>
          </p:nvSpPr>
          <p:spPr>
            <a:xfrm>
              <a:off x="4656894" y="3457871"/>
              <a:ext cx="16510" cy="2115185"/>
            </a:xfrm>
            <a:custGeom>
              <a:avLst/>
              <a:gdLst/>
              <a:ahLst/>
              <a:cxnLst/>
              <a:rect l="l" t="t" r="r" b="b"/>
              <a:pathLst>
                <a:path w="16510" h="2115185">
                  <a:moveTo>
                    <a:pt x="0" y="995794"/>
                  </a:moveTo>
                  <a:lnTo>
                    <a:pt x="0" y="2059177"/>
                  </a:lnTo>
                  <a:lnTo>
                    <a:pt x="7861" y="2114194"/>
                  </a:lnTo>
                  <a:lnTo>
                    <a:pt x="10820" y="2114194"/>
                  </a:lnTo>
                  <a:lnTo>
                    <a:pt x="13525" y="2114448"/>
                  </a:lnTo>
                  <a:lnTo>
                    <a:pt x="16141" y="2114943"/>
                  </a:lnTo>
                  <a:lnTo>
                    <a:pt x="16141" y="1006055"/>
                  </a:lnTo>
                  <a:lnTo>
                    <a:pt x="0" y="995794"/>
                  </a:lnTo>
                  <a:close/>
                </a:path>
                <a:path w="16510" h="2115185">
                  <a:moveTo>
                    <a:pt x="0" y="797699"/>
                  </a:moveTo>
                  <a:lnTo>
                    <a:pt x="0" y="975563"/>
                  </a:lnTo>
                  <a:lnTo>
                    <a:pt x="16141" y="985824"/>
                  </a:lnTo>
                  <a:lnTo>
                    <a:pt x="16141" y="809713"/>
                  </a:lnTo>
                  <a:lnTo>
                    <a:pt x="0" y="797699"/>
                  </a:lnTo>
                  <a:close/>
                </a:path>
                <a:path w="16510" h="2115185">
                  <a:moveTo>
                    <a:pt x="0" y="0"/>
                  </a:moveTo>
                  <a:lnTo>
                    <a:pt x="0" y="774649"/>
                  </a:lnTo>
                  <a:lnTo>
                    <a:pt x="16141" y="786663"/>
                  </a:lnTo>
                  <a:lnTo>
                    <a:pt x="16141" y="749"/>
                  </a:lnTo>
                  <a:lnTo>
                    <a:pt x="5308" y="749"/>
                  </a:lnTo>
                  <a:lnTo>
                    <a:pt x="2616" y="495"/>
                  </a:lnTo>
                  <a:lnTo>
                    <a:pt x="0" y="0"/>
                  </a:lnTo>
                  <a:close/>
                </a:path>
                <a:path w="16510" h="2115185">
                  <a:moveTo>
                    <a:pt x="16141" y="0"/>
                  </a:moveTo>
                  <a:lnTo>
                    <a:pt x="13525" y="495"/>
                  </a:lnTo>
                  <a:lnTo>
                    <a:pt x="10820" y="749"/>
                  </a:lnTo>
                  <a:lnTo>
                    <a:pt x="16141" y="749"/>
                  </a:lnTo>
                  <a:lnTo>
                    <a:pt x="16141" y="0"/>
                  </a:lnTo>
                  <a:close/>
                </a:path>
              </a:pathLst>
            </a:custGeom>
            <a:solidFill>
              <a:srgbClr val="EF3D60">
                <a:alpha val="50999"/>
              </a:srgbClr>
            </a:solidFill>
          </p:spPr>
          <p:txBody>
            <a:bodyPr wrap="square" lIns="0" tIns="0" rIns="0" bIns="0" rtlCol="0"/>
            <a:lstStyle/>
            <a:p>
              <a:endParaRPr sz="2968"/>
            </a:p>
          </p:txBody>
        </p:sp>
        <p:sp>
          <p:nvSpPr>
            <p:cNvPr id="34" name="object 32">
              <a:extLst>
                <a:ext uri="{FF2B5EF4-FFF2-40B4-BE49-F238E27FC236}">
                  <a16:creationId xmlns:a16="http://schemas.microsoft.com/office/drawing/2014/main" id="{B6ED3130-5078-5849-B5CB-6E37ACFC5F3A}"/>
                </a:ext>
              </a:extLst>
            </p:cNvPr>
            <p:cNvSpPr/>
            <p:nvPr/>
          </p:nvSpPr>
          <p:spPr>
            <a:xfrm>
              <a:off x="4696546" y="4118774"/>
              <a:ext cx="2185035" cy="1480820"/>
            </a:xfrm>
            <a:custGeom>
              <a:avLst/>
              <a:gdLst/>
              <a:ahLst/>
              <a:cxnLst/>
              <a:rect l="l" t="t" r="r" b="b"/>
              <a:pathLst>
                <a:path w="2185034" h="1480820">
                  <a:moveTo>
                    <a:pt x="842949" y="896531"/>
                  </a:moveTo>
                  <a:lnTo>
                    <a:pt x="4267" y="1461363"/>
                  </a:lnTo>
                  <a:lnTo>
                    <a:pt x="0" y="1466926"/>
                  </a:lnTo>
                  <a:lnTo>
                    <a:pt x="3746" y="1470888"/>
                  </a:lnTo>
                  <a:lnTo>
                    <a:pt x="6743" y="1475562"/>
                  </a:lnTo>
                  <a:lnTo>
                    <a:pt x="8788" y="1480718"/>
                  </a:lnTo>
                  <a:lnTo>
                    <a:pt x="860044" y="907415"/>
                  </a:lnTo>
                  <a:lnTo>
                    <a:pt x="842949" y="896531"/>
                  </a:lnTo>
                  <a:close/>
                </a:path>
                <a:path w="2185034" h="1480820">
                  <a:moveTo>
                    <a:pt x="915212" y="847864"/>
                  </a:moveTo>
                  <a:lnTo>
                    <a:pt x="858393" y="886129"/>
                  </a:lnTo>
                  <a:lnTo>
                    <a:pt x="875499" y="897013"/>
                  </a:lnTo>
                  <a:lnTo>
                    <a:pt x="931011" y="859624"/>
                  </a:lnTo>
                  <a:lnTo>
                    <a:pt x="915212" y="847864"/>
                  </a:lnTo>
                  <a:close/>
                </a:path>
                <a:path w="2185034" h="1480820">
                  <a:moveTo>
                    <a:pt x="1197889" y="657491"/>
                  </a:moveTo>
                  <a:lnTo>
                    <a:pt x="931456" y="836930"/>
                  </a:lnTo>
                  <a:lnTo>
                    <a:pt x="947254" y="848677"/>
                  </a:lnTo>
                  <a:lnTo>
                    <a:pt x="1208646" y="672630"/>
                  </a:lnTo>
                  <a:lnTo>
                    <a:pt x="1197889" y="657491"/>
                  </a:lnTo>
                  <a:close/>
                </a:path>
                <a:path w="2185034" h="1480820">
                  <a:moveTo>
                    <a:pt x="1285430" y="598538"/>
                  </a:moveTo>
                  <a:lnTo>
                    <a:pt x="1209446" y="649706"/>
                  </a:lnTo>
                  <a:lnTo>
                    <a:pt x="1220203" y="664845"/>
                  </a:lnTo>
                  <a:lnTo>
                    <a:pt x="1294612" y="614730"/>
                  </a:lnTo>
                  <a:lnTo>
                    <a:pt x="1285430" y="598538"/>
                  </a:lnTo>
                  <a:close/>
                </a:path>
                <a:path w="2185034" h="1480820">
                  <a:moveTo>
                    <a:pt x="1483626" y="465048"/>
                  </a:moveTo>
                  <a:lnTo>
                    <a:pt x="1296416" y="591134"/>
                  </a:lnTo>
                  <a:lnTo>
                    <a:pt x="1305585" y="607339"/>
                  </a:lnTo>
                  <a:lnTo>
                    <a:pt x="1501952" y="475107"/>
                  </a:lnTo>
                  <a:lnTo>
                    <a:pt x="1483626" y="465048"/>
                  </a:lnTo>
                  <a:close/>
                </a:path>
                <a:path w="2185034" h="1480820">
                  <a:moveTo>
                    <a:pt x="1533601" y="431393"/>
                  </a:moveTo>
                  <a:lnTo>
                    <a:pt x="1500784" y="453504"/>
                  </a:lnTo>
                  <a:lnTo>
                    <a:pt x="1519085" y="463550"/>
                  </a:lnTo>
                  <a:lnTo>
                    <a:pt x="1551355" y="441820"/>
                  </a:lnTo>
                  <a:lnTo>
                    <a:pt x="1533601" y="431393"/>
                  </a:lnTo>
                  <a:close/>
                </a:path>
                <a:path w="2185034" h="1480820">
                  <a:moveTo>
                    <a:pt x="2174163" y="0"/>
                  </a:moveTo>
                  <a:lnTo>
                    <a:pt x="1549514" y="420687"/>
                  </a:lnTo>
                  <a:lnTo>
                    <a:pt x="1567268" y="431101"/>
                  </a:lnTo>
                  <a:lnTo>
                    <a:pt x="2184552" y="15379"/>
                  </a:lnTo>
                  <a:lnTo>
                    <a:pt x="2180069" y="11099"/>
                  </a:lnTo>
                  <a:lnTo>
                    <a:pt x="2176487" y="5854"/>
                  </a:lnTo>
                  <a:lnTo>
                    <a:pt x="2174163" y="0"/>
                  </a:lnTo>
                  <a:close/>
                </a:path>
              </a:pathLst>
            </a:custGeom>
            <a:solidFill>
              <a:srgbClr val="EF3D60">
                <a:alpha val="50999"/>
              </a:srgbClr>
            </a:solidFill>
          </p:spPr>
          <p:txBody>
            <a:bodyPr wrap="square" lIns="0" tIns="0" rIns="0" bIns="0" rtlCol="0"/>
            <a:lstStyle/>
            <a:p>
              <a:endParaRPr sz="2968"/>
            </a:p>
          </p:txBody>
        </p:sp>
        <p:sp>
          <p:nvSpPr>
            <p:cNvPr id="35" name="object 33">
              <a:extLst>
                <a:ext uri="{FF2B5EF4-FFF2-40B4-BE49-F238E27FC236}">
                  <a16:creationId xmlns:a16="http://schemas.microsoft.com/office/drawing/2014/main" id="{AF59DD0E-0568-0443-BFE5-48CAAB4841A9}"/>
                </a:ext>
              </a:extLst>
            </p:cNvPr>
            <p:cNvSpPr/>
            <p:nvPr/>
          </p:nvSpPr>
          <p:spPr>
            <a:xfrm>
              <a:off x="4685539" y="4270073"/>
              <a:ext cx="1013460" cy="1315720"/>
            </a:xfrm>
            <a:custGeom>
              <a:avLst/>
              <a:gdLst/>
              <a:ahLst/>
              <a:cxnLst/>
              <a:rect l="l" t="t" r="r" b="b"/>
              <a:pathLst>
                <a:path w="1013460" h="1315720">
                  <a:moveTo>
                    <a:pt x="569544" y="564248"/>
                  </a:moveTo>
                  <a:lnTo>
                    <a:pt x="0" y="1307172"/>
                  </a:lnTo>
                  <a:lnTo>
                    <a:pt x="4114" y="1309382"/>
                  </a:lnTo>
                  <a:lnTo>
                    <a:pt x="7835" y="1312252"/>
                  </a:lnTo>
                  <a:lnTo>
                    <a:pt x="11010" y="1315618"/>
                  </a:lnTo>
                  <a:lnTo>
                    <a:pt x="581329" y="571741"/>
                  </a:lnTo>
                  <a:lnTo>
                    <a:pt x="569544" y="564248"/>
                  </a:lnTo>
                  <a:close/>
                </a:path>
                <a:path w="1013460" h="1315720">
                  <a:moveTo>
                    <a:pt x="634593" y="479386"/>
                  </a:moveTo>
                  <a:lnTo>
                    <a:pt x="579970" y="550646"/>
                  </a:lnTo>
                  <a:lnTo>
                    <a:pt x="591743" y="558139"/>
                  </a:lnTo>
                  <a:lnTo>
                    <a:pt x="645756" y="487705"/>
                  </a:lnTo>
                  <a:lnTo>
                    <a:pt x="634593" y="479386"/>
                  </a:lnTo>
                  <a:close/>
                </a:path>
                <a:path w="1013460" h="1315720">
                  <a:moveTo>
                    <a:pt x="922947" y="103263"/>
                  </a:moveTo>
                  <a:lnTo>
                    <a:pt x="645833" y="464731"/>
                  </a:lnTo>
                  <a:lnTo>
                    <a:pt x="656996" y="473036"/>
                  </a:lnTo>
                  <a:lnTo>
                    <a:pt x="931379" y="115150"/>
                  </a:lnTo>
                  <a:lnTo>
                    <a:pt x="922947" y="103263"/>
                  </a:lnTo>
                  <a:close/>
                </a:path>
                <a:path w="1013460" h="1315720">
                  <a:moveTo>
                    <a:pt x="978725" y="30505"/>
                  </a:moveTo>
                  <a:lnTo>
                    <a:pt x="931811" y="91681"/>
                  </a:lnTo>
                  <a:lnTo>
                    <a:pt x="940244" y="103568"/>
                  </a:lnTo>
                  <a:lnTo>
                    <a:pt x="991069" y="37287"/>
                  </a:lnTo>
                  <a:lnTo>
                    <a:pt x="978725" y="30505"/>
                  </a:lnTo>
                  <a:close/>
                </a:path>
                <a:path w="1013460" h="1315720">
                  <a:moveTo>
                    <a:pt x="1002118" y="0"/>
                  </a:moveTo>
                  <a:lnTo>
                    <a:pt x="990041" y="15748"/>
                  </a:lnTo>
                  <a:lnTo>
                    <a:pt x="1002385" y="22517"/>
                  </a:lnTo>
                  <a:lnTo>
                    <a:pt x="1013167" y="8470"/>
                  </a:lnTo>
                  <a:lnTo>
                    <a:pt x="1009027" y="6248"/>
                  </a:lnTo>
                  <a:lnTo>
                    <a:pt x="1005306" y="3378"/>
                  </a:lnTo>
                  <a:lnTo>
                    <a:pt x="1002118" y="0"/>
                  </a:lnTo>
                  <a:close/>
                </a:path>
              </a:pathLst>
            </a:custGeom>
            <a:solidFill>
              <a:srgbClr val="EF3D60">
                <a:alpha val="50999"/>
              </a:srgbClr>
            </a:solidFill>
          </p:spPr>
          <p:txBody>
            <a:bodyPr wrap="square" lIns="0" tIns="0" rIns="0" bIns="0" rtlCol="0"/>
            <a:lstStyle/>
            <a:p>
              <a:endParaRPr sz="2968"/>
            </a:p>
          </p:txBody>
        </p:sp>
        <p:sp>
          <p:nvSpPr>
            <p:cNvPr id="36" name="object 34">
              <a:extLst>
                <a:ext uri="{FF2B5EF4-FFF2-40B4-BE49-F238E27FC236}">
                  <a16:creationId xmlns:a16="http://schemas.microsoft.com/office/drawing/2014/main" id="{840821E1-1369-1546-8AB6-AE85216924E2}"/>
                </a:ext>
              </a:extLst>
            </p:cNvPr>
            <p:cNvSpPr/>
            <p:nvPr/>
          </p:nvSpPr>
          <p:spPr>
            <a:xfrm>
              <a:off x="4481818" y="4373754"/>
              <a:ext cx="183515" cy="1198880"/>
            </a:xfrm>
            <a:custGeom>
              <a:avLst/>
              <a:gdLst/>
              <a:ahLst/>
              <a:cxnLst/>
              <a:rect l="l" t="t" r="r" b="b"/>
              <a:pathLst>
                <a:path w="183514" h="1198879">
                  <a:moveTo>
                    <a:pt x="11684" y="0"/>
                  </a:moveTo>
                  <a:lnTo>
                    <a:pt x="7975" y="1054"/>
                  </a:lnTo>
                  <a:lnTo>
                    <a:pt x="4051" y="1625"/>
                  </a:lnTo>
                  <a:lnTo>
                    <a:pt x="0" y="1638"/>
                  </a:lnTo>
                  <a:lnTo>
                    <a:pt x="145046" y="1016850"/>
                  </a:lnTo>
                  <a:lnTo>
                    <a:pt x="181343" y="1198346"/>
                  </a:lnTo>
                  <a:lnTo>
                    <a:pt x="182397" y="1198308"/>
                  </a:lnTo>
                  <a:lnTo>
                    <a:pt x="182943" y="1198308"/>
                  </a:lnTo>
                  <a:lnTo>
                    <a:pt x="175069" y="1143304"/>
                  </a:lnTo>
                  <a:lnTo>
                    <a:pt x="11684" y="0"/>
                  </a:lnTo>
                  <a:close/>
                </a:path>
              </a:pathLst>
            </a:custGeom>
            <a:solidFill>
              <a:srgbClr val="EF3D60">
                <a:alpha val="50999"/>
              </a:srgbClr>
            </a:solidFill>
          </p:spPr>
          <p:txBody>
            <a:bodyPr wrap="square" lIns="0" tIns="0" rIns="0" bIns="0" rtlCol="0"/>
            <a:lstStyle/>
            <a:p>
              <a:endParaRPr sz="2968"/>
            </a:p>
          </p:txBody>
        </p:sp>
        <p:sp>
          <p:nvSpPr>
            <p:cNvPr id="37" name="object 35">
              <a:extLst>
                <a:ext uri="{FF2B5EF4-FFF2-40B4-BE49-F238E27FC236}">
                  <a16:creationId xmlns:a16="http://schemas.microsoft.com/office/drawing/2014/main" id="{66B17ED2-7698-2E40-9A31-18EAE06E8609}"/>
                </a:ext>
              </a:extLst>
            </p:cNvPr>
            <p:cNvSpPr/>
            <p:nvPr/>
          </p:nvSpPr>
          <p:spPr>
            <a:xfrm>
              <a:off x="3454104" y="4493583"/>
              <a:ext cx="1184275" cy="1096010"/>
            </a:xfrm>
            <a:custGeom>
              <a:avLst/>
              <a:gdLst/>
              <a:ahLst/>
              <a:cxnLst/>
              <a:rect l="l" t="t" r="r" b="b"/>
              <a:pathLst>
                <a:path w="1184275" h="1096010">
                  <a:moveTo>
                    <a:pt x="9309" y="0"/>
                  </a:moveTo>
                  <a:lnTo>
                    <a:pt x="6756" y="3835"/>
                  </a:lnTo>
                  <a:lnTo>
                    <a:pt x="3606" y="7226"/>
                  </a:lnTo>
                  <a:lnTo>
                    <a:pt x="0" y="10071"/>
                  </a:lnTo>
                  <a:lnTo>
                    <a:pt x="1167866" y="1091387"/>
                  </a:lnTo>
                  <a:lnTo>
                    <a:pt x="1176439" y="1095438"/>
                  </a:lnTo>
                  <a:lnTo>
                    <a:pt x="1178636" y="1092568"/>
                  </a:lnTo>
                  <a:lnTo>
                    <a:pt x="1181214" y="1089977"/>
                  </a:lnTo>
                  <a:lnTo>
                    <a:pt x="1184059" y="1087742"/>
                  </a:lnTo>
                  <a:lnTo>
                    <a:pt x="9309" y="0"/>
                  </a:lnTo>
                  <a:close/>
                </a:path>
              </a:pathLst>
            </a:custGeom>
            <a:solidFill>
              <a:srgbClr val="EF3D60">
                <a:alpha val="50999"/>
              </a:srgbClr>
            </a:solidFill>
          </p:spPr>
          <p:txBody>
            <a:bodyPr wrap="square" lIns="0" tIns="0" rIns="0" bIns="0" rtlCol="0"/>
            <a:lstStyle/>
            <a:p>
              <a:endParaRPr sz="2968"/>
            </a:p>
          </p:txBody>
        </p:sp>
        <p:sp>
          <p:nvSpPr>
            <p:cNvPr id="38" name="object 36">
              <a:extLst>
                <a:ext uri="{FF2B5EF4-FFF2-40B4-BE49-F238E27FC236}">
                  <a16:creationId xmlns:a16="http://schemas.microsoft.com/office/drawing/2014/main" id="{C719EFF4-B23B-F641-9652-6449659406B8}"/>
                </a:ext>
              </a:extLst>
            </p:cNvPr>
            <p:cNvSpPr/>
            <p:nvPr/>
          </p:nvSpPr>
          <p:spPr>
            <a:xfrm>
              <a:off x="2269930" y="4479267"/>
              <a:ext cx="2360930" cy="1126490"/>
            </a:xfrm>
            <a:custGeom>
              <a:avLst/>
              <a:gdLst/>
              <a:ahLst/>
              <a:cxnLst/>
              <a:rect l="l" t="t" r="r" b="b"/>
              <a:pathLst>
                <a:path w="2360929" h="1126489">
                  <a:moveTo>
                    <a:pt x="7886" y="0"/>
                  </a:moveTo>
                  <a:lnTo>
                    <a:pt x="6464" y="6172"/>
                  </a:lnTo>
                  <a:lnTo>
                    <a:pt x="3733" y="11836"/>
                  </a:lnTo>
                  <a:lnTo>
                    <a:pt x="0" y="16687"/>
                  </a:lnTo>
                  <a:lnTo>
                    <a:pt x="2352713" y="1126477"/>
                  </a:lnTo>
                  <a:lnTo>
                    <a:pt x="2354122" y="1120292"/>
                  </a:lnTo>
                  <a:lnTo>
                    <a:pt x="2356853" y="1114615"/>
                  </a:lnTo>
                  <a:lnTo>
                    <a:pt x="2360612" y="1109751"/>
                  </a:lnTo>
                  <a:lnTo>
                    <a:pt x="7886" y="0"/>
                  </a:lnTo>
                  <a:close/>
                </a:path>
              </a:pathLst>
            </a:custGeom>
            <a:solidFill>
              <a:srgbClr val="EF3D60">
                <a:alpha val="50999"/>
              </a:srgbClr>
            </a:solidFill>
          </p:spPr>
          <p:txBody>
            <a:bodyPr wrap="square" lIns="0" tIns="0" rIns="0" bIns="0" rtlCol="0"/>
            <a:lstStyle/>
            <a:p>
              <a:endParaRPr sz="2968"/>
            </a:p>
          </p:txBody>
        </p:sp>
        <p:sp>
          <p:nvSpPr>
            <p:cNvPr id="39" name="object 37">
              <a:extLst>
                <a:ext uri="{FF2B5EF4-FFF2-40B4-BE49-F238E27FC236}">
                  <a16:creationId xmlns:a16="http://schemas.microsoft.com/office/drawing/2014/main" id="{DD6A556F-3F76-7046-B735-88F100BBF42C}"/>
                </a:ext>
              </a:extLst>
            </p:cNvPr>
            <p:cNvSpPr/>
            <p:nvPr/>
          </p:nvSpPr>
          <p:spPr>
            <a:xfrm>
              <a:off x="4345912" y="4051844"/>
              <a:ext cx="317500" cy="1523365"/>
            </a:xfrm>
            <a:custGeom>
              <a:avLst/>
              <a:gdLst/>
              <a:ahLst/>
              <a:cxnLst/>
              <a:rect l="l" t="t" r="r" b="b"/>
              <a:pathLst>
                <a:path w="317500" h="1523364">
                  <a:moveTo>
                    <a:pt x="13195" y="0"/>
                  </a:moveTo>
                  <a:lnTo>
                    <a:pt x="9055" y="1524"/>
                  </a:lnTo>
                  <a:lnTo>
                    <a:pt x="4622" y="2438"/>
                  </a:lnTo>
                  <a:lnTo>
                    <a:pt x="0" y="2616"/>
                  </a:lnTo>
                  <a:lnTo>
                    <a:pt x="304025" y="1522895"/>
                  </a:lnTo>
                  <a:lnTo>
                    <a:pt x="308178" y="1521358"/>
                  </a:lnTo>
                  <a:lnTo>
                    <a:pt x="312610" y="1520444"/>
                  </a:lnTo>
                  <a:lnTo>
                    <a:pt x="317245" y="1520253"/>
                  </a:lnTo>
                  <a:lnTo>
                    <a:pt x="13195" y="0"/>
                  </a:lnTo>
                  <a:close/>
                </a:path>
              </a:pathLst>
            </a:custGeom>
            <a:solidFill>
              <a:srgbClr val="EF3D60">
                <a:alpha val="50999"/>
              </a:srgbClr>
            </a:solidFill>
          </p:spPr>
          <p:txBody>
            <a:bodyPr wrap="square" lIns="0" tIns="0" rIns="0" bIns="0" rtlCol="0"/>
            <a:lstStyle/>
            <a:p>
              <a:endParaRPr sz="2968"/>
            </a:p>
          </p:txBody>
        </p:sp>
        <p:sp>
          <p:nvSpPr>
            <p:cNvPr id="40" name="object 38">
              <a:extLst>
                <a:ext uri="{FF2B5EF4-FFF2-40B4-BE49-F238E27FC236}">
                  <a16:creationId xmlns:a16="http://schemas.microsoft.com/office/drawing/2014/main" id="{2DC8E1BF-CF23-804B-AF20-C2662B1A9F12}"/>
                </a:ext>
              </a:extLst>
            </p:cNvPr>
            <p:cNvSpPr/>
            <p:nvPr/>
          </p:nvSpPr>
          <p:spPr>
            <a:xfrm>
              <a:off x="4708062" y="5620989"/>
              <a:ext cx="1747520" cy="0"/>
            </a:xfrm>
            <a:custGeom>
              <a:avLst/>
              <a:gdLst/>
              <a:ahLst/>
              <a:cxnLst/>
              <a:rect l="l" t="t" r="r" b="b"/>
              <a:pathLst>
                <a:path w="1747520">
                  <a:moveTo>
                    <a:pt x="0" y="0"/>
                  </a:moveTo>
                  <a:lnTo>
                    <a:pt x="1747371" y="0"/>
                  </a:lnTo>
                </a:path>
              </a:pathLst>
            </a:custGeom>
            <a:ln w="3175">
              <a:solidFill>
                <a:srgbClr val="EF3D60"/>
              </a:solidFill>
            </a:ln>
          </p:spPr>
          <p:txBody>
            <a:bodyPr wrap="square" lIns="0" tIns="0" rIns="0" bIns="0" rtlCol="0"/>
            <a:lstStyle/>
            <a:p>
              <a:endParaRPr sz="2968"/>
            </a:p>
          </p:txBody>
        </p:sp>
        <p:sp>
          <p:nvSpPr>
            <p:cNvPr id="41" name="object 39">
              <a:extLst>
                <a:ext uri="{FF2B5EF4-FFF2-40B4-BE49-F238E27FC236}">
                  <a16:creationId xmlns:a16="http://schemas.microsoft.com/office/drawing/2014/main" id="{128930FB-9FE2-6E4F-B703-D4D82C111D10}"/>
                </a:ext>
              </a:extLst>
            </p:cNvPr>
            <p:cNvSpPr/>
            <p:nvPr/>
          </p:nvSpPr>
          <p:spPr>
            <a:xfrm>
              <a:off x="4708279" y="5619084"/>
              <a:ext cx="1747520" cy="0"/>
            </a:xfrm>
            <a:custGeom>
              <a:avLst/>
              <a:gdLst/>
              <a:ahLst/>
              <a:cxnLst/>
              <a:rect l="l" t="t" r="r" b="b"/>
              <a:pathLst>
                <a:path w="1747520">
                  <a:moveTo>
                    <a:pt x="0" y="0"/>
                  </a:moveTo>
                  <a:lnTo>
                    <a:pt x="1746937" y="0"/>
                  </a:lnTo>
                </a:path>
              </a:pathLst>
            </a:custGeom>
            <a:ln w="3175">
              <a:solidFill>
                <a:srgbClr val="EF3D60"/>
              </a:solidFill>
            </a:ln>
          </p:spPr>
          <p:txBody>
            <a:bodyPr wrap="square" lIns="0" tIns="0" rIns="0" bIns="0" rtlCol="0"/>
            <a:lstStyle/>
            <a:p>
              <a:endParaRPr sz="2968"/>
            </a:p>
          </p:txBody>
        </p:sp>
        <p:sp>
          <p:nvSpPr>
            <p:cNvPr id="42" name="object 40">
              <a:extLst>
                <a:ext uri="{FF2B5EF4-FFF2-40B4-BE49-F238E27FC236}">
                  <a16:creationId xmlns:a16="http://schemas.microsoft.com/office/drawing/2014/main" id="{24286FF1-2BFC-674C-89DD-1D204912CF91}"/>
                </a:ext>
              </a:extLst>
            </p:cNvPr>
            <p:cNvSpPr/>
            <p:nvPr/>
          </p:nvSpPr>
          <p:spPr>
            <a:xfrm>
              <a:off x="4708381" y="5615909"/>
              <a:ext cx="1746885" cy="0"/>
            </a:xfrm>
            <a:custGeom>
              <a:avLst/>
              <a:gdLst/>
              <a:ahLst/>
              <a:cxnLst/>
              <a:rect l="l" t="t" r="r" b="b"/>
              <a:pathLst>
                <a:path w="1746885">
                  <a:moveTo>
                    <a:pt x="0" y="0"/>
                  </a:moveTo>
                  <a:lnTo>
                    <a:pt x="1746732" y="0"/>
                  </a:lnTo>
                </a:path>
              </a:pathLst>
            </a:custGeom>
            <a:ln w="5080">
              <a:solidFill>
                <a:srgbClr val="EF3D60"/>
              </a:solidFill>
            </a:ln>
          </p:spPr>
          <p:txBody>
            <a:bodyPr wrap="square" lIns="0" tIns="0" rIns="0" bIns="0" rtlCol="0"/>
            <a:lstStyle/>
            <a:p>
              <a:endParaRPr sz="2968"/>
            </a:p>
          </p:txBody>
        </p:sp>
        <p:sp>
          <p:nvSpPr>
            <p:cNvPr id="43" name="object 41">
              <a:extLst>
                <a:ext uri="{FF2B5EF4-FFF2-40B4-BE49-F238E27FC236}">
                  <a16:creationId xmlns:a16="http://schemas.microsoft.com/office/drawing/2014/main" id="{80002E16-0D84-0C46-8927-864BD91AE723}"/>
                </a:ext>
              </a:extLst>
            </p:cNvPr>
            <p:cNvSpPr/>
            <p:nvPr/>
          </p:nvSpPr>
          <p:spPr>
            <a:xfrm>
              <a:off x="4708302" y="5612099"/>
              <a:ext cx="1746885" cy="0"/>
            </a:xfrm>
            <a:custGeom>
              <a:avLst/>
              <a:gdLst/>
              <a:ahLst/>
              <a:cxnLst/>
              <a:rect l="l" t="t" r="r" b="b"/>
              <a:pathLst>
                <a:path w="1746885">
                  <a:moveTo>
                    <a:pt x="0" y="0"/>
                  </a:moveTo>
                  <a:lnTo>
                    <a:pt x="1746889" y="0"/>
                  </a:lnTo>
                </a:path>
              </a:pathLst>
            </a:custGeom>
            <a:ln w="3175">
              <a:solidFill>
                <a:srgbClr val="EF3D60"/>
              </a:solidFill>
            </a:ln>
          </p:spPr>
          <p:txBody>
            <a:bodyPr wrap="square" lIns="0" tIns="0" rIns="0" bIns="0" rtlCol="0"/>
            <a:lstStyle/>
            <a:p>
              <a:endParaRPr sz="2968"/>
            </a:p>
          </p:txBody>
        </p:sp>
        <p:sp>
          <p:nvSpPr>
            <p:cNvPr id="44" name="object 42">
              <a:extLst>
                <a:ext uri="{FF2B5EF4-FFF2-40B4-BE49-F238E27FC236}">
                  <a16:creationId xmlns:a16="http://schemas.microsoft.com/office/drawing/2014/main" id="{3C455AF0-4C46-A949-BA93-138442B2BDA1}"/>
                </a:ext>
              </a:extLst>
            </p:cNvPr>
            <p:cNvSpPr/>
            <p:nvPr/>
          </p:nvSpPr>
          <p:spPr>
            <a:xfrm>
              <a:off x="4707998" y="5609559"/>
              <a:ext cx="1747520" cy="0"/>
            </a:xfrm>
            <a:custGeom>
              <a:avLst/>
              <a:gdLst/>
              <a:ahLst/>
              <a:cxnLst/>
              <a:rect l="l" t="t" r="r" b="b"/>
              <a:pathLst>
                <a:path w="1747520">
                  <a:moveTo>
                    <a:pt x="0" y="0"/>
                  </a:moveTo>
                  <a:lnTo>
                    <a:pt x="1747498" y="0"/>
                  </a:lnTo>
                </a:path>
              </a:pathLst>
            </a:custGeom>
            <a:ln w="3175">
              <a:solidFill>
                <a:srgbClr val="EF3D60"/>
              </a:solidFill>
            </a:ln>
          </p:spPr>
          <p:txBody>
            <a:bodyPr wrap="square" lIns="0" tIns="0" rIns="0" bIns="0" rtlCol="0"/>
            <a:lstStyle/>
            <a:p>
              <a:endParaRPr sz="2968"/>
            </a:p>
          </p:txBody>
        </p:sp>
        <p:sp>
          <p:nvSpPr>
            <p:cNvPr id="45" name="object 43">
              <a:extLst>
                <a:ext uri="{FF2B5EF4-FFF2-40B4-BE49-F238E27FC236}">
                  <a16:creationId xmlns:a16="http://schemas.microsoft.com/office/drawing/2014/main" id="{F96178FC-CCF4-3B4C-BB15-48D0F70492F5}"/>
                </a:ext>
              </a:extLst>
            </p:cNvPr>
            <p:cNvSpPr/>
            <p:nvPr/>
          </p:nvSpPr>
          <p:spPr>
            <a:xfrm>
              <a:off x="6541434" y="5617368"/>
              <a:ext cx="1520825" cy="317500"/>
            </a:xfrm>
            <a:custGeom>
              <a:avLst/>
              <a:gdLst/>
              <a:ahLst/>
              <a:cxnLst/>
              <a:rect l="l" t="t" r="r" b="b"/>
              <a:pathLst>
                <a:path w="1520825" h="317500">
                  <a:moveTo>
                    <a:pt x="647" y="0"/>
                  </a:moveTo>
                  <a:lnTo>
                    <a:pt x="469" y="25"/>
                  </a:lnTo>
                  <a:lnTo>
                    <a:pt x="406" y="1663"/>
                  </a:lnTo>
                  <a:lnTo>
                    <a:pt x="241" y="3276"/>
                  </a:lnTo>
                  <a:lnTo>
                    <a:pt x="0" y="4864"/>
                  </a:lnTo>
                  <a:lnTo>
                    <a:pt x="47929" y="23126"/>
                  </a:lnTo>
                  <a:lnTo>
                    <a:pt x="1518119" y="317182"/>
                  </a:lnTo>
                  <a:lnTo>
                    <a:pt x="1518310" y="312585"/>
                  </a:lnTo>
                  <a:lnTo>
                    <a:pt x="1519212" y="308165"/>
                  </a:lnTo>
                  <a:lnTo>
                    <a:pt x="1520736" y="304038"/>
                  </a:lnTo>
                  <a:lnTo>
                    <a:pt x="647" y="0"/>
                  </a:lnTo>
                  <a:close/>
                </a:path>
              </a:pathLst>
            </a:custGeom>
            <a:solidFill>
              <a:srgbClr val="EF3D60">
                <a:alpha val="50999"/>
              </a:srgbClr>
            </a:solidFill>
          </p:spPr>
          <p:txBody>
            <a:bodyPr wrap="square" lIns="0" tIns="0" rIns="0" bIns="0" rtlCol="0"/>
            <a:lstStyle/>
            <a:p>
              <a:endParaRPr sz="2968"/>
            </a:p>
          </p:txBody>
        </p:sp>
        <p:sp>
          <p:nvSpPr>
            <p:cNvPr id="46" name="object 44">
              <a:extLst>
                <a:ext uri="{FF2B5EF4-FFF2-40B4-BE49-F238E27FC236}">
                  <a16:creationId xmlns:a16="http://schemas.microsoft.com/office/drawing/2014/main" id="{515B2198-98DB-5D40-84BE-823DF4A3E368}"/>
                </a:ext>
              </a:extLst>
            </p:cNvPr>
            <p:cNvSpPr/>
            <p:nvPr/>
          </p:nvSpPr>
          <p:spPr>
            <a:xfrm>
              <a:off x="6519941" y="5190105"/>
              <a:ext cx="278130" cy="389255"/>
            </a:xfrm>
            <a:custGeom>
              <a:avLst/>
              <a:gdLst/>
              <a:ahLst/>
              <a:cxnLst/>
              <a:rect l="l" t="t" r="r" b="b"/>
              <a:pathLst>
                <a:path w="278129" h="389254">
                  <a:moveTo>
                    <a:pt x="271322" y="0"/>
                  </a:moveTo>
                  <a:lnTo>
                    <a:pt x="0" y="387591"/>
                  </a:lnTo>
                  <a:lnTo>
                    <a:pt x="1993" y="388797"/>
                  </a:lnTo>
                  <a:lnTo>
                    <a:pt x="30441" y="358609"/>
                  </a:lnTo>
                  <a:lnTo>
                    <a:pt x="278117" y="4775"/>
                  </a:lnTo>
                  <a:lnTo>
                    <a:pt x="275691" y="3403"/>
                  </a:lnTo>
                  <a:lnTo>
                    <a:pt x="273418" y="1803"/>
                  </a:lnTo>
                  <a:lnTo>
                    <a:pt x="271322" y="0"/>
                  </a:lnTo>
                  <a:close/>
                </a:path>
              </a:pathLst>
            </a:custGeom>
            <a:solidFill>
              <a:srgbClr val="EF3D60">
                <a:alpha val="50999"/>
              </a:srgbClr>
            </a:solidFill>
          </p:spPr>
          <p:txBody>
            <a:bodyPr wrap="square" lIns="0" tIns="0" rIns="0" bIns="0" rtlCol="0"/>
            <a:lstStyle/>
            <a:p>
              <a:endParaRPr sz="2968"/>
            </a:p>
          </p:txBody>
        </p:sp>
        <p:sp>
          <p:nvSpPr>
            <p:cNvPr id="47" name="object 45">
              <a:extLst>
                <a:ext uri="{FF2B5EF4-FFF2-40B4-BE49-F238E27FC236}">
                  <a16:creationId xmlns:a16="http://schemas.microsoft.com/office/drawing/2014/main" id="{76CDE6CD-0900-1241-9F22-BDD5318EC22A}"/>
                </a:ext>
              </a:extLst>
            </p:cNvPr>
            <p:cNvSpPr/>
            <p:nvPr/>
          </p:nvSpPr>
          <p:spPr>
            <a:xfrm>
              <a:off x="5509207" y="4225395"/>
              <a:ext cx="962660" cy="1357630"/>
            </a:xfrm>
            <a:custGeom>
              <a:avLst/>
              <a:gdLst/>
              <a:ahLst/>
              <a:cxnLst/>
              <a:rect l="l" t="t" r="r" b="b"/>
              <a:pathLst>
                <a:path w="962660" h="1357629">
                  <a:moveTo>
                    <a:pt x="11366" y="0"/>
                  </a:moveTo>
                  <a:lnTo>
                    <a:pt x="8051" y="3263"/>
                  </a:lnTo>
                  <a:lnTo>
                    <a:pt x="4216" y="5994"/>
                  </a:lnTo>
                  <a:lnTo>
                    <a:pt x="0" y="8064"/>
                  </a:lnTo>
                  <a:lnTo>
                    <a:pt x="953998" y="1352270"/>
                  </a:lnTo>
                  <a:lnTo>
                    <a:pt x="960805" y="1357350"/>
                  </a:lnTo>
                  <a:lnTo>
                    <a:pt x="962431" y="1356004"/>
                  </a:lnTo>
                  <a:lnTo>
                    <a:pt x="917752" y="1277150"/>
                  </a:lnTo>
                  <a:lnTo>
                    <a:pt x="11366" y="0"/>
                  </a:lnTo>
                  <a:close/>
                </a:path>
              </a:pathLst>
            </a:custGeom>
            <a:solidFill>
              <a:srgbClr val="EF3D60">
                <a:alpha val="50999"/>
              </a:srgbClr>
            </a:solidFill>
          </p:spPr>
          <p:txBody>
            <a:bodyPr wrap="square" lIns="0" tIns="0" rIns="0" bIns="0" rtlCol="0"/>
            <a:lstStyle/>
            <a:p>
              <a:endParaRPr sz="2968"/>
            </a:p>
          </p:txBody>
        </p:sp>
        <p:sp>
          <p:nvSpPr>
            <p:cNvPr id="48" name="object 46">
              <a:extLst>
                <a:ext uri="{FF2B5EF4-FFF2-40B4-BE49-F238E27FC236}">
                  <a16:creationId xmlns:a16="http://schemas.microsoft.com/office/drawing/2014/main" id="{12AD285B-401E-204C-B5FD-ADCE06C279A5}"/>
                </a:ext>
              </a:extLst>
            </p:cNvPr>
            <p:cNvSpPr/>
            <p:nvPr/>
          </p:nvSpPr>
          <p:spPr>
            <a:xfrm>
              <a:off x="6521936" y="4036605"/>
              <a:ext cx="1466215" cy="1553210"/>
            </a:xfrm>
            <a:custGeom>
              <a:avLst/>
              <a:gdLst/>
              <a:ahLst/>
              <a:cxnLst/>
              <a:rect l="l" t="t" r="r" b="b"/>
              <a:pathLst>
                <a:path w="1466215" h="1553210">
                  <a:moveTo>
                    <a:pt x="370509" y="1149324"/>
                  </a:moveTo>
                  <a:lnTo>
                    <a:pt x="0" y="1542288"/>
                  </a:lnTo>
                  <a:lnTo>
                    <a:pt x="4406" y="1545120"/>
                  </a:lnTo>
                  <a:lnTo>
                    <a:pt x="8280" y="1548726"/>
                  </a:lnTo>
                  <a:lnTo>
                    <a:pt x="11404" y="1552917"/>
                  </a:lnTo>
                  <a:lnTo>
                    <a:pt x="12826" y="1552206"/>
                  </a:lnTo>
                  <a:lnTo>
                    <a:pt x="387565" y="1154747"/>
                  </a:lnTo>
                  <a:lnTo>
                    <a:pt x="370509" y="1149324"/>
                  </a:lnTo>
                  <a:close/>
                </a:path>
                <a:path w="1466215" h="1553210">
                  <a:moveTo>
                    <a:pt x="501637" y="1010246"/>
                  </a:moveTo>
                  <a:lnTo>
                    <a:pt x="378663" y="1140688"/>
                  </a:lnTo>
                  <a:lnTo>
                    <a:pt x="395719" y="1146111"/>
                  </a:lnTo>
                  <a:lnTo>
                    <a:pt x="516254" y="1018273"/>
                  </a:lnTo>
                  <a:lnTo>
                    <a:pt x="501637" y="1010246"/>
                  </a:lnTo>
                  <a:close/>
                </a:path>
                <a:path w="1466215" h="1553210">
                  <a:moveTo>
                    <a:pt x="520420" y="990320"/>
                  </a:moveTo>
                  <a:lnTo>
                    <a:pt x="514654" y="996441"/>
                  </a:lnTo>
                  <a:lnTo>
                    <a:pt x="529259" y="1004468"/>
                  </a:lnTo>
                  <a:lnTo>
                    <a:pt x="534695" y="998702"/>
                  </a:lnTo>
                  <a:lnTo>
                    <a:pt x="520420" y="990320"/>
                  </a:lnTo>
                  <a:close/>
                </a:path>
                <a:path w="1466215" h="1553210">
                  <a:moveTo>
                    <a:pt x="799680" y="694131"/>
                  </a:moveTo>
                  <a:lnTo>
                    <a:pt x="532612" y="977391"/>
                  </a:lnTo>
                  <a:lnTo>
                    <a:pt x="546887" y="985773"/>
                  </a:lnTo>
                  <a:lnTo>
                    <a:pt x="808875" y="707923"/>
                  </a:lnTo>
                  <a:lnTo>
                    <a:pt x="799680" y="694131"/>
                  </a:lnTo>
                  <a:close/>
                </a:path>
                <a:path w="1466215" h="1553210">
                  <a:moveTo>
                    <a:pt x="1454175" y="0"/>
                  </a:moveTo>
                  <a:lnTo>
                    <a:pt x="809205" y="684034"/>
                  </a:lnTo>
                  <a:lnTo>
                    <a:pt x="818400" y="697814"/>
                  </a:lnTo>
                  <a:lnTo>
                    <a:pt x="1465922" y="11061"/>
                  </a:lnTo>
                  <a:lnTo>
                    <a:pt x="1461338" y="8140"/>
                  </a:lnTo>
                  <a:lnTo>
                    <a:pt x="1457350" y="4381"/>
                  </a:lnTo>
                  <a:lnTo>
                    <a:pt x="1454175" y="0"/>
                  </a:lnTo>
                  <a:close/>
                </a:path>
              </a:pathLst>
            </a:custGeom>
            <a:solidFill>
              <a:srgbClr val="EF3D60">
                <a:alpha val="50999"/>
              </a:srgbClr>
            </a:solidFill>
          </p:spPr>
          <p:txBody>
            <a:bodyPr wrap="square" lIns="0" tIns="0" rIns="0" bIns="0" rtlCol="0"/>
            <a:lstStyle/>
            <a:p>
              <a:endParaRPr sz="2968"/>
            </a:p>
          </p:txBody>
        </p:sp>
        <p:sp>
          <p:nvSpPr>
            <p:cNvPr id="49" name="object 47">
              <a:extLst>
                <a:ext uri="{FF2B5EF4-FFF2-40B4-BE49-F238E27FC236}">
                  <a16:creationId xmlns:a16="http://schemas.microsoft.com/office/drawing/2014/main" id="{7CDD81DC-0B15-424E-B24C-A89167B03843}"/>
                </a:ext>
              </a:extLst>
            </p:cNvPr>
            <p:cNvSpPr/>
            <p:nvPr/>
          </p:nvSpPr>
          <p:spPr>
            <a:xfrm>
              <a:off x="6503518" y="4142455"/>
              <a:ext cx="403225" cy="1433830"/>
            </a:xfrm>
            <a:custGeom>
              <a:avLst/>
              <a:gdLst/>
              <a:ahLst/>
              <a:cxnLst/>
              <a:rect l="l" t="t" r="r" b="b"/>
              <a:pathLst>
                <a:path w="403225" h="1433829">
                  <a:moveTo>
                    <a:pt x="192366" y="724496"/>
                  </a:moveTo>
                  <a:lnTo>
                    <a:pt x="0" y="1429892"/>
                  </a:lnTo>
                  <a:lnTo>
                    <a:pt x="4445" y="1430400"/>
                  </a:lnTo>
                  <a:lnTo>
                    <a:pt x="8699" y="1431582"/>
                  </a:lnTo>
                  <a:lnTo>
                    <a:pt x="12623" y="1433334"/>
                  </a:lnTo>
                  <a:lnTo>
                    <a:pt x="204190" y="730986"/>
                  </a:lnTo>
                  <a:lnTo>
                    <a:pt x="192366" y="724496"/>
                  </a:lnTo>
                  <a:close/>
                </a:path>
                <a:path w="403225" h="1433829">
                  <a:moveTo>
                    <a:pt x="202565" y="687082"/>
                  </a:moveTo>
                  <a:lnTo>
                    <a:pt x="197332" y="706272"/>
                  </a:lnTo>
                  <a:lnTo>
                    <a:pt x="209156" y="712762"/>
                  </a:lnTo>
                  <a:lnTo>
                    <a:pt x="214299" y="693966"/>
                  </a:lnTo>
                  <a:lnTo>
                    <a:pt x="202565" y="687082"/>
                  </a:lnTo>
                  <a:close/>
                </a:path>
                <a:path w="403225" h="1433829">
                  <a:moveTo>
                    <a:pt x="389940" y="0"/>
                  </a:moveTo>
                  <a:lnTo>
                    <a:pt x="207289" y="669785"/>
                  </a:lnTo>
                  <a:lnTo>
                    <a:pt x="219011" y="676668"/>
                  </a:lnTo>
                  <a:lnTo>
                    <a:pt x="402628" y="3441"/>
                  </a:lnTo>
                  <a:lnTo>
                    <a:pt x="398157" y="2933"/>
                  </a:lnTo>
                  <a:lnTo>
                    <a:pt x="393890" y="1752"/>
                  </a:lnTo>
                  <a:lnTo>
                    <a:pt x="389940" y="0"/>
                  </a:lnTo>
                  <a:close/>
                </a:path>
              </a:pathLst>
            </a:custGeom>
            <a:solidFill>
              <a:srgbClr val="EF3D60">
                <a:alpha val="50999"/>
              </a:srgbClr>
            </a:solidFill>
          </p:spPr>
          <p:txBody>
            <a:bodyPr wrap="square" lIns="0" tIns="0" rIns="0" bIns="0" rtlCol="0"/>
            <a:lstStyle/>
            <a:p>
              <a:endParaRPr sz="2968"/>
            </a:p>
          </p:txBody>
        </p:sp>
        <p:sp>
          <p:nvSpPr>
            <p:cNvPr id="50" name="object 48">
              <a:extLst>
                <a:ext uri="{FF2B5EF4-FFF2-40B4-BE49-F238E27FC236}">
                  <a16:creationId xmlns:a16="http://schemas.microsoft.com/office/drawing/2014/main" id="{3A6ED520-B656-4742-AB3E-52C8CFB135CA}"/>
                </a:ext>
              </a:extLst>
            </p:cNvPr>
            <p:cNvSpPr/>
            <p:nvPr/>
          </p:nvSpPr>
          <p:spPr>
            <a:xfrm>
              <a:off x="5734648" y="4274338"/>
              <a:ext cx="748665" cy="1307465"/>
            </a:xfrm>
            <a:custGeom>
              <a:avLst/>
              <a:gdLst/>
              <a:ahLst/>
              <a:cxnLst/>
              <a:rect l="l" t="t" r="r" b="b"/>
              <a:pathLst>
                <a:path w="748664" h="1307464">
                  <a:moveTo>
                    <a:pt x="48005" y="91236"/>
                  </a:moveTo>
                  <a:lnTo>
                    <a:pt x="736993" y="1307058"/>
                  </a:lnTo>
                  <a:lnTo>
                    <a:pt x="740422" y="1304340"/>
                  </a:lnTo>
                  <a:lnTo>
                    <a:pt x="744283" y="1302143"/>
                  </a:lnTo>
                  <a:lnTo>
                    <a:pt x="748436" y="1300556"/>
                  </a:lnTo>
                  <a:lnTo>
                    <a:pt x="70053" y="103339"/>
                  </a:lnTo>
                  <a:lnTo>
                    <a:pt x="48005" y="91236"/>
                  </a:lnTo>
                  <a:close/>
                </a:path>
                <a:path w="748664" h="1307464">
                  <a:moveTo>
                    <a:pt x="11493" y="0"/>
                  </a:moveTo>
                  <a:lnTo>
                    <a:pt x="8051" y="2717"/>
                  </a:lnTo>
                  <a:lnTo>
                    <a:pt x="4190" y="4940"/>
                  </a:lnTo>
                  <a:lnTo>
                    <a:pt x="0" y="6527"/>
                  </a:lnTo>
                  <a:lnTo>
                    <a:pt x="30746" y="60794"/>
                  </a:lnTo>
                  <a:lnTo>
                    <a:pt x="52806" y="72898"/>
                  </a:lnTo>
                  <a:lnTo>
                    <a:pt x="11493" y="0"/>
                  </a:lnTo>
                  <a:close/>
                </a:path>
              </a:pathLst>
            </a:custGeom>
            <a:solidFill>
              <a:srgbClr val="EF3D60">
                <a:alpha val="50999"/>
              </a:srgbClr>
            </a:solidFill>
          </p:spPr>
          <p:txBody>
            <a:bodyPr wrap="square" lIns="0" tIns="0" rIns="0" bIns="0" rtlCol="0"/>
            <a:lstStyle/>
            <a:p>
              <a:endParaRPr sz="2968"/>
            </a:p>
          </p:txBody>
        </p:sp>
        <p:sp>
          <p:nvSpPr>
            <p:cNvPr id="51" name="object 49">
              <a:extLst>
                <a:ext uri="{FF2B5EF4-FFF2-40B4-BE49-F238E27FC236}">
                  <a16:creationId xmlns:a16="http://schemas.microsoft.com/office/drawing/2014/main" id="{2F6A6086-ADB5-F34E-886E-8EC341ECAE85}"/>
                </a:ext>
              </a:extLst>
            </p:cNvPr>
            <p:cNvSpPr/>
            <p:nvPr/>
          </p:nvSpPr>
          <p:spPr>
            <a:xfrm>
              <a:off x="4512942" y="4347672"/>
              <a:ext cx="1946275" cy="1252220"/>
            </a:xfrm>
            <a:custGeom>
              <a:avLst/>
              <a:gdLst/>
              <a:ahLst/>
              <a:cxnLst/>
              <a:rect l="l" t="t" r="r" b="b"/>
              <a:pathLst>
                <a:path w="1946275" h="1252220">
                  <a:moveTo>
                    <a:pt x="9182" y="0"/>
                  </a:moveTo>
                  <a:lnTo>
                    <a:pt x="7086" y="5410"/>
                  </a:lnTo>
                  <a:lnTo>
                    <a:pt x="3937" y="10274"/>
                  </a:lnTo>
                  <a:lnTo>
                    <a:pt x="0" y="14389"/>
                  </a:lnTo>
                  <a:lnTo>
                    <a:pt x="1945093" y="1252143"/>
                  </a:lnTo>
                  <a:lnTo>
                    <a:pt x="1945703" y="1250607"/>
                  </a:lnTo>
                  <a:lnTo>
                    <a:pt x="1946059" y="1249857"/>
                  </a:lnTo>
                  <a:lnTo>
                    <a:pt x="1785924" y="1130617"/>
                  </a:lnTo>
                  <a:lnTo>
                    <a:pt x="9182" y="0"/>
                  </a:lnTo>
                  <a:close/>
                </a:path>
              </a:pathLst>
            </a:custGeom>
            <a:solidFill>
              <a:srgbClr val="EF3D60">
                <a:alpha val="50999"/>
              </a:srgbClr>
            </a:solidFill>
          </p:spPr>
          <p:txBody>
            <a:bodyPr wrap="square" lIns="0" tIns="0" rIns="0" bIns="0" rtlCol="0"/>
            <a:lstStyle/>
            <a:p>
              <a:endParaRPr sz="2968"/>
            </a:p>
          </p:txBody>
        </p:sp>
        <p:sp>
          <p:nvSpPr>
            <p:cNvPr id="52" name="object 50">
              <a:extLst>
                <a:ext uri="{FF2B5EF4-FFF2-40B4-BE49-F238E27FC236}">
                  <a16:creationId xmlns:a16="http://schemas.microsoft.com/office/drawing/2014/main" id="{6B1F75E1-DA17-C14F-8E50-630E8DE20CA7}"/>
                </a:ext>
              </a:extLst>
            </p:cNvPr>
            <p:cNvSpPr/>
            <p:nvPr/>
          </p:nvSpPr>
          <p:spPr>
            <a:xfrm>
              <a:off x="4372583" y="4029037"/>
              <a:ext cx="2098040" cy="1569085"/>
            </a:xfrm>
            <a:custGeom>
              <a:avLst/>
              <a:gdLst/>
              <a:ahLst/>
              <a:cxnLst/>
              <a:rect l="l" t="t" r="r" b="b"/>
              <a:pathLst>
                <a:path w="2098040" h="1569085">
                  <a:moveTo>
                    <a:pt x="11074" y="0"/>
                  </a:moveTo>
                  <a:lnTo>
                    <a:pt x="8483" y="5715"/>
                  </a:lnTo>
                  <a:lnTo>
                    <a:pt x="4673" y="10756"/>
                  </a:lnTo>
                  <a:lnTo>
                    <a:pt x="0" y="14820"/>
                  </a:lnTo>
                  <a:lnTo>
                    <a:pt x="2086419" y="1568500"/>
                  </a:lnTo>
                  <a:lnTo>
                    <a:pt x="2088997" y="1562798"/>
                  </a:lnTo>
                  <a:lnTo>
                    <a:pt x="2092769" y="1557769"/>
                  </a:lnTo>
                  <a:lnTo>
                    <a:pt x="2097430" y="1553705"/>
                  </a:lnTo>
                  <a:lnTo>
                    <a:pt x="11074" y="0"/>
                  </a:lnTo>
                  <a:close/>
                </a:path>
              </a:pathLst>
            </a:custGeom>
            <a:solidFill>
              <a:srgbClr val="EF3D60">
                <a:alpha val="50999"/>
              </a:srgbClr>
            </a:solidFill>
          </p:spPr>
          <p:txBody>
            <a:bodyPr wrap="square" lIns="0" tIns="0" rIns="0" bIns="0" rtlCol="0"/>
            <a:lstStyle/>
            <a:p>
              <a:endParaRPr sz="2968"/>
            </a:p>
          </p:txBody>
        </p:sp>
        <p:sp>
          <p:nvSpPr>
            <p:cNvPr id="53" name="object 51">
              <a:extLst>
                <a:ext uri="{FF2B5EF4-FFF2-40B4-BE49-F238E27FC236}">
                  <a16:creationId xmlns:a16="http://schemas.microsoft.com/office/drawing/2014/main" id="{6FCADF55-F3E5-E843-8388-01DE9D033EC2}"/>
                </a:ext>
              </a:extLst>
            </p:cNvPr>
            <p:cNvSpPr/>
            <p:nvPr/>
          </p:nvSpPr>
          <p:spPr>
            <a:xfrm>
              <a:off x="6535056" y="5622235"/>
              <a:ext cx="2333625" cy="903605"/>
            </a:xfrm>
            <a:custGeom>
              <a:avLst/>
              <a:gdLst/>
              <a:ahLst/>
              <a:cxnLst/>
              <a:rect l="l" t="t" r="r" b="b"/>
              <a:pathLst>
                <a:path w="2333625" h="903604">
                  <a:moveTo>
                    <a:pt x="6375" y="0"/>
                  </a:moveTo>
                  <a:lnTo>
                    <a:pt x="5422" y="6095"/>
                  </a:lnTo>
                  <a:lnTo>
                    <a:pt x="3200" y="11772"/>
                  </a:lnTo>
                  <a:lnTo>
                    <a:pt x="0" y="16738"/>
                  </a:lnTo>
                  <a:lnTo>
                    <a:pt x="2327147" y="903312"/>
                  </a:lnTo>
                  <a:lnTo>
                    <a:pt x="2328100" y="897204"/>
                  </a:lnTo>
                  <a:lnTo>
                    <a:pt x="2330310" y="891527"/>
                  </a:lnTo>
                  <a:lnTo>
                    <a:pt x="2333523" y="886548"/>
                  </a:lnTo>
                  <a:lnTo>
                    <a:pt x="6375" y="0"/>
                  </a:lnTo>
                  <a:close/>
                </a:path>
              </a:pathLst>
            </a:custGeom>
            <a:solidFill>
              <a:srgbClr val="EF3D60">
                <a:alpha val="50999"/>
              </a:srgbClr>
            </a:solidFill>
          </p:spPr>
          <p:txBody>
            <a:bodyPr wrap="square" lIns="0" tIns="0" rIns="0" bIns="0" rtlCol="0"/>
            <a:lstStyle/>
            <a:p>
              <a:endParaRPr sz="2968"/>
            </a:p>
          </p:txBody>
        </p:sp>
        <p:sp>
          <p:nvSpPr>
            <p:cNvPr id="54" name="object 52">
              <a:extLst>
                <a:ext uri="{FF2B5EF4-FFF2-40B4-BE49-F238E27FC236}">
                  <a16:creationId xmlns:a16="http://schemas.microsoft.com/office/drawing/2014/main" id="{D954D112-B03B-F945-8FCB-36D4ED432CBB}"/>
                </a:ext>
              </a:extLst>
            </p:cNvPr>
            <p:cNvSpPr/>
            <p:nvPr/>
          </p:nvSpPr>
          <p:spPr>
            <a:xfrm>
              <a:off x="6548594" y="5296577"/>
              <a:ext cx="1490980" cy="303530"/>
            </a:xfrm>
            <a:custGeom>
              <a:avLst/>
              <a:gdLst/>
              <a:ahLst/>
              <a:cxnLst/>
              <a:rect l="l" t="t" r="r" b="b"/>
              <a:pathLst>
                <a:path w="1490979" h="303529">
                  <a:moveTo>
                    <a:pt x="1001712" y="98679"/>
                  </a:moveTo>
                  <a:lnTo>
                    <a:pt x="5549" y="300824"/>
                  </a:lnTo>
                  <a:lnTo>
                    <a:pt x="0" y="303390"/>
                  </a:lnTo>
                  <a:lnTo>
                    <a:pt x="213487" y="272262"/>
                  </a:lnTo>
                  <a:lnTo>
                    <a:pt x="1027899" y="107010"/>
                  </a:lnTo>
                  <a:lnTo>
                    <a:pt x="1001712" y="98679"/>
                  </a:lnTo>
                  <a:close/>
                </a:path>
                <a:path w="1490979" h="303529">
                  <a:moveTo>
                    <a:pt x="1080465" y="82702"/>
                  </a:moveTo>
                  <a:lnTo>
                    <a:pt x="1023264" y="94310"/>
                  </a:lnTo>
                  <a:lnTo>
                    <a:pt x="1049451" y="102641"/>
                  </a:lnTo>
                  <a:lnTo>
                    <a:pt x="1098613" y="92671"/>
                  </a:lnTo>
                  <a:lnTo>
                    <a:pt x="1080465" y="82702"/>
                  </a:lnTo>
                  <a:close/>
                </a:path>
                <a:path w="1490979" h="303529">
                  <a:moveTo>
                    <a:pt x="1190472" y="60375"/>
                  </a:moveTo>
                  <a:lnTo>
                    <a:pt x="1115999" y="75488"/>
                  </a:lnTo>
                  <a:lnTo>
                    <a:pt x="1133271" y="85636"/>
                  </a:lnTo>
                  <a:lnTo>
                    <a:pt x="1198486" y="72402"/>
                  </a:lnTo>
                  <a:lnTo>
                    <a:pt x="1190472" y="60375"/>
                  </a:lnTo>
                  <a:close/>
                </a:path>
                <a:path w="1490979" h="303529">
                  <a:moveTo>
                    <a:pt x="1290561" y="40068"/>
                  </a:moveTo>
                  <a:lnTo>
                    <a:pt x="1204823" y="57467"/>
                  </a:lnTo>
                  <a:lnTo>
                    <a:pt x="1212837" y="69481"/>
                  </a:lnTo>
                  <a:lnTo>
                    <a:pt x="1288808" y="54076"/>
                  </a:lnTo>
                  <a:lnTo>
                    <a:pt x="1290561" y="40068"/>
                  </a:lnTo>
                  <a:close/>
                </a:path>
                <a:path w="1490979" h="303529">
                  <a:moveTo>
                    <a:pt x="1314869" y="35128"/>
                  </a:moveTo>
                  <a:lnTo>
                    <a:pt x="1303693" y="37401"/>
                  </a:lnTo>
                  <a:lnTo>
                    <a:pt x="1301953" y="51409"/>
                  </a:lnTo>
                  <a:lnTo>
                    <a:pt x="1310347" y="49707"/>
                  </a:lnTo>
                  <a:lnTo>
                    <a:pt x="1314869" y="35128"/>
                  </a:lnTo>
                  <a:close/>
                </a:path>
                <a:path w="1490979" h="303529">
                  <a:moveTo>
                    <a:pt x="1338465" y="30340"/>
                  </a:moveTo>
                  <a:lnTo>
                    <a:pt x="1335633" y="30924"/>
                  </a:lnTo>
                  <a:lnTo>
                    <a:pt x="1331125" y="45491"/>
                  </a:lnTo>
                  <a:lnTo>
                    <a:pt x="1332141" y="45275"/>
                  </a:lnTo>
                  <a:lnTo>
                    <a:pt x="1338465" y="30340"/>
                  </a:lnTo>
                  <a:close/>
                </a:path>
                <a:path w="1490979" h="303529">
                  <a:moveTo>
                    <a:pt x="1356004" y="26784"/>
                  </a:moveTo>
                  <a:lnTo>
                    <a:pt x="1348854" y="28232"/>
                  </a:lnTo>
                  <a:lnTo>
                    <a:pt x="1342542" y="43167"/>
                  </a:lnTo>
                  <a:lnTo>
                    <a:pt x="1347876" y="42087"/>
                  </a:lnTo>
                  <a:lnTo>
                    <a:pt x="1356004" y="26784"/>
                  </a:lnTo>
                  <a:close/>
                </a:path>
                <a:path w="1490979" h="303529">
                  <a:moveTo>
                    <a:pt x="1409192" y="15989"/>
                  </a:moveTo>
                  <a:lnTo>
                    <a:pt x="1368196" y="24307"/>
                  </a:lnTo>
                  <a:lnTo>
                    <a:pt x="1360068" y="39611"/>
                  </a:lnTo>
                  <a:lnTo>
                    <a:pt x="1395285" y="32473"/>
                  </a:lnTo>
                  <a:lnTo>
                    <a:pt x="1409192" y="15989"/>
                  </a:lnTo>
                  <a:close/>
                </a:path>
                <a:path w="1490979" h="303529">
                  <a:moveTo>
                    <a:pt x="1488008" y="0"/>
                  </a:moveTo>
                  <a:lnTo>
                    <a:pt x="1444205" y="8890"/>
                  </a:lnTo>
                  <a:lnTo>
                    <a:pt x="1429334" y="25565"/>
                  </a:lnTo>
                  <a:lnTo>
                    <a:pt x="1490662" y="13119"/>
                  </a:lnTo>
                  <a:lnTo>
                    <a:pt x="1489125" y="9004"/>
                  </a:lnTo>
                  <a:lnTo>
                    <a:pt x="1488211" y="4597"/>
                  </a:lnTo>
                  <a:lnTo>
                    <a:pt x="1488008" y="0"/>
                  </a:lnTo>
                  <a:close/>
                </a:path>
              </a:pathLst>
            </a:custGeom>
            <a:solidFill>
              <a:srgbClr val="EF3D60">
                <a:alpha val="50999"/>
              </a:srgbClr>
            </a:solidFill>
          </p:spPr>
          <p:txBody>
            <a:bodyPr wrap="square" lIns="0" tIns="0" rIns="0" bIns="0" rtlCol="0"/>
            <a:lstStyle/>
            <a:p>
              <a:endParaRPr sz="2968"/>
            </a:p>
          </p:txBody>
        </p:sp>
        <p:sp>
          <p:nvSpPr>
            <p:cNvPr id="55" name="object 53">
              <a:extLst>
                <a:ext uri="{FF2B5EF4-FFF2-40B4-BE49-F238E27FC236}">
                  <a16:creationId xmlns:a16="http://schemas.microsoft.com/office/drawing/2014/main" id="{F8F7ABDC-F8D8-AF42-BC95-2D9B417B33C7}"/>
                </a:ext>
              </a:extLst>
            </p:cNvPr>
            <p:cNvSpPr/>
            <p:nvPr/>
          </p:nvSpPr>
          <p:spPr>
            <a:xfrm>
              <a:off x="6544419" y="4893776"/>
              <a:ext cx="1499870" cy="707390"/>
            </a:xfrm>
            <a:custGeom>
              <a:avLst/>
              <a:gdLst/>
              <a:ahLst/>
              <a:cxnLst/>
              <a:rect l="l" t="t" r="r" b="b"/>
              <a:pathLst>
                <a:path w="1499870" h="707389">
                  <a:moveTo>
                    <a:pt x="653910" y="389483"/>
                  </a:moveTo>
                  <a:lnTo>
                    <a:pt x="327533" y="540842"/>
                  </a:lnTo>
                  <a:lnTo>
                    <a:pt x="0" y="706805"/>
                  </a:lnTo>
                  <a:lnTo>
                    <a:pt x="4178" y="706196"/>
                  </a:lnTo>
                  <a:lnTo>
                    <a:pt x="673582" y="395744"/>
                  </a:lnTo>
                  <a:lnTo>
                    <a:pt x="653910" y="389483"/>
                  </a:lnTo>
                  <a:close/>
                </a:path>
                <a:path w="1499870" h="707389">
                  <a:moveTo>
                    <a:pt x="792594" y="325170"/>
                  </a:moveTo>
                  <a:lnTo>
                    <a:pt x="668274" y="382816"/>
                  </a:lnTo>
                  <a:lnTo>
                    <a:pt x="687946" y="389089"/>
                  </a:lnTo>
                  <a:lnTo>
                    <a:pt x="807783" y="333502"/>
                  </a:lnTo>
                  <a:lnTo>
                    <a:pt x="792594" y="325170"/>
                  </a:lnTo>
                  <a:close/>
                </a:path>
                <a:path w="1499870" h="707389">
                  <a:moveTo>
                    <a:pt x="1029423" y="215328"/>
                  </a:moveTo>
                  <a:lnTo>
                    <a:pt x="829856" y="307886"/>
                  </a:lnTo>
                  <a:lnTo>
                    <a:pt x="844486" y="316484"/>
                  </a:lnTo>
                  <a:lnTo>
                    <a:pt x="1037259" y="227088"/>
                  </a:lnTo>
                  <a:lnTo>
                    <a:pt x="1029423" y="215328"/>
                  </a:lnTo>
                  <a:close/>
                </a:path>
                <a:path w="1499870" h="707389">
                  <a:moveTo>
                    <a:pt x="1341247" y="70726"/>
                  </a:moveTo>
                  <a:lnTo>
                    <a:pt x="1041869" y="209562"/>
                  </a:lnTo>
                  <a:lnTo>
                    <a:pt x="1049693" y="221322"/>
                  </a:lnTo>
                  <a:lnTo>
                    <a:pt x="1339215" y="87045"/>
                  </a:lnTo>
                  <a:lnTo>
                    <a:pt x="1341247" y="70726"/>
                  </a:lnTo>
                  <a:close/>
                </a:path>
                <a:path w="1499870" h="707389">
                  <a:moveTo>
                    <a:pt x="1448130" y="21145"/>
                  </a:moveTo>
                  <a:lnTo>
                    <a:pt x="1354848" y="64414"/>
                  </a:lnTo>
                  <a:lnTo>
                    <a:pt x="1352816" y="80746"/>
                  </a:lnTo>
                  <a:lnTo>
                    <a:pt x="1442567" y="39116"/>
                  </a:lnTo>
                  <a:lnTo>
                    <a:pt x="1448130" y="21145"/>
                  </a:lnTo>
                  <a:close/>
                </a:path>
                <a:path w="1499870" h="707389">
                  <a:moveTo>
                    <a:pt x="1493735" y="0"/>
                  </a:moveTo>
                  <a:lnTo>
                    <a:pt x="1470863" y="10604"/>
                  </a:lnTo>
                  <a:lnTo>
                    <a:pt x="1465300" y="28575"/>
                  </a:lnTo>
                  <a:lnTo>
                    <a:pt x="1499616" y="12661"/>
                  </a:lnTo>
                  <a:lnTo>
                    <a:pt x="1497012" y="8839"/>
                  </a:lnTo>
                  <a:lnTo>
                    <a:pt x="1495005" y="4572"/>
                  </a:lnTo>
                  <a:lnTo>
                    <a:pt x="1493735" y="0"/>
                  </a:lnTo>
                  <a:close/>
                </a:path>
              </a:pathLst>
            </a:custGeom>
            <a:solidFill>
              <a:srgbClr val="EF3D60">
                <a:alpha val="50999"/>
              </a:srgbClr>
            </a:solidFill>
          </p:spPr>
          <p:txBody>
            <a:bodyPr wrap="square" lIns="0" tIns="0" rIns="0" bIns="0" rtlCol="0"/>
            <a:lstStyle/>
            <a:p>
              <a:endParaRPr sz="2968"/>
            </a:p>
          </p:txBody>
        </p:sp>
        <p:sp>
          <p:nvSpPr>
            <p:cNvPr id="56" name="object 54">
              <a:extLst>
                <a:ext uri="{FF2B5EF4-FFF2-40B4-BE49-F238E27FC236}">
                  <a16:creationId xmlns:a16="http://schemas.microsoft.com/office/drawing/2014/main" id="{24B1C918-3F76-8F48-B097-FF331981D9B5}"/>
                </a:ext>
              </a:extLst>
            </p:cNvPr>
            <p:cNvSpPr/>
            <p:nvPr/>
          </p:nvSpPr>
          <p:spPr>
            <a:xfrm>
              <a:off x="6533348" y="4757251"/>
              <a:ext cx="1649730" cy="844550"/>
            </a:xfrm>
            <a:custGeom>
              <a:avLst/>
              <a:gdLst/>
              <a:ahLst/>
              <a:cxnLst/>
              <a:rect l="l" t="t" r="r" b="b"/>
              <a:pathLst>
                <a:path w="1649729" h="844550">
                  <a:moveTo>
                    <a:pt x="627824" y="514184"/>
                  </a:moveTo>
                  <a:lnTo>
                    <a:pt x="0" y="832281"/>
                  </a:lnTo>
                  <a:lnTo>
                    <a:pt x="2641" y="835812"/>
                  </a:lnTo>
                  <a:lnTo>
                    <a:pt x="4749" y="839774"/>
                  </a:lnTo>
                  <a:lnTo>
                    <a:pt x="6235" y="844041"/>
                  </a:lnTo>
                  <a:lnTo>
                    <a:pt x="11074" y="843330"/>
                  </a:lnTo>
                  <a:lnTo>
                    <a:pt x="648004" y="520611"/>
                  </a:lnTo>
                  <a:lnTo>
                    <a:pt x="627824" y="514184"/>
                  </a:lnTo>
                  <a:close/>
                </a:path>
                <a:path w="1649729" h="844550">
                  <a:moveTo>
                    <a:pt x="768997" y="442658"/>
                  </a:moveTo>
                  <a:lnTo>
                    <a:pt x="641438" y="507288"/>
                  </a:lnTo>
                  <a:lnTo>
                    <a:pt x="661619" y="513702"/>
                  </a:lnTo>
                  <a:lnTo>
                    <a:pt x="784758" y="451319"/>
                  </a:lnTo>
                  <a:lnTo>
                    <a:pt x="768997" y="442658"/>
                  </a:lnTo>
                  <a:close/>
                </a:path>
                <a:path w="1649729" h="844550">
                  <a:moveTo>
                    <a:pt x="1017193" y="316903"/>
                  </a:moveTo>
                  <a:lnTo>
                    <a:pt x="805992" y="423913"/>
                  </a:lnTo>
                  <a:lnTo>
                    <a:pt x="821207" y="432841"/>
                  </a:lnTo>
                  <a:lnTo>
                    <a:pt x="1025486" y="329349"/>
                  </a:lnTo>
                  <a:lnTo>
                    <a:pt x="1017193" y="316903"/>
                  </a:lnTo>
                  <a:close/>
                </a:path>
                <a:path w="1649729" h="844550">
                  <a:moveTo>
                    <a:pt x="1360347" y="143040"/>
                  </a:moveTo>
                  <a:lnTo>
                    <a:pt x="1029373" y="310743"/>
                  </a:lnTo>
                  <a:lnTo>
                    <a:pt x="1037653" y="323176"/>
                  </a:lnTo>
                  <a:lnTo>
                    <a:pt x="1358138" y="160794"/>
                  </a:lnTo>
                  <a:lnTo>
                    <a:pt x="1360347" y="143040"/>
                  </a:lnTo>
                  <a:close/>
                </a:path>
                <a:path w="1649729" h="844550">
                  <a:moveTo>
                    <a:pt x="1482991" y="80911"/>
                  </a:moveTo>
                  <a:lnTo>
                    <a:pt x="1374025" y="136118"/>
                  </a:lnTo>
                  <a:lnTo>
                    <a:pt x="1371803" y="153873"/>
                  </a:lnTo>
                  <a:lnTo>
                    <a:pt x="1476870" y="100634"/>
                  </a:lnTo>
                  <a:lnTo>
                    <a:pt x="1482991" y="80911"/>
                  </a:lnTo>
                  <a:close/>
                </a:path>
                <a:path w="1649729" h="844550">
                  <a:moveTo>
                    <a:pt x="1642681" y="0"/>
                  </a:moveTo>
                  <a:lnTo>
                    <a:pt x="1506067" y="69214"/>
                  </a:lnTo>
                  <a:lnTo>
                    <a:pt x="1499958" y="88938"/>
                  </a:lnTo>
                  <a:lnTo>
                    <a:pt x="1649387" y="13233"/>
                  </a:lnTo>
                  <a:lnTo>
                    <a:pt x="1646440" y="9283"/>
                  </a:lnTo>
                  <a:lnTo>
                    <a:pt x="1644154" y="4825"/>
                  </a:lnTo>
                  <a:lnTo>
                    <a:pt x="1642681" y="0"/>
                  </a:lnTo>
                  <a:close/>
                </a:path>
              </a:pathLst>
            </a:custGeom>
            <a:solidFill>
              <a:srgbClr val="EF3D60">
                <a:alpha val="50999"/>
              </a:srgbClr>
            </a:solidFill>
          </p:spPr>
          <p:txBody>
            <a:bodyPr wrap="square" lIns="0" tIns="0" rIns="0" bIns="0" rtlCol="0"/>
            <a:lstStyle/>
            <a:p>
              <a:endParaRPr sz="2968"/>
            </a:p>
          </p:txBody>
        </p:sp>
        <p:sp>
          <p:nvSpPr>
            <p:cNvPr id="57" name="object 55">
              <a:extLst>
                <a:ext uri="{FF2B5EF4-FFF2-40B4-BE49-F238E27FC236}">
                  <a16:creationId xmlns:a16="http://schemas.microsoft.com/office/drawing/2014/main" id="{7A0AA8A0-FE0C-1449-82E0-05DEB2EDC2A6}"/>
                </a:ext>
              </a:extLst>
            </p:cNvPr>
            <p:cNvSpPr/>
            <p:nvPr/>
          </p:nvSpPr>
          <p:spPr>
            <a:xfrm>
              <a:off x="6539578" y="5292697"/>
              <a:ext cx="2118360" cy="325120"/>
            </a:xfrm>
            <a:custGeom>
              <a:avLst/>
              <a:gdLst/>
              <a:ahLst/>
              <a:cxnLst/>
              <a:rect l="l" t="t" r="r" b="b"/>
              <a:pathLst>
                <a:path w="2118359" h="325120">
                  <a:moveTo>
                    <a:pt x="10655" y="323481"/>
                  </a:moveTo>
                  <a:lnTo>
                    <a:pt x="2349" y="324345"/>
                  </a:lnTo>
                  <a:lnTo>
                    <a:pt x="2324" y="324700"/>
                  </a:lnTo>
                  <a:lnTo>
                    <a:pt x="10655" y="323481"/>
                  </a:lnTo>
                  <a:close/>
                </a:path>
                <a:path w="2118359" h="325120">
                  <a:moveTo>
                    <a:pt x="1137056" y="142760"/>
                  </a:moveTo>
                  <a:lnTo>
                    <a:pt x="0" y="308584"/>
                  </a:lnTo>
                  <a:lnTo>
                    <a:pt x="431" y="309841"/>
                  </a:lnTo>
                  <a:lnTo>
                    <a:pt x="812" y="311111"/>
                  </a:lnTo>
                  <a:lnTo>
                    <a:pt x="1130" y="312407"/>
                  </a:lnTo>
                  <a:lnTo>
                    <a:pt x="295046" y="282003"/>
                  </a:lnTo>
                  <a:lnTo>
                    <a:pt x="1172502" y="154038"/>
                  </a:lnTo>
                  <a:lnTo>
                    <a:pt x="1137056" y="142760"/>
                  </a:lnTo>
                  <a:close/>
                </a:path>
                <a:path w="2118359" h="325120">
                  <a:moveTo>
                    <a:pt x="1180312" y="136448"/>
                  </a:moveTo>
                  <a:lnTo>
                    <a:pt x="1161262" y="139230"/>
                  </a:lnTo>
                  <a:lnTo>
                    <a:pt x="1196708" y="150507"/>
                  </a:lnTo>
                  <a:lnTo>
                    <a:pt x="1203985" y="149453"/>
                  </a:lnTo>
                  <a:lnTo>
                    <a:pt x="1180312" y="136448"/>
                  </a:lnTo>
                  <a:close/>
                </a:path>
                <a:path w="2118359" h="325120">
                  <a:moveTo>
                    <a:pt x="1241653" y="127507"/>
                  </a:moveTo>
                  <a:lnTo>
                    <a:pt x="1213904" y="131546"/>
                  </a:lnTo>
                  <a:lnTo>
                    <a:pt x="1236357" y="144729"/>
                  </a:lnTo>
                  <a:lnTo>
                    <a:pt x="1251635" y="142493"/>
                  </a:lnTo>
                  <a:lnTo>
                    <a:pt x="1241653" y="127507"/>
                  </a:lnTo>
                  <a:close/>
                </a:path>
                <a:path w="2118359" h="325120">
                  <a:moveTo>
                    <a:pt x="1290015" y="120446"/>
                  </a:moveTo>
                  <a:lnTo>
                    <a:pt x="1256499" y="125336"/>
                  </a:lnTo>
                  <a:lnTo>
                    <a:pt x="1266507" y="140334"/>
                  </a:lnTo>
                  <a:lnTo>
                    <a:pt x="1287919" y="137210"/>
                  </a:lnTo>
                  <a:lnTo>
                    <a:pt x="1290015" y="120446"/>
                  </a:lnTo>
                  <a:close/>
                </a:path>
                <a:path w="2118359" h="325120">
                  <a:moveTo>
                    <a:pt x="1339418" y="113245"/>
                  </a:moveTo>
                  <a:lnTo>
                    <a:pt x="1331417" y="114414"/>
                  </a:lnTo>
                  <a:lnTo>
                    <a:pt x="1321943" y="132245"/>
                  </a:lnTo>
                  <a:lnTo>
                    <a:pt x="1323594" y="132003"/>
                  </a:lnTo>
                  <a:lnTo>
                    <a:pt x="1339418" y="113245"/>
                  </a:lnTo>
                  <a:close/>
                </a:path>
                <a:path w="2118359" h="325120">
                  <a:moveTo>
                    <a:pt x="1391831" y="105600"/>
                  </a:moveTo>
                  <a:lnTo>
                    <a:pt x="1367231" y="109194"/>
                  </a:lnTo>
                  <a:lnTo>
                    <a:pt x="1350365" y="128104"/>
                  </a:lnTo>
                  <a:lnTo>
                    <a:pt x="1363548" y="126174"/>
                  </a:lnTo>
                  <a:lnTo>
                    <a:pt x="1391831" y="105600"/>
                  </a:lnTo>
                  <a:close/>
                </a:path>
                <a:path w="2118359" h="325120">
                  <a:moveTo>
                    <a:pt x="2115934" y="0"/>
                  </a:moveTo>
                  <a:lnTo>
                    <a:pt x="1406956" y="103403"/>
                  </a:lnTo>
                  <a:lnTo>
                    <a:pt x="1378673" y="123964"/>
                  </a:lnTo>
                  <a:lnTo>
                    <a:pt x="1954263" y="40030"/>
                  </a:lnTo>
                  <a:lnTo>
                    <a:pt x="2116074" y="5956"/>
                  </a:lnTo>
                  <a:lnTo>
                    <a:pt x="2115959" y="4622"/>
                  </a:lnTo>
                  <a:lnTo>
                    <a:pt x="2115934" y="0"/>
                  </a:lnTo>
                  <a:close/>
                </a:path>
                <a:path w="2118359" h="325120">
                  <a:moveTo>
                    <a:pt x="2118106" y="15633"/>
                  </a:moveTo>
                  <a:lnTo>
                    <a:pt x="2110422" y="17259"/>
                  </a:lnTo>
                  <a:lnTo>
                    <a:pt x="2118258" y="16103"/>
                  </a:lnTo>
                  <a:lnTo>
                    <a:pt x="2118106" y="15633"/>
                  </a:lnTo>
                  <a:close/>
                </a:path>
              </a:pathLst>
            </a:custGeom>
            <a:solidFill>
              <a:srgbClr val="EF3D60">
                <a:alpha val="50999"/>
              </a:srgbClr>
            </a:solidFill>
          </p:spPr>
          <p:txBody>
            <a:bodyPr wrap="square" lIns="0" tIns="0" rIns="0" bIns="0" rtlCol="0"/>
            <a:lstStyle/>
            <a:p>
              <a:endParaRPr sz="2968"/>
            </a:p>
          </p:txBody>
        </p:sp>
        <p:sp>
          <p:nvSpPr>
            <p:cNvPr id="58" name="object 56">
              <a:extLst>
                <a:ext uri="{FF2B5EF4-FFF2-40B4-BE49-F238E27FC236}">
                  <a16:creationId xmlns:a16="http://schemas.microsoft.com/office/drawing/2014/main" id="{85846941-0F74-6244-A4DC-F34FBDDC1D4E}"/>
                </a:ext>
              </a:extLst>
            </p:cNvPr>
            <p:cNvSpPr/>
            <p:nvPr/>
          </p:nvSpPr>
          <p:spPr>
            <a:xfrm>
              <a:off x="6540704" y="5476444"/>
              <a:ext cx="1245235" cy="140970"/>
            </a:xfrm>
            <a:custGeom>
              <a:avLst/>
              <a:gdLst/>
              <a:ahLst/>
              <a:cxnLst/>
              <a:rect l="l" t="t" r="r" b="b"/>
              <a:pathLst>
                <a:path w="1245234" h="140970">
                  <a:moveTo>
                    <a:pt x="1243812" y="0"/>
                  </a:moveTo>
                  <a:lnTo>
                    <a:pt x="0" y="128663"/>
                  </a:lnTo>
                  <a:lnTo>
                    <a:pt x="812" y="131991"/>
                  </a:lnTo>
                  <a:lnTo>
                    <a:pt x="1244" y="135458"/>
                  </a:lnTo>
                  <a:lnTo>
                    <a:pt x="1219" y="140588"/>
                  </a:lnTo>
                  <a:lnTo>
                    <a:pt x="1245044" y="11925"/>
                  </a:lnTo>
                  <a:lnTo>
                    <a:pt x="1244218" y="8597"/>
                  </a:lnTo>
                  <a:lnTo>
                    <a:pt x="1243787" y="5105"/>
                  </a:lnTo>
                  <a:lnTo>
                    <a:pt x="1243812" y="0"/>
                  </a:lnTo>
                  <a:close/>
                </a:path>
              </a:pathLst>
            </a:custGeom>
            <a:solidFill>
              <a:srgbClr val="EF3D60">
                <a:alpha val="50999"/>
              </a:srgbClr>
            </a:solidFill>
          </p:spPr>
          <p:txBody>
            <a:bodyPr wrap="square" lIns="0" tIns="0" rIns="0" bIns="0" rtlCol="0"/>
            <a:lstStyle/>
            <a:p>
              <a:endParaRPr sz="2968"/>
            </a:p>
          </p:txBody>
        </p:sp>
        <p:sp>
          <p:nvSpPr>
            <p:cNvPr id="59" name="object 57">
              <a:extLst>
                <a:ext uri="{FF2B5EF4-FFF2-40B4-BE49-F238E27FC236}">
                  <a16:creationId xmlns:a16="http://schemas.microsoft.com/office/drawing/2014/main" id="{54791D6D-CC9E-EB41-9890-599CCA3A6DA5}"/>
                </a:ext>
              </a:extLst>
            </p:cNvPr>
            <p:cNvSpPr/>
            <p:nvPr/>
          </p:nvSpPr>
          <p:spPr>
            <a:xfrm>
              <a:off x="7867216" y="5494141"/>
              <a:ext cx="1440815" cy="884555"/>
            </a:xfrm>
            <a:custGeom>
              <a:avLst/>
              <a:gdLst/>
              <a:ahLst/>
              <a:cxnLst/>
              <a:rect l="l" t="t" r="r" b="b"/>
              <a:pathLst>
                <a:path w="1440815" h="884554">
                  <a:moveTo>
                    <a:pt x="1339024" y="810945"/>
                  </a:moveTo>
                  <a:lnTo>
                    <a:pt x="1327226" y="820267"/>
                  </a:lnTo>
                  <a:lnTo>
                    <a:pt x="1433093" y="884428"/>
                  </a:lnTo>
                  <a:lnTo>
                    <a:pt x="1434858" y="880008"/>
                  </a:lnTo>
                  <a:lnTo>
                    <a:pt x="1437347" y="875944"/>
                  </a:lnTo>
                  <a:lnTo>
                    <a:pt x="1440395" y="872375"/>
                  </a:lnTo>
                  <a:lnTo>
                    <a:pt x="1339024" y="810945"/>
                  </a:lnTo>
                  <a:close/>
                </a:path>
                <a:path w="1440815" h="884554">
                  <a:moveTo>
                    <a:pt x="1204683" y="729526"/>
                  </a:moveTo>
                  <a:lnTo>
                    <a:pt x="1198206" y="742073"/>
                  </a:lnTo>
                  <a:lnTo>
                    <a:pt x="1311783" y="810907"/>
                  </a:lnTo>
                  <a:lnTo>
                    <a:pt x="1323581" y="801585"/>
                  </a:lnTo>
                  <a:lnTo>
                    <a:pt x="1204683" y="729526"/>
                  </a:lnTo>
                  <a:close/>
                </a:path>
                <a:path w="1440815" h="884554">
                  <a:moveTo>
                    <a:pt x="510159" y="308597"/>
                  </a:moveTo>
                  <a:lnTo>
                    <a:pt x="495465" y="316166"/>
                  </a:lnTo>
                  <a:lnTo>
                    <a:pt x="1187030" y="735291"/>
                  </a:lnTo>
                  <a:lnTo>
                    <a:pt x="1193507" y="722757"/>
                  </a:lnTo>
                  <a:lnTo>
                    <a:pt x="510159" y="308597"/>
                  </a:lnTo>
                  <a:close/>
                </a:path>
                <a:path w="1440815" h="884554">
                  <a:moveTo>
                    <a:pt x="990" y="0"/>
                  </a:moveTo>
                  <a:lnTo>
                    <a:pt x="685" y="774"/>
                  </a:lnTo>
                  <a:lnTo>
                    <a:pt x="355" y="1536"/>
                  </a:lnTo>
                  <a:lnTo>
                    <a:pt x="0" y="2273"/>
                  </a:lnTo>
                  <a:lnTo>
                    <a:pt x="92671" y="72034"/>
                  </a:lnTo>
                  <a:lnTo>
                    <a:pt x="481672" y="307797"/>
                  </a:lnTo>
                  <a:lnTo>
                    <a:pt x="496366" y="300228"/>
                  </a:lnTo>
                  <a:lnTo>
                    <a:pt x="990" y="0"/>
                  </a:lnTo>
                  <a:close/>
                </a:path>
              </a:pathLst>
            </a:custGeom>
            <a:solidFill>
              <a:srgbClr val="EF3D60">
                <a:alpha val="50999"/>
              </a:srgbClr>
            </a:solidFill>
          </p:spPr>
          <p:txBody>
            <a:bodyPr wrap="square" lIns="0" tIns="0" rIns="0" bIns="0" rtlCol="0"/>
            <a:lstStyle/>
            <a:p>
              <a:endParaRPr sz="2968"/>
            </a:p>
          </p:txBody>
        </p:sp>
        <p:sp>
          <p:nvSpPr>
            <p:cNvPr id="60" name="object 58">
              <a:extLst>
                <a:ext uri="{FF2B5EF4-FFF2-40B4-BE49-F238E27FC236}">
                  <a16:creationId xmlns:a16="http://schemas.microsoft.com/office/drawing/2014/main" id="{9F979646-1387-2A41-AB3A-3F14413CC3B7}"/>
                </a:ext>
              </a:extLst>
            </p:cNvPr>
            <p:cNvSpPr/>
            <p:nvPr/>
          </p:nvSpPr>
          <p:spPr>
            <a:xfrm>
              <a:off x="7846626" y="5512926"/>
              <a:ext cx="238125" cy="388620"/>
            </a:xfrm>
            <a:custGeom>
              <a:avLst/>
              <a:gdLst/>
              <a:ahLst/>
              <a:cxnLst/>
              <a:rect l="l" t="t" r="r" b="b"/>
              <a:pathLst>
                <a:path w="238125" h="388620">
                  <a:moveTo>
                    <a:pt x="7023" y="0"/>
                  </a:moveTo>
                  <a:lnTo>
                    <a:pt x="4838" y="1625"/>
                  </a:lnTo>
                  <a:lnTo>
                    <a:pt x="2476" y="3035"/>
                  </a:lnTo>
                  <a:lnTo>
                    <a:pt x="0" y="4229"/>
                  </a:lnTo>
                  <a:lnTo>
                    <a:pt x="230543" y="388505"/>
                  </a:lnTo>
                  <a:lnTo>
                    <a:pt x="232740" y="386880"/>
                  </a:lnTo>
                  <a:lnTo>
                    <a:pt x="235089" y="385470"/>
                  </a:lnTo>
                  <a:lnTo>
                    <a:pt x="237553" y="384276"/>
                  </a:lnTo>
                  <a:lnTo>
                    <a:pt x="7023" y="0"/>
                  </a:lnTo>
                  <a:close/>
                </a:path>
              </a:pathLst>
            </a:custGeom>
            <a:solidFill>
              <a:srgbClr val="EF3D60">
                <a:alpha val="50999"/>
              </a:srgbClr>
            </a:solidFill>
          </p:spPr>
          <p:txBody>
            <a:bodyPr wrap="square" lIns="0" tIns="0" rIns="0" bIns="0" rtlCol="0"/>
            <a:lstStyle/>
            <a:p>
              <a:endParaRPr sz="2968"/>
            </a:p>
          </p:txBody>
        </p:sp>
        <p:sp>
          <p:nvSpPr>
            <p:cNvPr id="61" name="object 59">
              <a:extLst>
                <a:ext uri="{FF2B5EF4-FFF2-40B4-BE49-F238E27FC236}">
                  <a16:creationId xmlns:a16="http://schemas.microsoft.com/office/drawing/2014/main" id="{3A25B4A8-4EEC-EE49-BE12-0A6E26C70587}"/>
                </a:ext>
              </a:extLst>
            </p:cNvPr>
            <p:cNvSpPr/>
            <p:nvPr/>
          </p:nvSpPr>
          <p:spPr>
            <a:xfrm>
              <a:off x="6858936" y="5165062"/>
              <a:ext cx="927735" cy="305435"/>
            </a:xfrm>
            <a:custGeom>
              <a:avLst/>
              <a:gdLst/>
              <a:ahLst/>
              <a:cxnLst/>
              <a:rect l="l" t="t" r="r" b="b"/>
              <a:pathLst>
                <a:path w="927734" h="305435">
                  <a:moveTo>
                    <a:pt x="3238" y="0"/>
                  </a:moveTo>
                  <a:lnTo>
                    <a:pt x="2565" y="3581"/>
                  </a:lnTo>
                  <a:lnTo>
                    <a:pt x="1473" y="6997"/>
                  </a:lnTo>
                  <a:lnTo>
                    <a:pt x="0" y="10198"/>
                  </a:lnTo>
                  <a:lnTo>
                    <a:pt x="926287" y="304939"/>
                  </a:lnTo>
                  <a:lnTo>
                    <a:pt x="926566" y="303441"/>
                  </a:lnTo>
                  <a:lnTo>
                    <a:pt x="926922" y="301967"/>
                  </a:lnTo>
                  <a:lnTo>
                    <a:pt x="927341" y="300532"/>
                  </a:lnTo>
                  <a:lnTo>
                    <a:pt x="899248" y="285102"/>
                  </a:lnTo>
                  <a:lnTo>
                    <a:pt x="3238" y="0"/>
                  </a:lnTo>
                  <a:close/>
                </a:path>
              </a:pathLst>
            </a:custGeom>
            <a:solidFill>
              <a:srgbClr val="EF3D60">
                <a:alpha val="50999"/>
              </a:srgbClr>
            </a:solidFill>
          </p:spPr>
          <p:txBody>
            <a:bodyPr wrap="square" lIns="0" tIns="0" rIns="0" bIns="0" rtlCol="0"/>
            <a:lstStyle/>
            <a:p>
              <a:endParaRPr sz="2968"/>
            </a:p>
          </p:txBody>
        </p:sp>
        <p:sp>
          <p:nvSpPr>
            <p:cNvPr id="62" name="object 60">
              <a:extLst>
                <a:ext uri="{FF2B5EF4-FFF2-40B4-BE49-F238E27FC236}">
                  <a16:creationId xmlns:a16="http://schemas.microsoft.com/office/drawing/2014/main" id="{40D2DE99-BA51-7C4E-BC04-108EAB74F08C}"/>
                </a:ext>
              </a:extLst>
            </p:cNvPr>
            <p:cNvSpPr/>
            <p:nvPr/>
          </p:nvSpPr>
          <p:spPr>
            <a:xfrm>
              <a:off x="5522876" y="4206844"/>
              <a:ext cx="2264410" cy="1259205"/>
            </a:xfrm>
            <a:custGeom>
              <a:avLst/>
              <a:gdLst/>
              <a:ahLst/>
              <a:cxnLst/>
              <a:rect l="l" t="t" r="r" b="b"/>
              <a:pathLst>
                <a:path w="2264409" h="1259204">
                  <a:moveTo>
                    <a:pt x="8864" y="0"/>
                  </a:moveTo>
                  <a:lnTo>
                    <a:pt x="7073" y="6019"/>
                  </a:lnTo>
                  <a:lnTo>
                    <a:pt x="4013" y="11493"/>
                  </a:lnTo>
                  <a:lnTo>
                    <a:pt x="0" y="16103"/>
                  </a:lnTo>
                  <a:lnTo>
                    <a:pt x="2263406" y="1258747"/>
                  </a:lnTo>
                  <a:lnTo>
                    <a:pt x="2263940" y="1257071"/>
                  </a:lnTo>
                  <a:lnTo>
                    <a:pt x="1764360" y="963828"/>
                  </a:lnTo>
                  <a:lnTo>
                    <a:pt x="8864" y="0"/>
                  </a:lnTo>
                  <a:close/>
                </a:path>
              </a:pathLst>
            </a:custGeom>
            <a:solidFill>
              <a:srgbClr val="EF3D60">
                <a:alpha val="50999"/>
              </a:srgbClr>
            </a:solidFill>
          </p:spPr>
          <p:txBody>
            <a:bodyPr wrap="square" lIns="0" tIns="0" rIns="0" bIns="0" rtlCol="0"/>
            <a:lstStyle/>
            <a:p>
              <a:endParaRPr sz="2968"/>
            </a:p>
          </p:txBody>
        </p:sp>
        <p:sp>
          <p:nvSpPr>
            <p:cNvPr id="63" name="object 61">
              <a:extLst>
                <a:ext uri="{FF2B5EF4-FFF2-40B4-BE49-F238E27FC236}">
                  <a16:creationId xmlns:a16="http://schemas.microsoft.com/office/drawing/2014/main" id="{D54A5FC4-74BF-CB43-8F72-36F5E809D45F}"/>
                </a:ext>
              </a:extLst>
            </p:cNvPr>
            <p:cNvSpPr/>
            <p:nvPr/>
          </p:nvSpPr>
          <p:spPr>
            <a:xfrm>
              <a:off x="7862450" y="3808255"/>
              <a:ext cx="1456055" cy="1640205"/>
            </a:xfrm>
            <a:custGeom>
              <a:avLst/>
              <a:gdLst/>
              <a:ahLst/>
              <a:cxnLst/>
              <a:rect l="l" t="t" r="r" b="b"/>
              <a:pathLst>
                <a:path w="1456054" h="1640204">
                  <a:moveTo>
                    <a:pt x="443826" y="1120978"/>
                  </a:moveTo>
                  <a:lnTo>
                    <a:pt x="337921" y="1239710"/>
                  </a:lnTo>
                  <a:lnTo>
                    <a:pt x="0" y="1640205"/>
                  </a:lnTo>
                  <a:lnTo>
                    <a:pt x="8001" y="1634388"/>
                  </a:lnTo>
                  <a:lnTo>
                    <a:pt x="462876" y="1124381"/>
                  </a:lnTo>
                  <a:lnTo>
                    <a:pt x="443826" y="1120978"/>
                  </a:lnTo>
                  <a:close/>
                </a:path>
                <a:path w="1456054" h="1640204">
                  <a:moveTo>
                    <a:pt x="462673" y="1099845"/>
                  </a:moveTo>
                  <a:lnTo>
                    <a:pt x="454025" y="1109535"/>
                  </a:lnTo>
                  <a:lnTo>
                    <a:pt x="473075" y="1112951"/>
                  </a:lnTo>
                  <a:lnTo>
                    <a:pt x="483489" y="1101267"/>
                  </a:lnTo>
                  <a:lnTo>
                    <a:pt x="462673" y="1099845"/>
                  </a:lnTo>
                  <a:close/>
                </a:path>
                <a:path w="1456054" h="1640204">
                  <a:moveTo>
                    <a:pt x="551091" y="1000709"/>
                  </a:moveTo>
                  <a:lnTo>
                    <a:pt x="478256" y="1082382"/>
                  </a:lnTo>
                  <a:lnTo>
                    <a:pt x="499071" y="1083805"/>
                  </a:lnTo>
                  <a:lnTo>
                    <a:pt x="568579" y="1005878"/>
                  </a:lnTo>
                  <a:lnTo>
                    <a:pt x="551091" y="1000709"/>
                  </a:lnTo>
                  <a:close/>
                </a:path>
                <a:path w="1456054" h="1640204">
                  <a:moveTo>
                    <a:pt x="575691" y="973137"/>
                  </a:moveTo>
                  <a:lnTo>
                    <a:pt x="560387" y="990295"/>
                  </a:lnTo>
                  <a:lnTo>
                    <a:pt x="577862" y="995464"/>
                  </a:lnTo>
                  <a:lnTo>
                    <a:pt x="595553" y="975639"/>
                  </a:lnTo>
                  <a:lnTo>
                    <a:pt x="575691" y="973137"/>
                  </a:lnTo>
                  <a:close/>
                </a:path>
                <a:path w="1456054" h="1640204">
                  <a:moveTo>
                    <a:pt x="824191" y="694524"/>
                  </a:moveTo>
                  <a:lnTo>
                    <a:pt x="590156" y="956906"/>
                  </a:lnTo>
                  <a:lnTo>
                    <a:pt x="610019" y="959408"/>
                  </a:lnTo>
                  <a:lnTo>
                    <a:pt x="837679" y="704164"/>
                  </a:lnTo>
                  <a:lnTo>
                    <a:pt x="824191" y="694524"/>
                  </a:lnTo>
                  <a:close/>
                </a:path>
                <a:path w="1456054" h="1640204">
                  <a:moveTo>
                    <a:pt x="1219758" y="251002"/>
                  </a:moveTo>
                  <a:lnTo>
                    <a:pt x="834275" y="683209"/>
                  </a:lnTo>
                  <a:lnTo>
                    <a:pt x="847775" y="692848"/>
                  </a:lnTo>
                  <a:lnTo>
                    <a:pt x="1227493" y="267106"/>
                  </a:lnTo>
                  <a:lnTo>
                    <a:pt x="1219758" y="251002"/>
                  </a:lnTo>
                  <a:close/>
                </a:path>
                <a:path w="1456054" h="1640204">
                  <a:moveTo>
                    <a:pt x="1236345" y="232422"/>
                  </a:moveTo>
                  <a:lnTo>
                    <a:pt x="1228204" y="241528"/>
                  </a:lnTo>
                  <a:lnTo>
                    <a:pt x="1235938" y="257632"/>
                  </a:lnTo>
                  <a:lnTo>
                    <a:pt x="1250543" y="241249"/>
                  </a:lnTo>
                  <a:lnTo>
                    <a:pt x="1236345" y="232422"/>
                  </a:lnTo>
                  <a:close/>
                </a:path>
                <a:path w="1456054" h="1640204">
                  <a:moveTo>
                    <a:pt x="1251419" y="215506"/>
                  </a:moveTo>
                  <a:lnTo>
                    <a:pt x="1246581" y="220941"/>
                  </a:lnTo>
                  <a:lnTo>
                    <a:pt x="1256449" y="227076"/>
                  </a:lnTo>
                  <a:lnTo>
                    <a:pt x="1251419" y="215506"/>
                  </a:lnTo>
                  <a:close/>
                </a:path>
                <a:path w="1456054" h="1640204">
                  <a:moveTo>
                    <a:pt x="1443634" y="0"/>
                  </a:moveTo>
                  <a:lnTo>
                    <a:pt x="1264208" y="201168"/>
                  </a:lnTo>
                  <a:lnTo>
                    <a:pt x="1271447" y="217817"/>
                  </a:lnTo>
                  <a:lnTo>
                    <a:pt x="1455928" y="10972"/>
                  </a:lnTo>
                  <a:lnTo>
                    <a:pt x="1451165" y="8128"/>
                  </a:lnTo>
                  <a:lnTo>
                    <a:pt x="1446987" y="4394"/>
                  </a:lnTo>
                  <a:lnTo>
                    <a:pt x="1443634" y="0"/>
                  </a:lnTo>
                  <a:close/>
                </a:path>
              </a:pathLst>
            </a:custGeom>
            <a:solidFill>
              <a:srgbClr val="EF3D60">
                <a:alpha val="50999"/>
              </a:srgbClr>
            </a:solidFill>
          </p:spPr>
          <p:txBody>
            <a:bodyPr wrap="square" lIns="0" tIns="0" rIns="0" bIns="0" rtlCol="0"/>
            <a:lstStyle/>
            <a:p>
              <a:endParaRPr sz="2968"/>
            </a:p>
          </p:txBody>
        </p:sp>
        <p:sp>
          <p:nvSpPr>
            <p:cNvPr id="64" name="object 62">
              <a:extLst>
                <a:ext uri="{FF2B5EF4-FFF2-40B4-BE49-F238E27FC236}">
                  <a16:creationId xmlns:a16="http://schemas.microsoft.com/office/drawing/2014/main" id="{5C5EF74D-97E1-CD41-B0E5-0CD0719C030F}"/>
                </a:ext>
              </a:extLst>
            </p:cNvPr>
            <p:cNvSpPr/>
            <p:nvPr/>
          </p:nvSpPr>
          <p:spPr>
            <a:xfrm>
              <a:off x="7826916" y="4052929"/>
              <a:ext cx="185420" cy="1382395"/>
            </a:xfrm>
            <a:custGeom>
              <a:avLst/>
              <a:gdLst/>
              <a:ahLst/>
              <a:cxnLst/>
              <a:rect l="l" t="t" r="r" b="b"/>
              <a:pathLst>
                <a:path w="185420" h="1382395">
                  <a:moveTo>
                    <a:pt x="4695" y="1381620"/>
                  </a:moveTo>
                  <a:lnTo>
                    <a:pt x="2222" y="1381620"/>
                  </a:lnTo>
                  <a:lnTo>
                    <a:pt x="3441" y="1381671"/>
                  </a:lnTo>
                  <a:lnTo>
                    <a:pt x="4648" y="1381772"/>
                  </a:lnTo>
                  <a:lnTo>
                    <a:pt x="4695" y="1381620"/>
                  </a:lnTo>
                  <a:close/>
                </a:path>
                <a:path w="185420" h="1382395">
                  <a:moveTo>
                    <a:pt x="172707" y="0"/>
                  </a:moveTo>
                  <a:lnTo>
                    <a:pt x="0" y="1381633"/>
                  </a:lnTo>
                  <a:lnTo>
                    <a:pt x="4695" y="1381620"/>
                  </a:lnTo>
                  <a:lnTo>
                    <a:pt x="18300" y="1337691"/>
                  </a:lnTo>
                  <a:lnTo>
                    <a:pt x="185316" y="1574"/>
                  </a:lnTo>
                  <a:lnTo>
                    <a:pt x="180211" y="1562"/>
                  </a:lnTo>
                  <a:lnTo>
                    <a:pt x="176403" y="1028"/>
                  </a:lnTo>
                  <a:lnTo>
                    <a:pt x="172707" y="0"/>
                  </a:lnTo>
                  <a:close/>
                </a:path>
              </a:pathLst>
            </a:custGeom>
            <a:solidFill>
              <a:srgbClr val="EF3D60">
                <a:alpha val="50999"/>
              </a:srgbClr>
            </a:solidFill>
          </p:spPr>
          <p:txBody>
            <a:bodyPr wrap="square" lIns="0" tIns="0" rIns="0" bIns="0" rtlCol="0"/>
            <a:lstStyle/>
            <a:p>
              <a:endParaRPr sz="2968"/>
            </a:p>
          </p:txBody>
        </p:sp>
        <p:sp>
          <p:nvSpPr>
            <p:cNvPr id="65" name="object 63">
              <a:extLst>
                <a:ext uri="{FF2B5EF4-FFF2-40B4-BE49-F238E27FC236}">
                  <a16:creationId xmlns:a16="http://schemas.microsoft.com/office/drawing/2014/main" id="{CC3641FA-D656-D94B-96DE-113A6A3F9BB1}"/>
                </a:ext>
              </a:extLst>
            </p:cNvPr>
            <p:cNvSpPr/>
            <p:nvPr/>
          </p:nvSpPr>
          <p:spPr>
            <a:xfrm>
              <a:off x="6929284" y="4134676"/>
              <a:ext cx="880744" cy="1311910"/>
            </a:xfrm>
            <a:custGeom>
              <a:avLst/>
              <a:gdLst/>
              <a:ahLst/>
              <a:cxnLst/>
              <a:rect l="l" t="t" r="r" b="b"/>
              <a:pathLst>
                <a:path w="880745" h="1311910">
                  <a:moveTo>
                    <a:pt x="11226" y="0"/>
                  </a:moveTo>
                  <a:lnTo>
                    <a:pt x="7912" y="3048"/>
                  </a:lnTo>
                  <a:lnTo>
                    <a:pt x="4127" y="5600"/>
                  </a:lnTo>
                  <a:lnTo>
                    <a:pt x="0" y="7505"/>
                  </a:lnTo>
                  <a:lnTo>
                    <a:pt x="869188" y="1311389"/>
                  </a:lnTo>
                  <a:lnTo>
                    <a:pt x="872502" y="1308315"/>
                  </a:lnTo>
                  <a:lnTo>
                    <a:pt x="876300" y="1305763"/>
                  </a:lnTo>
                  <a:lnTo>
                    <a:pt x="880452" y="1303845"/>
                  </a:lnTo>
                  <a:lnTo>
                    <a:pt x="11226" y="0"/>
                  </a:lnTo>
                  <a:close/>
                </a:path>
              </a:pathLst>
            </a:custGeom>
            <a:solidFill>
              <a:srgbClr val="EF3D60">
                <a:alpha val="50999"/>
              </a:srgbClr>
            </a:solidFill>
          </p:spPr>
          <p:txBody>
            <a:bodyPr wrap="square" lIns="0" tIns="0" rIns="0" bIns="0" rtlCol="0"/>
            <a:lstStyle/>
            <a:p>
              <a:endParaRPr sz="2968"/>
            </a:p>
          </p:txBody>
        </p:sp>
        <p:sp>
          <p:nvSpPr>
            <p:cNvPr id="66" name="object 64">
              <a:extLst>
                <a:ext uri="{FF2B5EF4-FFF2-40B4-BE49-F238E27FC236}">
                  <a16:creationId xmlns:a16="http://schemas.microsoft.com/office/drawing/2014/main" id="{0D24527B-E8F5-A44E-A1E5-9E6C078E1A15}"/>
                </a:ext>
              </a:extLst>
            </p:cNvPr>
            <p:cNvSpPr/>
            <p:nvPr/>
          </p:nvSpPr>
          <p:spPr>
            <a:xfrm>
              <a:off x="5751563" y="4254341"/>
              <a:ext cx="2044064" cy="1209675"/>
            </a:xfrm>
            <a:custGeom>
              <a:avLst/>
              <a:gdLst/>
              <a:ahLst/>
              <a:cxnLst/>
              <a:rect l="l" t="t" r="r" b="b"/>
              <a:pathLst>
                <a:path w="2044065" h="1209675">
                  <a:moveTo>
                    <a:pt x="8750" y="0"/>
                  </a:moveTo>
                  <a:lnTo>
                    <a:pt x="6845" y="5562"/>
                  </a:lnTo>
                  <a:lnTo>
                    <a:pt x="3835" y="10617"/>
                  </a:lnTo>
                  <a:lnTo>
                    <a:pt x="0" y="14909"/>
                  </a:lnTo>
                  <a:lnTo>
                    <a:pt x="2035251" y="1209573"/>
                  </a:lnTo>
                  <a:lnTo>
                    <a:pt x="2037168" y="1203998"/>
                  </a:lnTo>
                  <a:lnTo>
                    <a:pt x="2040178" y="1198918"/>
                  </a:lnTo>
                  <a:lnTo>
                    <a:pt x="2044039" y="1194625"/>
                  </a:lnTo>
                  <a:lnTo>
                    <a:pt x="8750" y="0"/>
                  </a:lnTo>
                  <a:close/>
                </a:path>
              </a:pathLst>
            </a:custGeom>
            <a:solidFill>
              <a:srgbClr val="EF3D60">
                <a:alpha val="50999"/>
              </a:srgbClr>
            </a:solidFill>
          </p:spPr>
          <p:txBody>
            <a:bodyPr wrap="square" lIns="0" tIns="0" rIns="0" bIns="0" rtlCol="0"/>
            <a:lstStyle/>
            <a:p>
              <a:endParaRPr sz="2968"/>
            </a:p>
          </p:txBody>
        </p:sp>
        <p:sp>
          <p:nvSpPr>
            <p:cNvPr id="67" name="object 65">
              <a:extLst>
                <a:ext uri="{FF2B5EF4-FFF2-40B4-BE49-F238E27FC236}">
                  <a16:creationId xmlns:a16="http://schemas.microsoft.com/office/drawing/2014/main" id="{BF6EAF98-EBB4-564F-BB9B-DE68D340918D}"/>
                </a:ext>
              </a:extLst>
            </p:cNvPr>
            <p:cNvSpPr/>
            <p:nvPr/>
          </p:nvSpPr>
          <p:spPr>
            <a:xfrm>
              <a:off x="7852395" y="4039027"/>
              <a:ext cx="1191260" cy="1410970"/>
            </a:xfrm>
            <a:custGeom>
              <a:avLst/>
              <a:gdLst/>
              <a:ahLst/>
              <a:cxnLst/>
              <a:rect l="l" t="t" r="r" b="b"/>
              <a:pathLst>
                <a:path w="1191259" h="1410970">
                  <a:moveTo>
                    <a:pt x="432117" y="886307"/>
                  </a:moveTo>
                  <a:lnTo>
                    <a:pt x="6667" y="1390535"/>
                  </a:lnTo>
                  <a:lnTo>
                    <a:pt x="0" y="1403096"/>
                  </a:lnTo>
                  <a:lnTo>
                    <a:pt x="3124" y="1405229"/>
                  </a:lnTo>
                  <a:lnTo>
                    <a:pt x="5956" y="1407769"/>
                  </a:lnTo>
                  <a:lnTo>
                    <a:pt x="8420" y="1410627"/>
                  </a:lnTo>
                  <a:lnTo>
                    <a:pt x="10058" y="1409433"/>
                  </a:lnTo>
                  <a:lnTo>
                    <a:pt x="448919" y="889317"/>
                  </a:lnTo>
                  <a:lnTo>
                    <a:pt x="432117" y="886307"/>
                  </a:lnTo>
                  <a:close/>
                </a:path>
                <a:path w="1191259" h="1410970">
                  <a:moveTo>
                    <a:pt x="448081" y="867384"/>
                  </a:moveTo>
                  <a:lnTo>
                    <a:pt x="441845" y="874788"/>
                  </a:lnTo>
                  <a:lnTo>
                    <a:pt x="458635" y="877798"/>
                  </a:lnTo>
                  <a:lnTo>
                    <a:pt x="466369" y="868641"/>
                  </a:lnTo>
                  <a:lnTo>
                    <a:pt x="448081" y="867384"/>
                  </a:lnTo>
                  <a:close/>
                </a:path>
                <a:path w="1191259" h="1410970">
                  <a:moveTo>
                    <a:pt x="536447" y="762660"/>
                  </a:moveTo>
                  <a:lnTo>
                    <a:pt x="462864" y="849871"/>
                  </a:lnTo>
                  <a:lnTo>
                    <a:pt x="481139" y="851115"/>
                  </a:lnTo>
                  <a:lnTo>
                    <a:pt x="551941" y="767219"/>
                  </a:lnTo>
                  <a:lnTo>
                    <a:pt x="536447" y="762660"/>
                  </a:lnTo>
                  <a:close/>
                </a:path>
                <a:path w="1191259" h="1410970">
                  <a:moveTo>
                    <a:pt x="556666" y="738695"/>
                  </a:moveTo>
                  <a:lnTo>
                    <a:pt x="545337" y="752119"/>
                  </a:lnTo>
                  <a:lnTo>
                    <a:pt x="560819" y="756691"/>
                  </a:lnTo>
                  <a:lnTo>
                    <a:pt x="574154" y="740892"/>
                  </a:lnTo>
                  <a:lnTo>
                    <a:pt x="556666" y="738695"/>
                  </a:lnTo>
                  <a:close/>
                </a:path>
                <a:path w="1191259" h="1410970">
                  <a:moveTo>
                    <a:pt x="805789" y="443433"/>
                  </a:moveTo>
                  <a:lnTo>
                    <a:pt x="570433" y="722376"/>
                  </a:lnTo>
                  <a:lnTo>
                    <a:pt x="587908" y="724585"/>
                  </a:lnTo>
                  <a:lnTo>
                    <a:pt x="817854" y="452056"/>
                  </a:lnTo>
                  <a:lnTo>
                    <a:pt x="805789" y="443433"/>
                  </a:lnTo>
                  <a:close/>
                </a:path>
                <a:path w="1191259" h="1410970">
                  <a:moveTo>
                    <a:pt x="1179956" y="0"/>
                  </a:moveTo>
                  <a:lnTo>
                    <a:pt x="815543" y="431876"/>
                  </a:lnTo>
                  <a:lnTo>
                    <a:pt x="827608" y="440499"/>
                  </a:lnTo>
                  <a:lnTo>
                    <a:pt x="1191247" y="9525"/>
                  </a:lnTo>
                  <a:lnTo>
                    <a:pt x="1186954" y="7010"/>
                  </a:lnTo>
                  <a:lnTo>
                    <a:pt x="1183131" y="3784"/>
                  </a:lnTo>
                  <a:lnTo>
                    <a:pt x="1179956" y="0"/>
                  </a:lnTo>
                  <a:close/>
                </a:path>
              </a:pathLst>
            </a:custGeom>
            <a:solidFill>
              <a:srgbClr val="EF3D60">
                <a:alpha val="50999"/>
              </a:srgbClr>
            </a:solidFill>
          </p:spPr>
          <p:txBody>
            <a:bodyPr wrap="square" lIns="0" tIns="0" rIns="0" bIns="0" rtlCol="0"/>
            <a:lstStyle/>
            <a:p>
              <a:endParaRPr sz="2968"/>
            </a:p>
          </p:txBody>
        </p:sp>
        <p:sp>
          <p:nvSpPr>
            <p:cNvPr id="68" name="object 66">
              <a:extLst>
                <a:ext uri="{FF2B5EF4-FFF2-40B4-BE49-F238E27FC236}">
                  <a16:creationId xmlns:a16="http://schemas.microsoft.com/office/drawing/2014/main" id="{3DA7D2D2-0CB4-7A4C-8A5D-30FBA058A990}"/>
                </a:ext>
              </a:extLst>
            </p:cNvPr>
            <p:cNvSpPr/>
            <p:nvPr/>
          </p:nvSpPr>
          <p:spPr>
            <a:xfrm>
              <a:off x="7854128" y="5511681"/>
              <a:ext cx="1024890" cy="995680"/>
            </a:xfrm>
            <a:custGeom>
              <a:avLst/>
              <a:gdLst/>
              <a:ahLst/>
              <a:cxnLst/>
              <a:rect l="l" t="t" r="r" b="b"/>
              <a:pathLst>
                <a:path w="1024890" h="995679">
                  <a:moveTo>
                    <a:pt x="386638" y="361429"/>
                  </a:moveTo>
                  <a:lnTo>
                    <a:pt x="374662" y="367601"/>
                  </a:lnTo>
                  <a:lnTo>
                    <a:pt x="1015796" y="995133"/>
                  </a:lnTo>
                  <a:lnTo>
                    <a:pt x="1018311" y="991654"/>
                  </a:lnTo>
                  <a:lnTo>
                    <a:pt x="1021346" y="988555"/>
                  </a:lnTo>
                  <a:lnTo>
                    <a:pt x="1024775" y="985964"/>
                  </a:lnTo>
                  <a:lnTo>
                    <a:pt x="386638" y="361429"/>
                  </a:lnTo>
                  <a:close/>
                </a:path>
                <a:path w="1024890" h="995679">
                  <a:moveTo>
                    <a:pt x="1130" y="0"/>
                  </a:moveTo>
                  <a:lnTo>
                    <a:pt x="0" y="889"/>
                  </a:lnTo>
                  <a:lnTo>
                    <a:pt x="364312" y="357466"/>
                  </a:lnTo>
                  <a:lnTo>
                    <a:pt x="376288" y="351294"/>
                  </a:lnTo>
                  <a:lnTo>
                    <a:pt x="97408" y="78359"/>
                  </a:lnTo>
                  <a:lnTo>
                    <a:pt x="1130" y="0"/>
                  </a:lnTo>
                  <a:close/>
                </a:path>
              </a:pathLst>
            </a:custGeom>
            <a:solidFill>
              <a:srgbClr val="EF3D60">
                <a:alpha val="50999"/>
              </a:srgbClr>
            </a:solidFill>
          </p:spPr>
          <p:txBody>
            <a:bodyPr wrap="square" lIns="0" tIns="0" rIns="0" bIns="0" rtlCol="0"/>
            <a:lstStyle/>
            <a:p>
              <a:endParaRPr sz="2968"/>
            </a:p>
          </p:txBody>
        </p:sp>
        <p:sp>
          <p:nvSpPr>
            <p:cNvPr id="69" name="object 67">
              <a:extLst>
                <a:ext uri="{FF2B5EF4-FFF2-40B4-BE49-F238E27FC236}">
                  <a16:creationId xmlns:a16="http://schemas.microsoft.com/office/drawing/2014/main" id="{B65C1E74-E3D7-254C-9FA2-8DD40B9A505D}"/>
                </a:ext>
              </a:extLst>
            </p:cNvPr>
            <p:cNvSpPr/>
            <p:nvPr/>
          </p:nvSpPr>
          <p:spPr>
            <a:xfrm>
              <a:off x="7860806" y="5317194"/>
              <a:ext cx="186270" cy="138214"/>
            </a:xfrm>
            <a:prstGeom prst="rect">
              <a:avLst/>
            </a:prstGeom>
            <a:blipFill>
              <a:blip r:embed="rId2" cstate="print"/>
              <a:stretch>
                <a:fillRect/>
              </a:stretch>
            </a:blipFill>
          </p:spPr>
          <p:txBody>
            <a:bodyPr wrap="square" lIns="0" tIns="0" rIns="0" bIns="0" rtlCol="0"/>
            <a:lstStyle/>
            <a:p>
              <a:endParaRPr sz="2968"/>
            </a:p>
          </p:txBody>
        </p:sp>
        <p:sp>
          <p:nvSpPr>
            <p:cNvPr id="70" name="object 68">
              <a:extLst>
                <a:ext uri="{FF2B5EF4-FFF2-40B4-BE49-F238E27FC236}">
                  <a16:creationId xmlns:a16="http://schemas.microsoft.com/office/drawing/2014/main" id="{5310443C-90E5-0A4A-829B-24D9EF672294}"/>
                </a:ext>
              </a:extLst>
            </p:cNvPr>
            <p:cNvSpPr/>
            <p:nvPr/>
          </p:nvSpPr>
          <p:spPr>
            <a:xfrm>
              <a:off x="7858824" y="4920180"/>
              <a:ext cx="208915" cy="489584"/>
            </a:xfrm>
            <a:custGeom>
              <a:avLst/>
              <a:gdLst/>
              <a:ahLst/>
              <a:cxnLst/>
              <a:rect l="l" t="t" r="r" b="b"/>
              <a:pathLst>
                <a:path w="208915" h="489585">
                  <a:moveTo>
                    <a:pt x="200342" y="0"/>
                  </a:moveTo>
                  <a:lnTo>
                    <a:pt x="18326" y="430161"/>
                  </a:lnTo>
                  <a:lnTo>
                    <a:pt x="0" y="489369"/>
                  </a:lnTo>
                  <a:lnTo>
                    <a:pt x="13703" y="463562"/>
                  </a:lnTo>
                  <a:lnTo>
                    <a:pt x="208356" y="3390"/>
                  </a:lnTo>
                  <a:lnTo>
                    <a:pt x="205549" y="2527"/>
                  </a:lnTo>
                  <a:lnTo>
                    <a:pt x="202869" y="1384"/>
                  </a:lnTo>
                  <a:lnTo>
                    <a:pt x="200342" y="0"/>
                  </a:lnTo>
                  <a:close/>
                </a:path>
              </a:pathLst>
            </a:custGeom>
            <a:solidFill>
              <a:srgbClr val="EF3D60">
                <a:alpha val="50999"/>
              </a:srgbClr>
            </a:solidFill>
          </p:spPr>
          <p:txBody>
            <a:bodyPr wrap="square" lIns="0" tIns="0" rIns="0" bIns="0" rtlCol="0"/>
            <a:lstStyle/>
            <a:p>
              <a:endParaRPr sz="2968"/>
            </a:p>
          </p:txBody>
        </p:sp>
        <p:sp>
          <p:nvSpPr>
            <p:cNvPr id="71" name="object 69">
              <a:extLst>
                <a:ext uri="{FF2B5EF4-FFF2-40B4-BE49-F238E27FC236}">
                  <a16:creationId xmlns:a16="http://schemas.microsoft.com/office/drawing/2014/main" id="{2BF47D79-063C-7043-89FC-BE6A9837A581}"/>
                </a:ext>
              </a:extLst>
            </p:cNvPr>
            <p:cNvSpPr/>
            <p:nvPr/>
          </p:nvSpPr>
          <p:spPr>
            <a:xfrm>
              <a:off x="7849318" y="4780402"/>
              <a:ext cx="352425" cy="662305"/>
            </a:xfrm>
            <a:custGeom>
              <a:avLst/>
              <a:gdLst/>
              <a:ahLst/>
              <a:cxnLst/>
              <a:rect l="l" t="t" r="r" b="b"/>
              <a:pathLst>
                <a:path w="352425" h="662304">
                  <a:moveTo>
                    <a:pt x="281381" y="117386"/>
                  </a:moveTo>
                  <a:lnTo>
                    <a:pt x="9499" y="629145"/>
                  </a:lnTo>
                  <a:lnTo>
                    <a:pt x="0" y="659803"/>
                  </a:lnTo>
                  <a:lnTo>
                    <a:pt x="1054" y="660399"/>
                  </a:lnTo>
                  <a:lnTo>
                    <a:pt x="2082" y="661035"/>
                  </a:lnTo>
                  <a:lnTo>
                    <a:pt x="3073" y="661720"/>
                  </a:lnTo>
                  <a:lnTo>
                    <a:pt x="291287" y="119164"/>
                  </a:lnTo>
                  <a:lnTo>
                    <a:pt x="281381" y="117386"/>
                  </a:lnTo>
                  <a:close/>
                </a:path>
                <a:path w="352425" h="662304">
                  <a:moveTo>
                    <a:pt x="343738" y="0"/>
                  </a:moveTo>
                  <a:lnTo>
                    <a:pt x="292404" y="96634"/>
                  </a:lnTo>
                  <a:lnTo>
                    <a:pt x="302869" y="97345"/>
                  </a:lnTo>
                  <a:lnTo>
                    <a:pt x="352183" y="4495"/>
                  </a:lnTo>
                  <a:lnTo>
                    <a:pt x="349199" y="3314"/>
                  </a:lnTo>
                  <a:lnTo>
                    <a:pt x="346354" y="1790"/>
                  </a:lnTo>
                  <a:lnTo>
                    <a:pt x="343738" y="0"/>
                  </a:lnTo>
                  <a:close/>
                </a:path>
              </a:pathLst>
            </a:custGeom>
            <a:solidFill>
              <a:srgbClr val="EF3D60">
                <a:alpha val="50999"/>
              </a:srgbClr>
            </a:solidFill>
          </p:spPr>
          <p:txBody>
            <a:bodyPr wrap="square" lIns="0" tIns="0" rIns="0" bIns="0" rtlCol="0"/>
            <a:lstStyle/>
            <a:p>
              <a:endParaRPr sz="2968"/>
            </a:p>
          </p:txBody>
        </p:sp>
        <p:sp>
          <p:nvSpPr>
            <p:cNvPr id="72" name="object 70">
              <a:extLst>
                <a:ext uri="{FF2B5EF4-FFF2-40B4-BE49-F238E27FC236}">
                  <a16:creationId xmlns:a16="http://schemas.microsoft.com/office/drawing/2014/main" id="{191BFD73-811E-2044-83FA-476F2AC9BBB1}"/>
                </a:ext>
              </a:extLst>
            </p:cNvPr>
            <p:cNvSpPr/>
            <p:nvPr/>
          </p:nvSpPr>
          <p:spPr>
            <a:xfrm>
              <a:off x="7899364" y="5298658"/>
              <a:ext cx="758825" cy="159385"/>
            </a:xfrm>
            <a:custGeom>
              <a:avLst/>
              <a:gdLst/>
              <a:ahLst/>
              <a:cxnLst/>
              <a:rect l="l" t="t" r="r" b="b"/>
              <a:pathLst>
                <a:path w="758825" h="159385">
                  <a:moveTo>
                    <a:pt x="756284" y="0"/>
                  </a:moveTo>
                  <a:lnTo>
                    <a:pt x="0" y="159207"/>
                  </a:lnTo>
                  <a:lnTo>
                    <a:pt x="325551" y="100774"/>
                  </a:lnTo>
                  <a:lnTo>
                    <a:pt x="758316" y="9677"/>
                  </a:lnTo>
                  <a:lnTo>
                    <a:pt x="757288" y="6591"/>
                  </a:lnTo>
                  <a:lnTo>
                    <a:pt x="756602" y="3352"/>
                  </a:lnTo>
                  <a:lnTo>
                    <a:pt x="756284" y="0"/>
                  </a:lnTo>
                  <a:close/>
                </a:path>
              </a:pathLst>
            </a:custGeom>
            <a:solidFill>
              <a:srgbClr val="EF3D60">
                <a:alpha val="50999"/>
              </a:srgbClr>
            </a:solidFill>
          </p:spPr>
          <p:txBody>
            <a:bodyPr wrap="square" lIns="0" tIns="0" rIns="0" bIns="0" rtlCol="0"/>
            <a:lstStyle/>
            <a:p>
              <a:endParaRPr sz="2968"/>
            </a:p>
          </p:txBody>
        </p:sp>
        <p:sp>
          <p:nvSpPr>
            <p:cNvPr id="73" name="object 71">
              <a:extLst>
                <a:ext uri="{FF2B5EF4-FFF2-40B4-BE49-F238E27FC236}">
                  <a16:creationId xmlns:a16="http://schemas.microsoft.com/office/drawing/2014/main" id="{47303FD3-5998-A042-87BD-F6A6798DC482}"/>
                </a:ext>
              </a:extLst>
            </p:cNvPr>
            <p:cNvSpPr/>
            <p:nvPr/>
          </p:nvSpPr>
          <p:spPr>
            <a:xfrm>
              <a:off x="7831564" y="2925821"/>
              <a:ext cx="795020" cy="2514600"/>
            </a:xfrm>
            <a:custGeom>
              <a:avLst/>
              <a:gdLst/>
              <a:ahLst/>
              <a:cxnLst/>
              <a:rect l="l" t="t" r="r" b="b"/>
              <a:pathLst>
                <a:path w="795020" h="2514600">
                  <a:moveTo>
                    <a:pt x="391261" y="1245666"/>
                  </a:moveTo>
                  <a:lnTo>
                    <a:pt x="0" y="2508885"/>
                  </a:lnTo>
                  <a:lnTo>
                    <a:pt x="6413" y="2509418"/>
                  </a:lnTo>
                  <a:lnTo>
                    <a:pt x="12445" y="2511348"/>
                  </a:lnTo>
                  <a:lnTo>
                    <a:pt x="17754" y="2514384"/>
                  </a:lnTo>
                  <a:lnTo>
                    <a:pt x="407200" y="1257046"/>
                  </a:lnTo>
                  <a:lnTo>
                    <a:pt x="391261" y="1245666"/>
                  </a:lnTo>
                  <a:close/>
                </a:path>
                <a:path w="795020" h="2514600">
                  <a:moveTo>
                    <a:pt x="777087" y="0"/>
                  </a:moveTo>
                  <a:lnTo>
                    <a:pt x="395960" y="1230503"/>
                  </a:lnTo>
                  <a:lnTo>
                    <a:pt x="411911" y="1241882"/>
                  </a:lnTo>
                  <a:lnTo>
                    <a:pt x="794867" y="5511"/>
                  </a:lnTo>
                  <a:lnTo>
                    <a:pt x="788428" y="4965"/>
                  </a:lnTo>
                  <a:lnTo>
                    <a:pt x="782408" y="3035"/>
                  </a:lnTo>
                  <a:lnTo>
                    <a:pt x="777087" y="0"/>
                  </a:lnTo>
                  <a:close/>
                </a:path>
              </a:pathLst>
            </a:custGeom>
            <a:solidFill>
              <a:srgbClr val="EF3D60">
                <a:alpha val="50999"/>
              </a:srgbClr>
            </a:solidFill>
          </p:spPr>
          <p:txBody>
            <a:bodyPr wrap="square" lIns="0" tIns="0" rIns="0" bIns="0" rtlCol="0"/>
            <a:lstStyle/>
            <a:p>
              <a:endParaRPr sz="2968"/>
            </a:p>
          </p:txBody>
        </p:sp>
        <p:sp>
          <p:nvSpPr>
            <p:cNvPr id="74" name="object 72">
              <a:extLst>
                <a:ext uri="{FF2B5EF4-FFF2-40B4-BE49-F238E27FC236}">
                  <a16:creationId xmlns:a16="http://schemas.microsoft.com/office/drawing/2014/main" id="{DFAA9821-B6BA-7A4F-A27C-C7DB6E9F622F}"/>
                </a:ext>
              </a:extLst>
            </p:cNvPr>
            <p:cNvSpPr/>
            <p:nvPr/>
          </p:nvSpPr>
          <p:spPr>
            <a:xfrm>
              <a:off x="7866499" y="5496423"/>
              <a:ext cx="1972310" cy="1499235"/>
            </a:xfrm>
            <a:custGeom>
              <a:avLst/>
              <a:gdLst/>
              <a:ahLst/>
              <a:cxnLst/>
              <a:rect l="l" t="t" r="r" b="b"/>
              <a:pathLst>
                <a:path w="1972309" h="1499234">
                  <a:moveTo>
                    <a:pt x="1927021" y="1450136"/>
                  </a:moveTo>
                  <a:lnTo>
                    <a:pt x="1929307" y="1474165"/>
                  </a:lnTo>
                  <a:lnTo>
                    <a:pt x="1961946" y="1498739"/>
                  </a:lnTo>
                  <a:lnTo>
                    <a:pt x="1964245" y="1493837"/>
                  </a:lnTo>
                  <a:lnTo>
                    <a:pt x="1967433" y="1489443"/>
                  </a:lnTo>
                  <a:lnTo>
                    <a:pt x="1971306" y="1485747"/>
                  </a:lnTo>
                  <a:lnTo>
                    <a:pt x="1972094" y="1484083"/>
                  </a:lnTo>
                  <a:lnTo>
                    <a:pt x="1927021" y="1450136"/>
                  </a:lnTo>
                  <a:close/>
                </a:path>
                <a:path w="1972309" h="1499234">
                  <a:moveTo>
                    <a:pt x="1210525" y="910755"/>
                  </a:moveTo>
                  <a:lnTo>
                    <a:pt x="1196073" y="922185"/>
                  </a:lnTo>
                  <a:lnTo>
                    <a:pt x="1913216" y="1462062"/>
                  </a:lnTo>
                  <a:lnTo>
                    <a:pt x="1910930" y="1438021"/>
                  </a:lnTo>
                  <a:lnTo>
                    <a:pt x="1210525" y="910755"/>
                  </a:lnTo>
                  <a:close/>
                </a:path>
                <a:path w="1972309" h="1499234">
                  <a:moveTo>
                    <a:pt x="1138580" y="856589"/>
                  </a:moveTo>
                  <a:lnTo>
                    <a:pt x="1130274" y="872655"/>
                  </a:lnTo>
                  <a:lnTo>
                    <a:pt x="1182103" y="911669"/>
                  </a:lnTo>
                  <a:lnTo>
                    <a:pt x="1196555" y="900239"/>
                  </a:lnTo>
                  <a:lnTo>
                    <a:pt x="1138580" y="856589"/>
                  </a:lnTo>
                  <a:close/>
                </a:path>
                <a:path w="1972309" h="1499234">
                  <a:moveTo>
                    <a:pt x="449567" y="337896"/>
                  </a:moveTo>
                  <a:lnTo>
                    <a:pt x="431965" y="346964"/>
                  </a:lnTo>
                  <a:lnTo>
                    <a:pt x="1119708" y="864704"/>
                  </a:lnTo>
                  <a:lnTo>
                    <a:pt x="1128014" y="848639"/>
                  </a:lnTo>
                  <a:lnTo>
                    <a:pt x="449567" y="337896"/>
                  </a:lnTo>
                  <a:close/>
                </a:path>
                <a:path w="1972309" h="1499234">
                  <a:moveTo>
                    <a:pt x="723" y="0"/>
                  </a:moveTo>
                  <a:lnTo>
                    <a:pt x="0" y="1460"/>
                  </a:lnTo>
                  <a:lnTo>
                    <a:pt x="332117" y="271805"/>
                  </a:lnTo>
                  <a:lnTo>
                    <a:pt x="419760" y="337781"/>
                  </a:lnTo>
                  <a:lnTo>
                    <a:pt x="437362" y="328714"/>
                  </a:lnTo>
                  <a:lnTo>
                    <a:pt x="723" y="0"/>
                  </a:lnTo>
                  <a:close/>
                </a:path>
              </a:pathLst>
            </a:custGeom>
            <a:solidFill>
              <a:srgbClr val="EF3D60">
                <a:alpha val="50999"/>
              </a:srgbClr>
            </a:solidFill>
          </p:spPr>
          <p:txBody>
            <a:bodyPr wrap="square" lIns="0" tIns="0" rIns="0" bIns="0" rtlCol="0"/>
            <a:lstStyle/>
            <a:p>
              <a:endParaRPr sz="2968"/>
            </a:p>
          </p:txBody>
        </p:sp>
        <p:sp>
          <p:nvSpPr>
            <p:cNvPr id="75" name="object 73">
              <a:extLst>
                <a:ext uri="{FF2B5EF4-FFF2-40B4-BE49-F238E27FC236}">
                  <a16:creationId xmlns:a16="http://schemas.microsoft.com/office/drawing/2014/main" id="{3B230389-C84C-A74E-9A19-E8209BB2079D}"/>
                </a:ext>
              </a:extLst>
            </p:cNvPr>
            <p:cNvSpPr/>
            <p:nvPr/>
          </p:nvSpPr>
          <p:spPr>
            <a:xfrm>
              <a:off x="7855264" y="5497888"/>
              <a:ext cx="1916430" cy="1564640"/>
            </a:xfrm>
            <a:custGeom>
              <a:avLst/>
              <a:gdLst/>
              <a:ahLst/>
              <a:cxnLst/>
              <a:rect l="l" t="t" r="r" b="b"/>
              <a:pathLst>
                <a:path w="1916429" h="1564640">
                  <a:moveTo>
                    <a:pt x="1174356" y="946746"/>
                  </a:moveTo>
                  <a:lnTo>
                    <a:pt x="1160068" y="958037"/>
                  </a:lnTo>
                  <a:lnTo>
                    <a:pt x="1905165" y="1564500"/>
                  </a:lnTo>
                  <a:lnTo>
                    <a:pt x="1907921" y="1559166"/>
                  </a:lnTo>
                  <a:lnTo>
                    <a:pt x="1911756" y="1554492"/>
                  </a:lnTo>
                  <a:lnTo>
                    <a:pt x="1916404" y="1550733"/>
                  </a:lnTo>
                  <a:lnTo>
                    <a:pt x="1174356" y="946746"/>
                  </a:lnTo>
                  <a:close/>
                </a:path>
                <a:path w="1916429" h="1564640">
                  <a:moveTo>
                    <a:pt x="1123759" y="905560"/>
                  </a:moveTo>
                  <a:lnTo>
                    <a:pt x="1115415" y="921689"/>
                  </a:lnTo>
                  <a:lnTo>
                    <a:pt x="1146632" y="947102"/>
                  </a:lnTo>
                  <a:lnTo>
                    <a:pt x="1160919" y="935812"/>
                  </a:lnTo>
                  <a:lnTo>
                    <a:pt x="1123759" y="905560"/>
                  </a:lnTo>
                  <a:close/>
                </a:path>
                <a:path w="1916429" h="1564640">
                  <a:moveTo>
                    <a:pt x="438594" y="347865"/>
                  </a:moveTo>
                  <a:lnTo>
                    <a:pt x="421347" y="356755"/>
                  </a:lnTo>
                  <a:lnTo>
                    <a:pt x="1105090" y="913282"/>
                  </a:lnTo>
                  <a:lnTo>
                    <a:pt x="1113434" y="897153"/>
                  </a:lnTo>
                  <a:lnTo>
                    <a:pt x="438594" y="347865"/>
                  </a:lnTo>
                  <a:close/>
                </a:path>
                <a:path w="1916429" h="1564640">
                  <a:moveTo>
                    <a:pt x="11226" y="0"/>
                  </a:moveTo>
                  <a:lnTo>
                    <a:pt x="8458" y="5346"/>
                  </a:lnTo>
                  <a:lnTo>
                    <a:pt x="4622" y="10032"/>
                  </a:lnTo>
                  <a:lnTo>
                    <a:pt x="0" y="13792"/>
                  </a:lnTo>
                  <a:lnTo>
                    <a:pt x="409714" y="347281"/>
                  </a:lnTo>
                  <a:lnTo>
                    <a:pt x="426961" y="338391"/>
                  </a:lnTo>
                  <a:lnTo>
                    <a:pt x="11226" y="0"/>
                  </a:lnTo>
                  <a:close/>
                </a:path>
              </a:pathLst>
            </a:custGeom>
            <a:solidFill>
              <a:srgbClr val="EF3D60">
                <a:alpha val="50999"/>
              </a:srgbClr>
            </a:solidFill>
          </p:spPr>
          <p:txBody>
            <a:bodyPr wrap="square" lIns="0" tIns="0" rIns="0" bIns="0" rtlCol="0"/>
            <a:lstStyle/>
            <a:p>
              <a:endParaRPr sz="2968"/>
            </a:p>
          </p:txBody>
        </p:sp>
        <p:sp>
          <p:nvSpPr>
            <p:cNvPr id="76" name="object 74">
              <a:extLst>
                <a:ext uri="{FF2B5EF4-FFF2-40B4-BE49-F238E27FC236}">
                  <a16:creationId xmlns:a16="http://schemas.microsoft.com/office/drawing/2014/main" id="{2FE6ED7B-8E18-E54D-B7A8-E61C540B91B1}"/>
                </a:ext>
              </a:extLst>
            </p:cNvPr>
            <p:cNvSpPr/>
            <p:nvPr/>
          </p:nvSpPr>
          <p:spPr>
            <a:xfrm>
              <a:off x="7868787" y="5180136"/>
              <a:ext cx="1659255" cy="297815"/>
            </a:xfrm>
            <a:custGeom>
              <a:avLst/>
              <a:gdLst/>
              <a:ahLst/>
              <a:cxnLst/>
              <a:rect l="l" t="t" r="r" b="b"/>
              <a:pathLst>
                <a:path w="1659254" h="297814">
                  <a:moveTo>
                    <a:pt x="795324" y="140474"/>
                  </a:moveTo>
                  <a:lnTo>
                    <a:pt x="0" y="283222"/>
                  </a:lnTo>
                  <a:lnTo>
                    <a:pt x="1587" y="287629"/>
                  </a:lnTo>
                  <a:lnTo>
                    <a:pt x="2476" y="292366"/>
                  </a:lnTo>
                  <a:lnTo>
                    <a:pt x="2527" y="297307"/>
                  </a:lnTo>
                  <a:lnTo>
                    <a:pt x="809180" y="152527"/>
                  </a:lnTo>
                  <a:lnTo>
                    <a:pt x="803744" y="149529"/>
                  </a:lnTo>
                  <a:lnTo>
                    <a:pt x="799020" y="145415"/>
                  </a:lnTo>
                  <a:lnTo>
                    <a:pt x="795324" y="140474"/>
                  </a:lnTo>
                  <a:close/>
                </a:path>
                <a:path w="1659254" h="297814">
                  <a:moveTo>
                    <a:pt x="1217739" y="79197"/>
                  </a:moveTo>
                  <a:lnTo>
                    <a:pt x="1005141" y="102819"/>
                  </a:lnTo>
                  <a:lnTo>
                    <a:pt x="871753" y="126758"/>
                  </a:lnTo>
                  <a:lnTo>
                    <a:pt x="869975" y="132778"/>
                  </a:lnTo>
                  <a:lnTo>
                    <a:pt x="866927" y="138252"/>
                  </a:lnTo>
                  <a:lnTo>
                    <a:pt x="862939" y="142875"/>
                  </a:lnTo>
                  <a:lnTo>
                    <a:pt x="1217739" y="79197"/>
                  </a:lnTo>
                  <a:close/>
                </a:path>
                <a:path w="1659254" h="297814">
                  <a:moveTo>
                    <a:pt x="1658950" y="0"/>
                  </a:moveTo>
                  <a:lnTo>
                    <a:pt x="1585341" y="6286"/>
                  </a:lnTo>
                  <a:lnTo>
                    <a:pt x="1327238" y="45008"/>
                  </a:lnTo>
                  <a:lnTo>
                    <a:pt x="1233487" y="61823"/>
                  </a:lnTo>
                  <a:lnTo>
                    <a:pt x="1446072" y="38214"/>
                  </a:lnTo>
                  <a:lnTo>
                    <a:pt x="1658950" y="0"/>
                  </a:lnTo>
                  <a:close/>
                </a:path>
              </a:pathLst>
            </a:custGeom>
            <a:solidFill>
              <a:srgbClr val="EF3D60">
                <a:alpha val="50999"/>
              </a:srgbClr>
            </a:solidFill>
          </p:spPr>
          <p:txBody>
            <a:bodyPr wrap="square" lIns="0" tIns="0" rIns="0" bIns="0" rtlCol="0"/>
            <a:lstStyle/>
            <a:p>
              <a:endParaRPr sz="2968"/>
            </a:p>
          </p:txBody>
        </p:sp>
        <p:sp>
          <p:nvSpPr>
            <p:cNvPr id="77" name="object 75">
              <a:extLst>
                <a:ext uri="{FF2B5EF4-FFF2-40B4-BE49-F238E27FC236}">
                  <a16:creationId xmlns:a16="http://schemas.microsoft.com/office/drawing/2014/main" id="{269EA8D4-1A56-3F4F-9E47-682CD958B406}"/>
                </a:ext>
              </a:extLst>
            </p:cNvPr>
            <p:cNvSpPr/>
            <p:nvPr/>
          </p:nvSpPr>
          <p:spPr>
            <a:xfrm>
              <a:off x="9636614" y="5196310"/>
              <a:ext cx="1106170" cy="1489710"/>
            </a:xfrm>
            <a:custGeom>
              <a:avLst/>
              <a:gdLst/>
              <a:ahLst/>
              <a:cxnLst/>
              <a:rect l="l" t="t" r="r" b="b"/>
              <a:pathLst>
                <a:path w="1106170" h="1489709">
                  <a:moveTo>
                    <a:pt x="667702" y="884847"/>
                  </a:moveTo>
                  <a:lnTo>
                    <a:pt x="660615" y="900290"/>
                  </a:lnTo>
                  <a:lnTo>
                    <a:pt x="1093698" y="1489265"/>
                  </a:lnTo>
                  <a:lnTo>
                    <a:pt x="1097140" y="1485684"/>
                  </a:lnTo>
                  <a:lnTo>
                    <a:pt x="1101166" y="1482699"/>
                  </a:lnTo>
                  <a:lnTo>
                    <a:pt x="1105649" y="1480464"/>
                  </a:lnTo>
                  <a:lnTo>
                    <a:pt x="667702" y="884847"/>
                  </a:lnTo>
                  <a:close/>
                </a:path>
                <a:path w="1106170" h="1489709">
                  <a:moveTo>
                    <a:pt x="656513" y="869619"/>
                  </a:moveTo>
                  <a:lnTo>
                    <a:pt x="649249" y="884834"/>
                  </a:lnTo>
                  <a:lnTo>
                    <a:pt x="649846" y="885647"/>
                  </a:lnTo>
                  <a:lnTo>
                    <a:pt x="656932" y="870191"/>
                  </a:lnTo>
                  <a:lnTo>
                    <a:pt x="656513" y="869619"/>
                  </a:lnTo>
                  <a:close/>
                </a:path>
                <a:path w="1106170" h="1489709">
                  <a:moveTo>
                    <a:pt x="416026" y="542556"/>
                  </a:moveTo>
                  <a:lnTo>
                    <a:pt x="405091" y="552792"/>
                  </a:lnTo>
                  <a:lnTo>
                    <a:pt x="638289" y="869950"/>
                  </a:lnTo>
                  <a:lnTo>
                    <a:pt x="645566" y="854722"/>
                  </a:lnTo>
                  <a:lnTo>
                    <a:pt x="416026" y="542556"/>
                  </a:lnTo>
                  <a:close/>
                </a:path>
                <a:path w="1106170" h="1489709">
                  <a:moveTo>
                    <a:pt x="368338" y="477697"/>
                  </a:moveTo>
                  <a:lnTo>
                    <a:pt x="356654" y="486930"/>
                  </a:lnTo>
                  <a:lnTo>
                    <a:pt x="396201" y="540702"/>
                  </a:lnTo>
                  <a:lnTo>
                    <a:pt x="407136" y="530466"/>
                  </a:lnTo>
                  <a:lnTo>
                    <a:pt x="368338" y="477697"/>
                  </a:lnTo>
                  <a:close/>
                </a:path>
                <a:path w="1106170" h="1489709">
                  <a:moveTo>
                    <a:pt x="17094" y="0"/>
                  </a:moveTo>
                  <a:lnTo>
                    <a:pt x="0" y="1905"/>
                  </a:lnTo>
                  <a:lnTo>
                    <a:pt x="346633" y="473303"/>
                  </a:lnTo>
                  <a:lnTo>
                    <a:pt x="358317" y="464070"/>
                  </a:lnTo>
                  <a:lnTo>
                    <a:pt x="17094" y="0"/>
                  </a:lnTo>
                  <a:close/>
                </a:path>
              </a:pathLst>
            </a:custGeom>
            <a:solidFill>
              <a:srgbClr val="EF3D60">
                <a:alpha val="50999"/>
              </a:srgbClr>
            </a:solidFill>
          </p:spPr>
          <p:txBody>
            <a:bodyPr wrap="square" lIns="0" tIns="0" rIns="0" bIns="0" rtlCol="0"/>
            <a:lstStyle/>
            <a:p>
              <a:endParaRPr sz="2968"/>
            </a:p>
          </p:txBody>
        </p:sp>
        <p:sp>
          <p:nvSpPr>
            <p:cNvPr id="78" name="object 76">
              <a:extLst>
                <a:ext uri="{FF2B5EF4-FFF2-40B4-BE49-F238E27FC236}">
                  <a16:creationId xmlns:a16="http://schemas.microsoft.com/office/drawing/2014/main" id="{56EE71A6-CCB6-584D-8795-5322E6EED210}"/>
                </a:ext>
              </a:extLst>
            </p:cNvPr>
            <p:cNvSpPr/>
            <p:nvPr/>
          </p:nvSpPr>
          <p:spPr>
            <a:xfrm>
              <a:off x="9344245" y="5200961"/>
              <a:ext cx="267970" cy="1153160"/>
            </a:xfrm>
            <a:custGeom>
              <a:avLst/>
              <a:gdLst/>
              <a:ahLst/>
              <a:cxnLst/>
              <a:rect l="l" t="t" r="r" b="b"/>
              <a:pathLst>
                <a:path w="267970" h="1153160">
                  <a:moveTo>
                    <a:pt x="56438" y="950493"/>
                  </a:moveTo>
                  <a:lnTo>
                    <a:pt x="41884" y="961999"/>
                  </a:lnTo>
                  <a:lnTo>
                    <a:pt x="0" y="1150518"/>
                  </a:lnTo>
                  <a:lnTo>
                    <a:pt x="3987" y="1150848"/>
                  </a:lnTo>
                  <a:lnTo>
                    <a:pt x="7823" y="1151712"/>
                  </a:lnTo>
                  <a:lnTo>
                    <a:pt x="11429" y="1153058"/>
                  </a:lnTo>
                  <a:lnTo>
                    <a:pt x="56438" y="950493"/>
                  </a:lnTo>
                  <a:close/>
                </a:path>
                <a:path w="267970" h="1153160">
                  <a:moveTo>
                    <a:pt x="267627" y="0"/>
                  </a:moveTo>
                  <a:lnTo>
                    <a:pt x="255333" y="1371"/>
                  </a:lnTo>
                  <a:lnTo>
                    <a:pt x="47688" y="935850"/>
                  </a:lnTo>
                  <a:lnTo>
                    <a:pt x="62255" y="924356"/>
                  </a:lnTo>
                  <a:lnTo>
                    <a:pt x="267627" y="0"/>
                  </a:lnTo>
                  <a:close/>
                </a:path>
              </a:pathLst>
            </a:custGeom>
            <a:solidFill>
              <a:srgbClr val="EF3D60">
                <a:alpha val="50999"/>
              </a:srgbClr>
            </a:solidFill>
          </p:spPr>
          <p:txBody>
            <a:bodyPr wrap="square" lIns="0" tIns="0" rIns="0" bIns="0" rtlCol="0"/>
            <a:lstStyle/>
            <a:p>
              <a:endParaRPr sz="2968"/>
            </a:p>
          </p:txBody>
        </p:sp>
        <p:sp>
          <p:nvSpPr>
            <p:cNvPr id="79" name="object 77">
              <a:extLst>
                <a:ext uri="{FF2B5EF4-FFF2-40B4-BE49-F238E27FC236}">
                  <a16:creationId xmlns:a16="http://schemas.microsoft.com/office/drawing/2014/main" id="{5E467FDF-B049-054F-BA42-220C6FC4243B}"/>
                </a:ext>
              </a:extLst>
            </p:cNvPr>
            <p:cNvSpPr/>
            <p:nvPr/>
          </p:nvSpPr>
          <p:spPr>
            <a:xfrm>
              <a:off x="8137898" y="5175967"/>
              <a:ext cx="1443355" cy="747395"/>
            </a:xfrm>
            <a:custGeom>
              <a:avLst/>
              <a:gdLst/>
              <a:ahLst/>
              <a:cxnLst/>
              <a:rect l="l" t="t" r="r" b="b"/>
              <a:pathLst>
                <a:path w="1443354" h="747395">
                  <a:moveTo>
                    <a:pt x="1389379" y="34391"/>
                  </a:moveTo>
                  <a:lnTo>
                    <a:pt x="1351025" y="38658"/>
                  </a:lnTo>
                  <a:lnTo>
                    <a:pt x="0" y="734669"/>
                  </a:lnTo>
                  <a:lnTo>
                    <a:pt x="2717" y="738352"/>
                  </a:lnTo>
                  <a:lnTo>
                    <a:pt x="4851" y="742454"/>
                  </a:lnTo>
                  <a:lnTo>
                    <a:pt x="6311" y="746887"/>
                  </a:lnTo>
                  <a:lnTo>
                    <a:pt x="1389379" y="34391"/>
                  </a:lnTo>
                  <a:close/>
                </a:path>
                <a:path w="1443354" h="747395">
                  <a:moveTo>
                    <a:pt x="1438630" y="0"/>
                  </a:moveTo>
                  <a:lnTo>
                    <a:pt x="1423555" y="1282"/>
                  </a:lnTo>
                  <a:lnTo>
                    <a:pt x="1389672" y="18745"/>
                  </a:lnTo>
                  <a:lnTo>
                    <a:pt x="1428026" y="14490"/>
                  </a:lnTo>
                  <a:lnTo>
                    <a:pt x="1442783" y="6883"/>
                  </a:lnTo>
                  <a:lnTo>
                    <a:pt x="1441195" y="4737"/>
                  </a:lnTo>
                  <a:lnTo>
                    <a:pt x="1439798" y="2425"/>
                  </a:lnTo>
                  <a:lnTo>
                    <a:pt x="1438630" y="0"/>
                  </a:lnTo>
                  <a:close/>
                </a:path>
              </a:pathLst>
            </a:custGeom>
            <a:solidFill>
              <a:srgbClr val="EF3D60">
                <a:alpha val="50999"/>
              </a:srgbClr>
            </a:solidFill>
          </p:spPr>
          <p:txBody>
            <a:bodyPr wrap="square" lIns="0" tIns="0" rIns="0" bIns="0" rtlCol="0"/>
            <a:lstStyle/>
            <a:p>
              <a:endParaRPr sz="2968"/>
            </a:p>
          </p:txBody>
        </p:sp>
        <p:sp>
          <p:nvSpPr>
            <p:cNvPr id="80" name="object 78">
              <a:extLst>
                <a:ext uri="{FF2B5EF4-FFF2-40B4-BE49-F238E27FC236}">
                  <a16:creationId xmlns:a16="http://schemas.microsoft.com/office/drawing/2014/main" id="{E7367AB1-230B-8F40-8C92-2F4472E0A3B7}"/>
                </a:ext>
              </a:extLst>
            </p:cNvPr>
            <p:cNvSpPr/>
            <p:nvPr/>
          </p:nvSpPr>
          <p:spPr>
            <a:xfrm>
              <a:off x="9644627" y="3524810"/>
              <a:ext cx="2141855" cy="1608455"/>
            </a:xfrm>
            <a:custGeom>
              <a:avLst/>
              <a:gdLst/>
              <a:ahLst/>
              <a:cxnLst/>
              <a:rect l="l" t="t" r="r" b="b"/>
              <a:pathLst>
                <a:path w="2141854" h="1608454">
                  <a:moveTo>
                    <a:pt x="153111" y="1483969"/>
                  </a:moveTo>
                  <a:lnTo>
                    <a:pt x="1422" y="1597748"/>
                  </a:lnTo>
                  <a:lnTo>
                    <a:pt x="0" y="1599971"/>
                  </a:lnTo>
                  <a:lnTo>
                    <a:pt x="2743" y="1602422"/>
                  </a:lnTo>
                  <a:lnTo>
                    <a:pt x="5168" y="1605229"/>
                  </a:lnTo>
                  <a:lnTo>
                    <a:pt x="7200" y="1608302"/>
                  </a:lnTo>
                  <a:lnTo>
                    <a:pt x="32524" y="1597901"/>
                  </a:lnTo>
                  <a:lnTo>
                    <a:pt x="181825" y="1485938"/>
                  </a:lnTo>
                  <a:lnTo>
                    <a:pt x="153111" y="1483969"/>
                  </a:lnTo>
                  <a:close/>
                </a:path>
                <a:path w="2141854" h="1608454">
                  <a:moveTo>
                    <a:pt x="216941" y="1436090"/>
                  </a:moveTo>
                  <a:lnTo>
                    <a:pt x="175755" y="1466989"/>
                  </a:lnTo>
                  <a:lnTo>
                    <a:pt x="204457" y="1468958"/>
                  </a:lnTo>
                  <a:lnTo>
                    <a:pt x="243763" y="1439481"/>
                  </a:lnTo>
                  <a:lnTo>
                    <a:pt x="216941" y="1436090"/>
                  </a:lnTo>
                  <a:close/>
                </a:path>
                <a:path w="2141854" h="1608454">
                  <a:moveTo>
                    <a:pt x="542150" y="1192187"/>
                  </a:moveTo>
                  <a:lnTo>
                    <a:pt x="237528" y="1420660"/>
                  </a:lnTo>
                  <a:lnTo>
                    <a:pt x="264337" y="1424038"/>
                  </a:lnTo>
                  <a:lnTo>
                    <a:pt x="559282" y="1202829"/>
                  </a:lnTo>
                  <a:lnTo>
                    <a:pt x="542150" y="1192187"/>
                  </a:lnTo>
                  <a:close/>
                </a:path>
                <a:path w="2141854" h="1608454">
                  <a:moveTo>
                    <a:pt x="639445" y="1119212"/>
                  </a:moveTo>
                  <a:lnTo>
                    <a:pt x="555155" y="1182433"/>
                  </a:lnTo>
                  <a:lnTo>
                    <a:pt x="572287" y="1193076"/>
                  </a:lnTo>
                  <a:lnTo>
                    <a:pt x="653656" y="1132052"/>
                  </a:lnTo>
                  <a:lnTo>
                    <a:pt x="639445" y="1119212"/>
                  </a:lnTo>
                  <a:close/>
                </a:path>
                <a:path w="2141854" h="1608454">
                  <a:moveTo>
                    <a:pt x="1019530" y="834148"/>
                  </a:moveTo>
                  <a:lnTo>
                    <a:pt x="651471" y="1110195"/>
                  </a:lnTo>
                  <a:lnTo>
                    <a:pt x="665683" y="1123022"/>
                  </a:lnTo>
                  <a:lnTo>
                    <a:pt x="1022299" y="855560"/>
                  </a:lnTo>
                  <a:lnTo>
                    <a:pt x="1019530" y="834148"/>
                  </a:lnTo>
                  <a:close/>
                </a:path>
                <a:path w="2141854" h="1608454">
                  <a:moveTo>
                    <a:pt x="1084529" y="785406"/>
                  </a:moveTo>
                  <a:lnTo>
                    <a:pt x="1031024" y="825538"/>
                  </a:lnTo>
                  <a:lnTo>
                    <a:pt x="1033792" y="846937"/>
                  </a:lnTo>
                  <a:lnTo>
                    <a:pt x="1085278" y="808329"/>
                  </a:lnTo>
                  <a:lnTo>
                    <a:pt x="1084529" y="785406"/>
                  </a:lnTo>
                  <a:close/>
                </a:path>
                <a:path w="2141854" h="1608454">
                  <a:moveTo>
                    <a:pt x="1372857" y="569150"/>
                  </a:moveTo>
                  <a:lnTo>
                    <a:pt x="1099858" y="773899"/>
                  </a:lnTo>
                  <a:lnTo>
                    <a:pt x="1100607" y="796823"/>
                  </a:lnTo>
                  <a:lnTo>
                    <a:pt x="1386268" y="582574"/>
                  </a:lnTo>
                  <a:lnTo>
                    <a:pt x="1372857" y="569150"/>
                  </a:lnTo>
                  <a:close/>
                </a:path>
                <a:path w="2141854" h="1608454">
                  <a:moveTo>
                    <a:pt x="1614233" y="388111"/>
                  </a:moveTo>
                  <a:lnTo>
                    <a:pt x="1384681" y="560285"/>
                  </a:lnTo>
                  <a:lnTo>
                    <a:pt x="1398092" y="573697"/>
                  </a:lnTo>
                  <a:lnTo>
                    <a:pt x="1623987" y="404291"/>
                  </a:lnTo>
                  <a:lnTo>
                    <a:pt x="1614233" y="388111"/>
                  </a:lnTo>
                  <a:close/>
                </a:path>
                <a:path w="2141854" h="1608454">
                  <a:moveTo>
                    <a:pt x="2053310" y="58813"/>
                  </a:moveTo>
                  <a:lnTo>
                    <a:pt x="1627809" y="377939"/>
                  </a:lnTo>
                  <a:lnTo>
                    <a:pt x="1637550" y="394106"/>
                  </a:lnTo>
                  <a:lnTo>
                    <a:pt x="2056371" y="79984"/>
                  </a:lnTo>
                  <a:lnTo>
                    <a:pt x="2053310" y="58813"/>
                  </a:lnTo>
                  <a:close/>
                </a:path>
                <a:path w="2141854" h="1608454">
                  <a:moveTo>
                    <a:pt x="2131720" y="0"/>
                  </a:moveTo>
                  <a:lnTo>
                    <a:pt x="2070354" y="46037"/>
                  </a:lnTo>
                  <a:lnTo>
                    <a:pt x="2073402" y="67221"/>
                  </a:lnTo>
                  <a:lnTo>
                    <a:pt x="2137194" y="19367"/>
                  </a:lnTo>
                  <a:lnTo>
                    <a:pt x="2141232" y="13398"/>
                  </a:lnTo>
                  <a:lnTo>
                    <a:pt x="2137270" y="9601"/>
                  </a:lnTo>
                  <a:lnTo>
                    <a:pt x="2134031" y="5054"/>
                  </a:lnTo>
                  <a:lnTo>
                    <a:pt x="2131720" y="0"/>
                  </a:lnTo>
                  <a:close/>
                </a:path>
              </a:pathLst>
            </a:custGeom>
            <a:solidFill>
              <a:srgbClr val="EF3D60">
                <a:alpha val="50999"/>
              </a:srgbClr>
            </a:solidFill>
          </p:spPr>
          <p:txBody>
            <a:bodyPr wrap="square" lIns="0" tIns="0" rIns="0" bIns="0" rtlCol="0"/>
            <a:lstStyle/>
            <a:p>
              <a:endParaRPr sz="2968"/>
            </a:p>
          </p:txBody>
        </p:sp>
        <p:sp>
          <p:nvSpPr>
            <p:cNvPr id="81" name="object 79">
              <a:extLst>
                <a:ext uri="{FF2B5EF4-FFF2-40B4-BE49-F238E27FC236}">
                  <a16:creationId xmlns:a16="http://schemas.microsoft.com/office/drawing/2014/main" id="{31464098-EE8F-0C4A-938A-411F3D09BDF8}"/>
                </a:ext>
              </a:extLst>
            </p:cNvPr>
            <p:cNvSpPr/>
            <p:nvPr/>
          </p:nvSpPr>
          <p:spPr>
            <a:xfrm>
              <a:off x="9642115" y="3676737"/>
              <a:ext cx="919480" cy="1448435"/>
            </a:xfrm>
            <a:custGeom>
              <a:avLst/>
              <a:gdLst/>
              <a:ahLst/>
              <a:cxnLst/>
              <a:rect l="l" t="t" r="r" b="b"/>
              <a:pathLst>
                <a:path w="919479" h="1448435">
                  <a:moveTo>
                    <a:pt x="63461" y="1325740"/>
                  </a:moveTo>
                  <a:lnTo>
                    <a:pt x="43497" y="1357096"/>
                  </a:lnTo>
                  <a:lnTo>
                    <a:pt x="0" y="1445945"/>
                  </a:lnTo>
                  <a:lnTo>
                    <a:pt x="863" y="1446618"/>
                  </a:lnTo>
                  <a:lnTo>
                    <a:pt x="1714" y="1447317"/>
                  </a:lnTo>
                  <a:lnTo>
                    <a:pt x="2514" y="1448041"/>
                  </a:lnTo>
                  <a:lnTo>
                    <a:pt x="79628" y="1326845"/>
                  </a:lnTo>
                  <a:lnTo>
                    <a:pt x="63461" y="1325740"/>
                  </a:lnTo>
                  <a:close/>
                </a:path>
                <a:path w="919479" h="1448435">
                  <a:moveTo>
                    <a:pt x="99542" y="1269047"/>
                  </a:moveTo>
                  <a:lnTo>
                    <a:pt x="74764" y="1307985"/>
                  </a:lnTo>
                  <a:lnTo>
                    <a:pt x="90931" y="1309090"/>
                  </a:lnTo>
                  <a:lnTo>
                    <a:pt x="115163" y="1271015"/>
                  </a:lnTo>
                  <a:lnTo>
                    <a:pt x="99542" y="1269047"/>
                  </a:lnTo>
                  <a:close/>
                </a:path>
                <a:path w="919479" h="1448435">
                  <a:moveTo>
                    <a:pt x="330047" y="906843"/>
                  </a:moveTo>
                  <a:lnTo>
                    <a:pt x="110172" y="1252346"/>
                  </a:lnTo>
                  <a:lnTo>
                    <a:pt x="125780" y="1254315"/>
                  </a:lnTo>
                  <a:lnTo>
                    <a:pt x="342112" y="914349"/>
                  </a:lnTo>
                  <a:lnTo>
                    <a:pt x="330047" y="906843"/>
                  </a:lnTo>
                  <a:close/>
                </a:path>
                <a:path w="919479" h="1448435">
                  <a:moveTo>
                    <a:pt x="419468" y="766317"/>
                  </a:moveTo>
                  <a:lnTo>
                    <a:pt x="338188" y="894054"/>
                  </a:lnTo>
                  <a:lnTo>
                    <a:pt x="350253" y="901572"/>
                  </a:lnTo>
                  <a:lnTo>
                    <a:pt x="430174" y="775982"/>
                  </a:lnTo>
                  <a:lnTo>
                    <a:pt x="419468" y="766317"/>
                  </a:lnTo>
                  <a:close/>
                </a:path>
                <a:path w="919479" h="1448435">
                  <a:moveTo>
                    <a:pt x="907148" y="0"/>
                  </a:moveTo>
                  <a:lnTo>
                    <a:pt x="427507" y="753694"/>
                  </a:lnTo>
                  <a:lnTo>
                    <a:pt x="438213" y="763358"/>
                  </a:lnTo>
                  <a:lnTo>
                    <a:pt x="919111" y="7619"/>
                  </a:lnTo>
                  <a:lnTo>
                    <a:pt x="914704" y="5740"/>
                  </a:lnTo>
                  <a:lnTo>
                    <a:pt x="910666" y="3149"/>
                  </a:lnTo>
                  <a:lnTo>
                    <a:pt x="907148" y="0"/>
                  </a:lnTo>
                  <a:close/>
                </a:path>
              </a:pathLst>
            </a:custGeom>
            <a:solidFill>
              <a:srgbClr val="EF3D60">
                <a:alpha val="50999"/>
              </a:srgbClr>
            </a:solidFill>
          </p:spPr>
          <p:txBody>
            <a:bodyPr wrap="square" lIns="0" tIns="0" rIns="0" bIns="0" rtlCol="0"/>
            <a:lstStyle/>
            <a:p>
              <a:endParaRPr sz="2968"/>
            </a:p>
          </p:txBody>
        </p:sp>
        <p:sp>
          <p:nvSpPr>
            <p:cNvPr id="82" name="object 80">
              <a:extLst>
                <a:ext uri="{FF2B5EF4-FFF2-40B4-BE49-F238E27FC236}">
                  <a16:creationId xmlns:a16="http://schemas.microsoft.com/office/drawing/2014/main" id="{A1D5B75D-B855-3F4B-8DE1-946E54B08ED3}"/>
                </a:ext>
              </a:extLst>
            </p:cNvPr>
            <p:cNvSpPr/>
            <p:nvPr/>
          </p:nvSpPr>
          <p:spPr>
            <a:xfrm>
              <a:off x="9343040" y="3822852"/>
              <a:ext cx="262255" cy="1288415"/>
            </a:xfrm>
            <a:custGeom>
              <a:avLst/>
              <a:gdLst/>
              <a:ahLst/>
              <a:cxnLst/>
              <a:rect l="l" t="t" r="r" b="b"/>
              <a:pathLst>
                <a:path w="262254" h="1288414">
                  <a:moveTo>
                    <a:pt x="233641" y="1170813"/>
                  </a:moveTo>
                  <a:lnTo>
                    <a:pt x="252869" y="1266952"/>
                  </a:lnTo>
                  <a:lnTo>
                    <a:pt x="261937" y="1287843"/>
                  </a:lnTo>
                  <a:lnTo>
                    <a:pt x="260299" y="1241069"/>
                  </a:lnTo>
                  <a:lnTo>
                    <a:pt x="246430" y="1171689"/>
                  </a:lnTo>
                  <a:lnTo>
                    <a:pt x="233641" y="1170813"/>
                  </a:lnTo>
                  <a:close/>
                </a:path>
                <a:path w="262254" h="1288414">
                  <a:moveTo>
                    <a:pt x="219557" y="1100340"/>
                  </a:moveTo>
                  <a:lnTo>
                    <a:pt x="229895" y="1152029"/>
                  </a:lnTo>
                  <a:lnTo>
                    <a:pt x="242671" y="1152906"/>
                  </a:lnTo>
                  <a:lnTo>
                    <a:pt x="232486" y="1101979"/>
                  </a:lnTo>
                  <a:lnTo>
                    <a:pt x="219557" y="1100340"/>
                  </a:lnTo>
                  <a:close/>
                </a:path>
                <a:path w="262254" h="1288414">
                  <a:moveTo>
                    <a:pt x="83858" y="421779"/>
                  </a:moveTo>
                  <a:lnTo>
                    <a:pt x="215861" y="1081849"/>
                  </a:lnTo>
                  <a:lnTo>
                    <a:pt x="228777" y="1083475"/>
                  </a:lnTo>
                  <a:lnTo>
                    <a:pt x="98234" y="430720"/>
                  </a:lnTo>
                  <a:lnTo>
                    <a:pt x="83858" y="421779"/>
                  </a:lnTo>
                  <a:close/>
                </a:path>
                <a:path w="262254" h="1288414">
                  <a:moveTo>
                    <a:pt x="12090" y="0"/>
                  </a:moveTo>
                  <a:lnTo>
                    <a:pt x="8280" y="1358"/>
                  </a:lnTo>
                  <a:lnTo>
                    <a:pt x="4216" y="2197"/>
                  </a:lnTo>
                  <a:lnTo>
                    <a:pt x="0" y="2425"/>
                  </a:lnTo>
                  <a:lnTo>
                    <a:pt x="79781" y="401408"/>
                  </a:lnTo>
                  <a:lnTo>
                    <a:pt x="94157" y="410349"/>
                  </a:lnTo>
                  <a:lnTo>
                    <a:pt x="12090" y="0"/>
                  </a:lnTo>
                  <a:close/>
                </a:path>
              </a:pathLst>
            </a:custGeom>
            <a:solidFill>
              <a:srgbClr val="EF3D60">
                <a:alpha val="50999"/>
              </a:srgbClr>
            </a:solidFill>
          </p:spPr>
          <p:txBody>
            <a:bodyPr wrap="square" lIns="0" tIns="0" rIns="0" bIns="0" rtlCol="0"/>
            <a:lstStyle/>
            <a:p>
              <a:endParaRPr sz="2968"/>
            </a:p>
          </p:txBody>
        </p:sp>
        <p:sp>
          <p:nvSpPr>
            <p:cNvPr id="83" name="object 81">
              <a:extLst>
                <a:ext uri="{FF2B5EF4-FFF2-40B4-BE49-F238E27FC236}">
                  <a16:creationId xmlns:a16="http://schemas.microsoft.com/office/drawing/2014/main" id="{93F247E1-1D8F-0B4E-B8CF-602A4A8A5696}"/>
                </a:ext>
              </a:extLst>
            </p:cNvPr>
            <p:cNvSpPr/>
            <p:nvPr/>
          </p:nvSpPr>
          <p:spPr>
            <a:xfrm>
              <a:off x="8041657" y="4029809"/>
              <a:ext cx="1543685" cy="1108710"/>
            </a:xfrm>
            <a:custGeom>
              <a:avLst/>
              <a:gdLst/>
              <a:ahLst/>
              <a:cxnLst/>
              <a:rect l="l" t="t" r="r" b="b"/>
              <a:pathLst>
                <a:path w="1543684" h="1108710">
                  <a:moveTo>
                    <a:pt x="1310741" y="948524"/>
                  </a:moveTo>
                  <a:lnTo>
                    <a:pt x="1534794" y="1108557"/>
                  </a:lnTo>
                  <a:lnTo>
                    <a:pt x="1536992" y="1103972"/>
                  </a:lnTo>
                  <a:lnTo>
                    <a:pt x="1539976" y="1099832"/>
                  </a:lnTo>
                  <a:lnTo>
                    <a:pt x="1543570" y="1096302"/>
                  </a:lnTo>
                  <a:lnTo>
                    <a:pt x="1339430" y="950480"/>
                  </a:lnTo>
                  <a:lnTo>
                    <a:pt x="1310741" y="948524"/>
                  </a:lnTo>
                  <a:close/>
                </a:path>
                <a:path w="1543684" h="1108710">
                  <a:moveTo>
                    <a:pt x="1171930" y="849376"/>
                  </a:moveTo>
                  <a:lnTo>
                    <a:pt x="1282064" y="928039"/>
                  </a:lnTo>
                  <a:lnTo>
                    <a:pt x="1310754" y="929995"/>
                  </a:lnTo>
                  <a:lnTo>
                    <a:pt x="1203439" y="853351"/>
                  </a:lnTo>
                  <a:lnTo>
                    <a:pt x="1171930" y="849376"/>
                  </a:lnTo>
                  <a:close/>
                </a:path>
                <a:path w="1543684" h="1108710">
                  <a:moveTo>
                    <a:pt x="8762" y="0"/>
                  </a:moveTo>
                  <a:lnTo>
                    <a:pt x="6565" y="4597"/>
                  </a:lnTo>
                  <a:lnTo>
                    <a:pt x="3581" y="8737"/>
                  </a:lnTo>
                  <a:lnTo>
                    <a:pt x="0" y="12268"/>
                  </a:lnTo>
                  <a:lnTo>
                    <a:pt x="1141272" y="827468"/>
                  </a:lnTo>
                  <a:lnTo>
                    <a:pt x="1172768" y="831443"/>
                  </a:lnTo>
                  <a:lnTo>
                    <a:pt x="8762" y="0"/>
                  </a:lnTo>
                  <a:close/>
                </a:path>
              </a:pathLst>
            </a:custGeom>
            <a:solidFill>
              <a:srgbClr val="EF3D60">
                <a:alpha val="50999"/>
              </a:srgbClr>
            </a:solidFill>
          </p:spPr>
          <p:txBody>
            <a:bodyPr wrap="square" lIns="0" tIns="0" rIns="0" bIns="0" rtlCol="0"/>
            <a:lstStyle/>
            <a:p>
              <a:endParaRPr sz="2968"/>
            </a:p>
          </p:txBody>
        </p:sp>
        <p:sp>
          <p:nvSpPr>
            <p:cNvPr id="84" name="object 82">
              <a:extLst>
                <a:ext uri="{FF2B5EF4-FFF2-40B4-BE49-F238E27FC236}">
                  <a16:creationId xmlns:a16="http://schemas.microsoft.com/office/drawing/2014/main" id="{995B8496-FCDC-1444-B3F8-4F364CE8EF64}"/>
                </a:ext>
              </a:extLst>
            </p:cNvPr>
            <p:cNvSpPr/>
            <p:nvPr/>
          </p:nvSpPr>
          <p:spPr>
            <a:xfrm>
              <a:off x="9078934" y="4047340"/>
              <a:ext cx="498475" cy="1043940"/>
            </a:xfrm>
            <a:custGeom>
              <a:avLst/>
              <a:gdLst/>
              <a:ahLst/>
              <a:cxnLst/>
              <a:rect l="l" t="t" r="r" b="b"/>
              <a:pathLst>
                <a:path w="498475" h="1043939">
                  <a:moveTo>
                    <a:pt x="450215" y="943076"/>
                  </a:moveTo>
                  <a:lnTo>
                    <a:pt x="498373" y="1043406"/>
                  </a:lnTo>
                  <a:lnTo>
                    <a:pt x="454939" y="943394"/>
                  </a:lnTo>
                  <a:lnTo>
                    <a:pt x="450215" y="943076"/>
                  </a:lnTo>
                  <a:close/>
                </a:path>
                <a:path w="498475" h="1043939">
                  <a:moveTo>
                    <a:pt x="413715" y="867041"/>
                  </a:moveTo>
                  <a:lnTo>
                    <a:pt x="441020" y="923925"/>
                  </a:lnTo>
                  <a:lnTo>
                    <a:pt x="446646" y="924306"/>
                  </a:lnTo>
                  <a:lnTo>
                    <a:pt x="422236" y="868108"/>
                  </a:lnTo>
                  <a:lnTo>
                    <a:pt x="413715" y="867041"/>
                  </a:lnTo>
                  <a:close/>
                </a:path>
                <a:path w="498475" h="1043939">
                  <a:moveTo>
                    <a:pt x="10553" y="0"/>
                  </a:moveTo>
                  <a:lnTo>
                    <a:pt x="7315" y="2133"/>
                  </a:lnTo>
                  <a:lnTo>
                    <a:pt x="3771" y="3860"/>
                  </a:lnTo>
                  <a:lnTo>
                    <a:pt x="0" y="5067"/>
                  </a:lnTo>
                  <a:lnTo>
                    <a:pt x="404507" y="847839"/>
                  </a:lnTo>
                  <a:lnTo>
                    <a:pt x="413943" y="849033"/>
                  </a:lnTo>
                  <a:lnTo>
                    <a:pt x="374878" y="759066"/>
                  </a:lnTo>
                  <a:lnTo>
                    <a:pt x="10553" y="0"/>
                  </a:lnTo>
                  <a:close/>
                </a:path>
              </a:pathLst>
            </a:custGeom>
            <a:solidFill>
              <a:srgbClr val="EF3D60">
                <a:alpha val="50999"/>
              </a:srgbClr>
            </a:solidFill>
          </p:spPr>
          <p:txBody>
            <a:bodyPr wrap="square" lIns="0" tIns="0" rIns="0" bIns="0" rtlCol="0"/>
            <a:lstStyle/>
            <a:p>
              <a:endParaRPr sz="2968"/>
            </a:p>
          </p:txBody>
        </p:sp>
        <p:sp>
          <p:nvSpPr>
            <p:cNvPr id="85" name="object 83">
              <a:extLst>
                <a:ext uri="{FF2B5EF4-FFF2-40B4-BE49-F238E27FC236}">
                  <a16:creationId xmlns:a16="http://schemas.microsoft.com/office/drawing/2014/main" id="{B64C0BB4-898C-F642-AAAF-5447EE0A4A8F}"/>
                </a:ext>
              </a:extLst>
            </p:cNvPr>
            <p:cNvSpPr/>
            <p:nvPr/>
          </p:nvSpPr>
          <p:spPr>
            <a:xfrm>
              <a:off x="8919036" y="5202327"/>
              <a:ext cx="680720" cy="1295400"/>
            </a:xfrm>
            <a:custGeom>
              <a:avLst/>
              <a:gdLst/>
              <a:ahLst/>
              <a:cxnLst/>
              <a:rect l="l" t="t" r="r" b="b"/>
              <a:pathLst>
                <a:path w="680720" h="1295400">
                  <a:moveTo>
                    <a:pt x="680554" y="0"/>
                  </a:moveTo>
                  <a:lnTo>
                    <a:pt x="664984" y="1727"/>
                  </a:lnTo>
                  <a:lnTo>
                    <a:pt x="0" y="1288796"/>
                  </a:lnTo>
                  <a:lnTo>
                    <a:pt x="4190" y="1290218"/>
                  </a:lnTo>
                  <a:lnTo>
                    <a:pt x="8089" y="1292250"/>
                  </a:lnTo>
                  <a:lnTo>
                    <a:pt x="11582" y="1294790"/>
                  </a:lnTo>
                  <a:lnTo>
                    <a:pt x="680554" y="0"/>
                  </a:lnTo>
                  <a:close/>
                </a:path>
              </a:pathLst>
            </a:custGeom>
            <a:solidFill>
              <a:srgbClr val="EF3D60">
                <a:alpha val="50999"/>
              </a:srgbClr>
            </a:solidFill>
          </p:spPr>
          <p:txBody>
            <a:bodyPr wrap="square" lIns="0" tIns="0" rIns="0" bIns="0" rtlCol="0"/>
            <a:lstStyle/>
            <a:p>
              <a:endParaRPr sz="2968"/>
            </a:p>
          </p:txBody>
        </p:sp>
        <p:sp>
          <p:nvSpPr>
            <p:cNvPr id="86" name="object 84">
              <a:extLst>
                <a:ext uri="{FF2B5EF4-FFF2-40B4-BE49-F238E27FC236}">
                  <a16:creationId xmlns:a16="http://schemas.microsoft.com/office/drawing/2014/main" id="{1AF0166B-5F83-8F47-9282-8EBD6B759BB9}"/>
                </a:ext>
              </a:extLst>
            </p:cNvPr>
            <p:cNvSpPr/>
            <p:nvPr/>
          </p:nvSpPr>
          <p:spPr>
            <a:xfrm>
              <a:off x="8755744" y="5154973"/>
              <a:ext cx="816610" cy="73025"/>
            </a:xfrm>
            <a:custGeom>
              <a:avLst/>
              <a:gdLst/>
              <a:ahLst/>
              <a:cxnLst/>
              <a:rect l="l" t="t" r="r" b="b"/>
              <a:pathLst>
                <a:path w="816609" h="73025">
                  <a:moveTo>
                    <a:pt x="811072" y="0"/>
                  </a:moveTo>
                  <a:lnTo>
                    <a:pt x="0" y="72605"/>
                  </a:lnTo>
                  <a:lnTo>
                    <a:pt x="816483" y="2819"/>
                  </a:lnTo>
                  <a:lnTo>
                    <a:pt x="816495" y="977"/>
                  </a:lnTo>
                  <a:lnTo>
                    <a:pt x="811072" y="0"/>
                  </a:lnTo>
                  <a:close/>
                </a:path>
              </a:pathLst>
            </a:custGeom>
            <a:solidFill>
              <a:srgbClr val="EF3D60">
                <a:alpha val="50999"/>
              </a:srgbClr>
            </a:solidFill>
          </p:spPr>
          <p:txBody>
            <a:bodyPr wrap="square" lIns="0" tIns="0" rIns="0" bIns="0" rtlCol="0"/>
            <a:lstStyle/>
            <a:p>
              <a:endParaRPr sz="2968"/>
            </a:p>
          </p:txBody>
        </p:sp>
        <p:sp>
          <p:nvSpPr>
            <p:cNvPr id="87" name="object 85">
              <a:extLst>
                <a:ext uri="{FF2B5EF4-FFF2-40B4-BE49-F238E27FC236}">
                  <a16:creationId xmlns:a16="http://schemas.microsoft.com/office/drawing/2014/main" id="{433DA7D2-7E7C-7046-B165-0AEF29592E43}"/>
                </a:ext>
              </a:extLst>
            </p:cNvPr>
            <p:cNvSpPr/>
            <p:nvPr/>
          </p:nvSpPr>
          <p:spPr>
            <a:xfrm>
              <a:off x="8121087" y="4894187"/>
              <a:ext cx="1451610" cy="262255"/>
            </a:xfrm>
            <a:custGeom>
              <a:avLst/>
              <a:gdLst/>
              <a:ahLst/>
              <a:cxnLst/>
              <a:rect l="l" t="t" r="r" b="b"/>
              <a:pathLst>
                <a:path w="1451609" h="262254">
                  <a:moveTo>
                    <a:pt x="584" y="0"/>
                  </a:moveTo>
                  <a:lnTo>
                    <a:pt x="0" y="1879"/>
                  </a:lnTo>
                  <a:lnTo>
                    <a:pt x="1451152" y="261759"/>
                  </a:lnTo>
                  <a:lnTo>
                    <a:pt x="1451190" y="260070"/>
                  </a:lnTo>
                  <a:lnTo>
                    <a:pt x="1451330" y="258406"/>
                  </a:lnTo>
                  <a:lnTo>
                    <a:pt x="1451559" y="256768"/>
                  </a:lnTo>
                  <a:lnTo>
                    <a:pt x="1380820" y="235889"/>
                  </a:lnTo>
                  <a:lnTo>
                    <a:pt x="102463" y="6959"/>
                  </a:lnTo>
                  <a:lnTo>
                    <a:pt x="584" y="0"/>
                  </a:lnTo>
                  <a:close/>
                </a:path>
              </a:pathLst>
            </a:custGeom>
            <a:solidFill>
              <a:srgbClr val="EF3D60">
                <a:alpha val="50999"/>
              </a:srgbClr>
            </a:solidFill>
          </p:spPr>
          <p:txBody>
            <a:bodyPr wrap="square" lIns="0" tIns="0" rIns="0" bIns="0" rtlCol="0"/>
            <a:lstStyle/>
            <a:p>
              <a:endParaRPr sz="2968"/>
            </a:p>
          </p:txBody>
        </p:sp>
        <p:sp>
          <p:nvSpPr>
            <p:cNvPr id="88" name="object 86">
              <a:extLst>
                <a:ext uri="{FF2B5EF4-FFF2-40B4-BE49-F238E27FC236}">
                  <a16:creationId xmlns:a16="http://schemas.microsoft.com/office/drawing/2014/main" id="{87F61FC1-92EA-3545-8A3B-DF13190B4C28}"/>
                </a:ext>
              </a:extLst>
            </p:cNvPr>
            <p:cNvSpPr/>
            <p:nvPr/>
          </p:nvSpPr>
          <p:spPr>
            <a:xfrm>
              <a:off x="8256967" y="4758745"/>
              <a:ext cx="1319530" cy="392430"/>
            </a:xfrm>
            <a:custGeom>
              <a:avLst/>
              <a:gdLst/>
              <a:ahLst/>
              <a:cxnLst/>
              <a:rect l="l" t="t" r="r" b="b"/>
              <a:pathLst>
                <a:path w="1319529" h="392429">
                  <a:moveTo>
                    <a:pt x="620572" y="187121"/>
                  </a:moveTo>
                  <a:lnTo>
                    <a:pt x="1315681" y="392201"/>
                  </a:lnTo>
                  <a:lnTo>
                    <a:pt x="1316291" y="387959"/>
                  </a:lnTo>
                  <a:lnTo>
                    <a:pt x="1317510" y="383908"/>
                  </a:lnTo>
                  <a:lnTo>
                    <a:pt x="1319237" y="380149"/>
                  </a:lnTo>
                  <a:lnTo>
                    <a:pt x="678497" y="191084"/>
                  </a:lnTo>
                  <a:lnTo>
                    <a:pt x="620572" y="187121"/>
                  </a:lnTo>
                  <a:close/>
                </a:path>
                <a:path w="1319529" h="392429">
                  <a:moveTo>
                    <a:pt x="1638" y="0"/>
                  </a:moveTo>
                  <a:lnTo>
                    <a:pt x="1168" y="1371"/>
                  </a:lnTo>
                  <a:lnTo>
                    <a:pt x="622" y="2717"/>
                  </a:lnTo>
                  <a:lnTo>
                    <a:pt x="0" y="4025"/>
                  </a:lnTo>
                  <a:lnTo>
                    <a:pt x="538848" y="163004"/>
                  </a:lnTo>
                  <a:lnTo>
                    <a:pt x="596798" y="166966"/>
                  </a:lnTo>
                  <a:lnTo>
                    <a:pt x="52832" y="6464"/>
                  </a:lnTo>
                  <a:lnTo>
                    <a:pt x="1638" y="0"/>
                  </a:lnTo>
                  <a:close/>
                </a:path>
              </a:pathLst>
            </a:custGeom>
            <a:solidFill>
              <a:srgbClr val="EF3D60">
                <a:alpha val="50999"/>
              </a:srgbClr>
            </a:solidFill>
          </p:spPr>
          <p:txBody>
            <a:bodyPr wrap="square" lIns="0" tIns="0" rIns="0" bIns="0" rtlCol="0"/>
            <a:lstStyle/>
            <a:p>
              <a:endParaRPr sz="2968"/>
            </a:p>
          </p:txBody>
        </p:sp>
        <p:sp>
          <p:nvSpPr>
            <p:cNvPr id="89" name="object 87">
              <a:extLst>
                <a:ext uri="{FF2B5EF4-FFF2-40B4-BE49-F238E27FC236}">
                  <a16:creationId xmlns:a16="http://schemas.microsoft.com/office/drawing/2014/main" id="{CB38BC2D-B989-B644-9BBF-1373D1BB8A33}"/>
                </a:ext>
              </a:extLst>
            </p:cNvPr>
            <p:cNvSpPr/>
            <p:nvPr/>
          </p:nvSpPr>
          <p:spPr>
            <a:xfrm>
              <a:off x="9651822" y="4271572"/>
              <a:ext cx="2103755" cy="873125"/>
            </a:xfrm>
            <a:custGeom>
              <a:avLst/>
              <a:gdLst/>
              <a:ahLst/>
              <a:cxnLst/>
              <a:rect l="l" t="t" r="r" b="b"/>
              <a:pathLst>
                <a:path w="2103754" h="873125">
                  <a:moveTo>
                    <a:pt x="24117" y="869911"/>
                  </a:moveTo>
                  <a:lnTo>
                    <a:pt x="15379" y="873061"/>
                  </a:lnTo>
                  <a:lnTo>
                    <a:pt x="16713" y="872959"/>
                  </a:lnTo>
                  <a:lnTo>
                    <a:pt x="24117" y="869911"/>
                  </a:lnTo>
                  <a:close/>
                </a:path>
                <a:path w="2103754" h="873125">
                  <a:moveTo>
                    <a:pt x="280454" y="746404"/>
                  </a:moveTo>
                  <a:lnTo>
                    <a:pt x="0" y="861529"/>
                  </a:lnTo>
                  <a:lnTo>
                    <a:pt x="863" y="862825"/>
                  </a:lnTo>
                  <a:lnTo>
                    <a:pt x="1651" y="864171"/>
                  </a:lnTo>
                  <a:lnTo>
                    <a:pt x="2374" y="865555"/>
                  </a:lnTo>
                  <a:lnTo>
                    <a:pt x="265264" y="770915"/>
                  </a:lnTo>
                  <a:lnTo>
                    <a:pt x="318617" y="749007"/>
                  </a:lnTo>
                  <a:lnTo>
                    <a:pt x="280454" y="746404"/>
                  </a:lnTo>
                  <a:close/>
                </a:path>
                <a:path w="2103754" h="873125">
                  <a:moveTo>
                    <a:pt x="370192" y="709561"/>
                  </a:moveTo>
                  <a:lnTo>
                    <a:pt x="319138" y="730516"/>
                  </a:lnTo>
                  <a:lnTo>
                    <a:pt x="357301" y="733132"/>
                  </a:lnTo>
                  <a:lnTo>
                    <a:pt x="404253" y="713866"/>
                  </a:lnTo>
                  <a:lnTo>
                    <a:pt x="370192" y="709561"/>
                  </a:lnTo>
                  <a:close/>
                </a:path>
                <a:path w="2103754" h="873125">
                  <a:moveTo>
                    <a:pt x="725335" y="563765"/>
                  </a:moveTo>
                  <a:lnTo>
                    <a:pt x="403783" y="695769"/>
                  </a:lnTo>
                  <a:lnTo>
                    <a:pt x="437832" y="700074"/>
                  </a:lnTo>
                  <a:lnTo>
                    <a:pt x="743038" y="574776"/>
                  </a:lnTo>
                  <a:lnTo>
                    <a:pt x="725335" y="563765"/>
                  </a:lnTo>
                  <a:close/>
                </a:path>
                <a:path w="2103754" h="873125">
                  <a:moveTo>
                    <a:pt x="806958" y="530250"/>
                  </a:moveTo>
                  <a:lnTo>
                    <a:pt x="742619" y="556666"/>
                  </a:lnTo>
                  <a:lnTo>
                    <a:pt x="760336" y="567677"/>
                  </a:lnTo>
                  <a:lnTo>
                    <a:pt x="820877" y="542823"/>
                  </a:lnTo>
                  <a:lnTo>
                    <a:pt x="806958" y="530250"/>
                  </a:lnTo>
                  <a:close/>
                </a:path>
                <a:path w="2103754" h="873125">
                  <a:moveTo>
                    <a:pt x="1056271" y="427901"/>
                  </a:moveTo>
                  <a:lnTo>
                    <a:pt x="822096" y="524040"/>
                  </a:lnTo>
                  <a:lnTo>
                    <a:pt x="836002" y="536600"/>
                  </a:lnTo>
                  <a:lnTo>
                    <a:pt x="1058519" y="445261"/>
                  </a:lnTo>
                  <a:lnTo>
                    <a:pt x="1056271" y="427901"/>
                  </a:lnTo>
                  <a:close/>
                </a:path>
                <a:path w="2103754" h="873125">
                  <a:moveTo>
                    <a:pt x="1089583" y="414235"/>
                  </a:moveTo>
                  <a:lnTo>
                    <a:pt x="1068235" y="422986"/>
                  </a:lnTo>
                  <a:lnTo>
                    <a:pt x="1070483" y="440347"/>
                  </a:lnTo>
                  <a:lnTo>
                    <a:pt x="1090168" y="432257"/>
                  </a:lnTo>
                  <a:lnTo>
                    <a:pt x="1089583" y="414235"/>
                  </a:lnTo>
                  <a:close/>
                </a:path>
                <a:path w="2103754" h="873125">
                  <a:moveTo>
                    <a:pt x="1460868" y="261810"/>
                  </a:moveTo>
                  <a:lnTo>
                    <a:pt x="1105090" y="407860"/>
                  </a:lnTo>
                  <a:lnTo>
                    <a:pt x="1105674" y="425894"/>
                  </a:lnTo>
                  <a:lnTo>
                    <a:pt x="1443748" y="287108"/>
                  </a:lnTo>
                  <a:lnTo>
                    <a:pt x="1460868" y="261810"/>
                  </a:lnTo>
                  <a:close/>
                </a:path>
                <a:path w="2103754" h="873125">
                  <a:moveTo>
                    <a:pt x="1617967" y="197307"/>
                  </a:moveTo>
                  <a:lnTo>
                    <a:pt x="1485290" y="251777"/>
                  </a:lnTo>
                  <a:lnTo>
                    <a:pt x="1468170" y="277088"/>
                  </a:lnTo>
                  <a:lnTo>
                    <a:pt x="1593138" y="225780"/>
                  </a:lnTo>
                  <a:lnTo>
                    <a:pt x="1617967" y="197307"/>
                  </a:lnTo>
                  <a:close/>
                </a:path>
                <a:path w="2103754" h="873125">
                  <a:moveTo>
                    <a:pt x="1704898" y="161620"/>
                  </a:moveTo>
                  <a:lnTo>
                    <a:pt x="1655533" y="181889"/>
                  </a:lnTo>
                  <a:lnTo>
                    <a:pt x="1630705" y="210362"/>
                  </a:lnTo>
                  <a:lnTo>
                    <a:pt x="1717852" y="174586"/>
                  </a:lnTo>
                  <a:lnTo>
                    <a:pt x="1704898" y="161620"/>
                  </a:lnTo>
                  <a:close/>
                </a:path>
                <a:path w="2103754" h="873125">
                  <a:moveTo>
                    <a:pt x="1877656" y="90703"/>
                  </a:moveTo>
                  <a:lnTo>
                    <a:pt x="1719554" y="155600"/>
                  </a:lnTo>
                  <a:lnTo>
                    <a:pt x="1732521" y="168554"/>
                  </a:lnTo>
                  <a:lnTo>
                    <a:pt x="1886483" y="105346"/>
                  </a:lnTo>
                  <a:lnTo>
                    <a:pt x="1877656" y="90703"/>
                  </a:lnTo>
                  <a:close/>
                </a:path>
                <a:path w="2103754" h="873125">
                  <a:moveTo>
                    <a:pt x="2032723" y="27038"/>
                  </a:moveTo>
                  <a:lnTo>
                    <a:pt x="1893468" y="84213"/>
                  </a:lnTo>
                  <a:lnTo>
                    <a:pt x="1902294" y="98856"/>
                  </a:lnTo>
                  <a:lnTo>
                    <a:pt x="1987892" y="63715"/>
                  </a:lnTo>
                  <a:lnTo>
                    <a:pt x="2032723" y="27038"/>
                  </a:lnTo>
                  <a:close/>
                </a:path>
                <a:path w="2103754" h="873125">
                  <a:moveTo>
                    <a:pt x="2098586" y="0"/>
                  </a:moveTo>
                  <a:lnTo>
                    <a:pt x="2090051" y="3505"/>
                  </a:lnTo>
                  <a:lnTo>
                    <a:pt x="2045220" y="40182"/>
                  </a:lnTo>
                  <a:lnTo>
                    <a:pt x="2095754" y="19443"/>
                  </a:lnTo>
                  <a:lnTo>
                    <a:pt x="2103589" y="13334"/>
                  </a:lnTo>
                  <a:lnTo>
                    <a:pt x="2101240" y="9258"/>
                  </a:lnTo>
                  <a:lnTo>
                    <a:pt x="2099525" y="4775"/>
                  </a:lnTo>
                  <a:lnTo>
                    <a:pt x="2098586" y="0"/>
                  </a:lnTo>
                  <a:close/>
                </a:path>
              </a:pathLst>
            </a:custGeom>
            <a:solidFill>
              <a:srgbClr val="EF3D60">
                <a:alpha val="50999"/>
              </a:srgbClr>
            </a:solidFill>
          </p:spPr>
          <p:txBody>
            <a:bodyPr wrap="square" lIns="0" tIns="0" rIns="0" bIns="0" rtlCol="0"/>
            <a:lstStyle/>
            <a:p>
              <a:endParaRPr sz="2968"/>
            </a:p>
          </p:txBody>
        </p:sp>
        <p:sp>
          <p:nvSpPr>
            <p:cNvPr id="90" name="object 88">
              <a:extLst>
                <a:ext uri="{FF2B5EF4-FFF2-40B4-BE49-F238E27FC236}">
                  <a16:creationId xmlns:a16="http://schemas.microsoft.com/office/drawing/2014/main" id="{1BCA9066-CB3D-974A-8304-3EDEBB4ED3D4}"/>
                </a:ext>
              </a:extLst>
            </p:cNvPr>
            <p:cNvSpPr/>
            <p:nvPr/>
          </p:nvSpPr>
          <p:spPr>
            <a:xfrm>
              <a:off x="8768902" y="5186428"/>
              <a:ext cx="685800" cy="92710"/>
            </a:xfrm>
            <a:custGeom>
              <a:avLst/>
              <a:gdLst/>
              <a:ahLst/>
              <a:cxnLst/>
              <a:rect l="l" t="t" r="r" b="b"/>
              <a:pathLst>
                <a:path w="685800" h="92710">
                  <a:moveTo>
                    <a:pt x="685228" y="0"/>
                  </a:moveTo>
                  <a:lnTo>
                    <a:pt x="527100" y="13512"/>
                  </a:lnTo>
                  <a:lnTo>
                    <a:pt x="0" y="92583"/>
                  </a:lnTo>
                  <a:lnTo>
                    <a:pt x="262191" y="63449"/>
                  </a:lnTo>
                  <a:lnTo>
                    <a:pt x="685228" y="0"/>
                  </a:lnTo>
                  <a:close/>
                </a:path>
              </a:pathLst>
            </a:custGeom>
            <a:solidFill>
              <a:srgbClr val="EF3D60">
                <a:alpha val="50999"/>
              </a:srgbClr>
            </a:solidFill>
          </p:spPr>
          <p:txBody>
            <a:bodyPr wrap="square" lIns="0" tIns="0" rIns="0" bIns="0" rtlCol="0"/>
            <a:lstStyle/>
            <a:p>
              <a:endParaRPr sz="2968"/>
            </a:p>
          </p:txBody>
        </p:sp>
        <p:sp>
          <p:nvSpPr>
            <p:cNvPr id="91" name="object 89">
              <a:extLst>
                <a:ext uri="{FF2B5EF4-FFF2-40B4-BE49-F238E27FC236}">
                  <a16:creationId xmlns:a16="http://schemas.microsoft.com/office/drawing/2014/main" id="{C77DD660-B442-9749-A2B4-F66C888A5637}"/>
                </a:ext>
              </a:extLst>
            </p:cNvPr>
            <p:cNvSpPr/>
            <p:nvPr/>
          </p:nvSpPr>
          <p:spPr>
            <a:xfrm>
              <a:off x="9516412" y="2586351"/>
              <a:ext cx="107314" cy="2528570"/>
            </a:xfrm>
            <a:custGeom>
              <a:avLst/>
              <a:gdLst/>
              <a:ahLst/>
              <a:cxnLst/>
              <a:rect l="l" t="t" r="r" b="b"/>
              <a:pathLst>
                <a:path w="107315" h="2528570">
                  <a:moveTo>
                    <a:pt x="84518" y="2408974"/>
                  </a:moveTo>
                  <a:lnTo>
                    <a:pt x="88569" y="2524340"/>
                  </a:lnTo>
                  <a:lnTo>
                    <a:pt x="90271" y="2528252"/>
                  </a:lnTo>
                  <a:lnTo>
                    <a:pt x="93167" y="2527642"/>
                  </a:lnTo>
                  <a:lnTo>
                    <a:pt x="96151" y="2527325"/>
                  </a:lnTo>
                  <a:lnTo>
                    <a:pt x="106796" y="2527325"/>
                  </a:lnTo>
                  <a:lnTo>
                    <a:pt x="102692" y="2410218"/>
                  </a:lnTo>
                  <a:lnTo>
                    <a:pt x="84518" y="2408974"/>
                  </a:lnTo>
                  <a:close/>
                </a:path>
                <a:path w="107315" h="2528570">
                  <a:moveTo>
                    <a:pt x="106796" y="2527325"/>
                  </a:moveTo>
                  <a:lnTo>
                    <a:pt x="101815" y="2527325"/>
                  </a:lnTo>
                  <a:lnTo>
                    <a:pt x="104355" y="2527554"/>
                  </a:lnTo>
                  <a:lnTo>
                    <a:pt x="106819" y="2527985"/>
                  </a:lnTo>
                  <a:lnTo>
                    <a:pt x="106796" y="2527325"/>
                  </a:lnTo>
                  <a:close/>
                </a:path>
                <a:path w="107315" h="2528570">
                  <a:moveTo>
                    <a:pt x="82156" y="2341384"/>
                  </a:moveTo>
                  <a:lnTo>
                    <a:pt x="83870" y="2390406"/>
                  </a:lnTo>
                  <a:lnTo>
                    <a:pt x="102044" y="2391638"/>
                  </a:lnTo>
                  <a:lnTo>
                    <a:pt x="100355" y="2343683"/>
                  </a:lnTo>
                  <a:lnTo>
                    <a:pt x="82156" y="2341384"/>
                  </a:lnTo>
                  <a:close/>
                </a:path>
                <a:path w="107315" h="2528570">
                  <a:moveTo>
                    <a:pt x="61467" y="1752142"/>
                  </a:moveTo>
                  <a:lnTo>
                    <a:pt x="81508" y="2323274"/>
                  </a:lnTo>
                  <a:lnTo>
                    <a:pt x="99720" y="2325573"/>
                  </a:lnTo>
                  <a:lnTo>
                    <a:pt x="80009" y="1763661"/>
                  </a:lnTo>
                  <a:lnTo>
                    <a:pt x="61467" y="1752142"/>
                  </a:lnTo>
                  <a:close/>
                </a:path>
                <a:path w="107315" h="2528570">
                  <a:moveTo>
                    <a:pt x="49428" y="1408925"/>
                  </a:moveTo>
                  <a:lnTo>
                    <a:pt x="60832" y="1733892"/>
                  </a:lnTo>
                  <a:lnTo>
                    <a:pt x="79362" y="1745424"/>
                  </a:lnTo>
                  <a:lnTo>
                    <a:pt x="68160" y="1425841"/>
                  </a:lnTo>
                  <a:lnTo>
                    <a:pt x="49428" y="1408925"/>
                  </a:lnTo>
                  <a:close/>
                </a:path>
                <a:path w="107315" h="2528570">
                  <a:moveTo>
                    <a:pt x="0" y="647"/>
                  </a:moveTo>
                  <a:lnTo>
                    <a:pt x="48704" y="1388376"/>
                  </a:lnTo>
                  <a:lnTo>
                    <a:pt x="67436" y="1405293"/>
                  </a:lnTo>
                  <a:lnTo>
                    <a:pt x="18168" y="1295"/>
                  </a:lnTo>
                  <a:lnTo>
                    <a:pt x="4978" y="1295"/>
                  </a:lnTo>
                  <a:lnTo>
                    <a:pt x="2463" y="1066"/>
                  </a:lnTo>
                  <a:lnTo>
                    <a:pt x="0" y="647"/>
                  </a:lnTo>
                  <a:close/>
                </a:path>
                <a:path w="107315" h="2528570">
                  <a:moveTo>
                    <a:pt x="18122" y="0"/>
                  </a:moveTo>
                  <a:lnTo>
                    <a:pt x="14744" y="838"/>
                  </a:lnTo>
                  <a:lnTo>
                    <a:pt x="11201" y="1295"/>
                  </a:lnTo>
                  <a:lnTo>
                    <a:pt x="18168" y="1295"/>
                  </a:lnTo>
                  <a:lnTo>
                    <a:pt x="18122" y="0"/>
                  </a:lnTo>
                  <a:close/>
                </a:path>
              </a:pathLst>
            </a:custGeom>
            <a:solidFill>
              <a:srgbClr val="EF3D60">
                <a:alpha val="50999"/>
              </a:srgbClr>
            </a:solidFill>
          </p:spPr>
          <p:txBody>
            <a:bodyPr wrap="square" lIns="0" tIns="0" rIns="0" bIns="0" rtlCol="0"/>
            <a:lstStyle/>
            <a:p>
              <a:endParaRPr sz="2968"/>
            </a:p>
          </p:txBody>
        </p:sp>
        <p:sp>
          <p:nvSpPr>
            <p:cNvPr id="92" name="object 90">
              <a:extLst>
                <a:ext uri="{FF2B5EF4-FFF2-40B4-BE49-F238E27FC236}">
                  <a16:creationId xmlns:a16="http://schemas.microsoft.com/office/drawing/2014/main" id="{ACDB0A42-5178-6D47-94CF-AC602421FEC6}"/>
                </a:ext>
              </a:extLst>
            </p:cNvPr>
            <p:cNvSpPr/>
            <p:nvPr/>
          </p:nvSpPr>
          <p:spPr>
            <a:xfrm>
              <a:off x="9626573" y="2991211"/>
              <a:ext cx="1055370" cy="2131695"/>
            </a:xfrm>
            <a:custGeom>
              <a:avLst/>
              <a:gdLst/>
              <a:ahLst/>
              <a:cxnLst/>
              <a:rect l="l" t="t" r="r" b="b"/>
              <a:pathLst>
                <a:path w="1055370" h="2131695">
                  <a:moveTo>
                    <a:pt x="55892" y="2009686"/>
                  </a:moveTo>
                  <a:lnTo>
                    <a:pt x="0" y="2123859"/>
                  </a:lnTo>
                  <a:lnTo>
                    <a:pt x="5727" y="2125345"/>
                  </a:lnTo>
                  <a:lnTo>
                    <a:pt x="10985" y="2127961"/>
                  </a:lnTo>
                  <a:lnTo>
                    <a:pt x="15544" y="2131479"/>
                  </a:lnTo>
                  <a:lnTo>
                    <a:pt x="74548" y="2010968"/>
                  </a:lnTo>
                  <a:lnTo>
                    <a:pt x="55892" y="2009686"/>
                  </a:lnTo>
                  <a:close/>
                </a:path>
                <a:path w="1055370" h="2131695">
                  <a:moveTo>
                    <a:pt x="84747" y="1950745"/>
                  </a:moveTo>
                  <a:lnTo>
                    <a:pt x="64668" y="1991753"/>
                  </a:lnTo>
                  <a:lnTo>
                    <a:pt x="83337" y="1993036"/>
                  </a:lnTo>
                  <a:lnTo>
                    <a:pt x="102908" y="1953031"/>
                  </a:lnTo>
                  <a:lnTo>
                    <a:pt x="84747" y="1950745"/>
                  </a:lnTo>
                  <a:close/>
                </a:path>
                <a:path w="1055370" h="2131695">
                  <a:moveTo>
                    <a:pt x="280123" y="1551686"/>
                  </a:moveTo>
                  <a:lnTo>
                    <a:pt x="93065" y="1933765"/>
                  </a:lnTo>
                  <a:lnTo>
                    <a:pt x="111226" y="1936051"/>
                  </a:lnTo>
                  <a:lnTo>
                    <a:pt x="294906" y="1560868"/>
                  </a:lnTo>
                  <a:lnTo>
                    <a:pt x="280123" y="1551686"/>
                  </a:lnTo>
                  <a:close/>
                </a:path>
                <a:path w="1055370" h="2131695">
                  <a:moveTo>
                    <a:pt x="361505" y="1385455"/>
                  </a:moveTo>
                  <a:lnTo>
                    <a:pt x="286816" y="1537995"/>
                  </a:lnTo>
                  <a:lnTo>
                    <a:pt x="301612" y="1547190"/>
                  </a:lnTo>
                  <a:lnTo>
                    <a:pt x="374878" y="1397533"/>
                  </a:lnTo>
                  <a:lnTo>
                    <a:pt x="361505" y="1385455"/>
                  </a:lnTo>
                  <a:close/>
                </a:path>
                <a:path w="1055370" h="2131695">
                  <a:moveTo>
                    <a:pt x="1039799" y="0"/>
                  </a:moveTo>
                  <a:lnTo>
                    <a:pt x="368261" y="1371663"/>
                  </a:lnTo>
                  <a:lnTo>
                    <a:pt x="381634" y="1383741"/>
                  </a:lnTo>
                  <a:lnTo>
                    <a:pt x="1055357" y="7619"/>
                  </a:lnTo>
                  <a:lnTo>
                    <a:pt x="1049616" y="6134"/>
                  </a:lnTo>
                  <a:lnTo>
                    <a:pt x="1044346" y="3505"/>
                  </a:lnTo>
                  <a:lnTo>
                    <a:pt x="1039799" y="0"/>
                  </a:lnTo>
                  <a:close/>
                </a:path>
              </a:pathLst>
            </a:custGeom>
            <a:solidFill>
              <a:srgbClr val="EF3D60">
                <a:alpha val="50999"/>
              </a:srgbClr>
            </a:solidFill>
          </p:spPr>
          <p:txBody>
            <a:bodyPr wrap="square" lIns="0" tIns="0" rIns="0" bIns="0" rtlCol="0"/>
            <a:lstStyle/>
            <a:p>
              <a:endParaRPr sz="2968"/>
            </a:p>
          </p:txBody>
        </p:sp>
        <p:sp>
          <p:nvSpPr>
            <p:cNvPr id="93" name="object 91">
              <a:extLst>
                <a:ext uri="{FF2B5EF4-FFF2-40B4-BE49-F238E27FC236}">
                  <a16:creationId xmlns:a16="http://schemas.microsoft.com/office/drawing/2014/main" id="{EA537DEA-4134-CF4D-85F4-EF278847C18D}"/>
                </a:ext>
              </a:extLst>
            </p:cNvPr>
            <p:cNvSpPr/>
            <p:nvPr/>
          </p:nvSpPr>
          <p:spPr>
            <a:xfrm>
              <a:off x="8639054" y="2923595"/>
              <a:ext cx="967740" cy="2198370"/>
            </a:xfrm>
            <a:custGeom>
              <a:avLst/>
              <a:gdLst/>
              <a:ahLst/>
              <a:cxnLst/>
              <a:rect l="l" t="t" r="r" b="b"/>
              <a:pathLst>
                <a:path w="967740" h="2198370">
                  <a:moveTo>
                    <a:pt x="894816" y="2067140"/>
                  </a:moveTo>
                  <a:lnTo>
                    <a:pt x="951636" y="2197963"/>
                  </a:lnTo>
                  <a:lnTo>
                    <a:pt x="956360" y="2194636"/>
                  </a:lnTo>
                  <a:lnTo>
                    <a:pt x="961770" y="2192235"/>
                  </a:lnTo>
                  <a:lnTo>
                    <a:pt x="967625" y="2191004"/>
                  </a:lnTo>
                  <a:lnTo>
                    <a:pt x="914412" y="2068474"/>
                  </a:lnTo>
                  <a:lnTo>
                    <a:pt x="894816" y="2067140"/>
                  </a:lnTo>
                  <a:close/>
                </a:path>
                <a:path w="967740" h="2198370">
                  <a:moveTo>
                    <a:pt x="862114" y="1991855"/>
                  </a:moveTo>
                  <a:lnTo>
                    <a:pt x="886523" y="2048052"/>
                  </a:lnTo>
                  <a:lnTo>
                    <a:pt x="906119" y="2049386"/>
                  </a:lnTo>
                  <a:lnTo>
                    <a:pt x="882230" y="1994395"/>
                  </a:lnTo>
                  <a:lnTo>
                    <a:pt x="862114" y="1991855"/>
                  </a:lnTo>
                  <a:close/>
                </a:path>
                <a:path w="967740" h="2198370">
                  <a:moveTo>
                    <a:pt x="490461" y="1136180"/>
                  </a:moveTo>
                  <a:lnTo>
                    <a:pt x="853833" y="1972779"/>
                  </a:lnTo>
                  <a:lnTo>
                    <a:pt x="873937" y="1975307"/>
                  </a:lnTo>
                  <a:lnTo>
                    <a:pt x="516508" y="1152372"/>
                  </a:lnTo>
                  <a:lnTo>
                    <a:pt x="490461" y="1136180"/>
                  </a:lnTo>
                  <a:close/>
                </a:path>
                <a:path w="967740" h="2198370">
                  <a:moveTo>
                    <a:pt x="16001" y="0"/>
                  </a:moveTo>
                  <a:lnTo>
                    <a:pt x="11264" y="3327"/>
                  </a:lnTo>
                  <a:lnTo>
                    <a:pt x="5854" y="5727"/>
                  </a:lnTo>
                  <a:lnTo>
                    <a:pt x="0" y="6959"/>
                  </a:lnTo>
                  <a:lnTo>
                    <a:pt x="455129" y="1054823"/>
                  </a:lnTo>
                  <a:lnTo>
                    <a:pt x="461274" y="1061456"/>
                  </a:lnTo>
                  <a:lnTo>
                    <a:pt x="465939" y="1069260"/>
                  </a:lnTo>
                  <a:lnTo>
                    <a:pt x="468901" y="1078012"/>
                  </a:lnTo>
                  <a:lnTo>
                    <a:pt x="469938" y="1087488"/>
                  </a:lnTo>
                  <a:lnTo>
                    <a:pt x="469925" y="1088885"/>
                  </a:lnTo>
                  <a:lnTo>
                    <a:pt x="479844" y="1111732"/>
                  </a:lnTo>
                  <a:lnTo>
                    <a:pt x="505891" y="1127925"/>
                  </a:lnTo>
                  <a:lnTo>
                    <a:pt x="16001" y="0"/>
                  </a:lnTo>
                  <a:close/>
                </a:path>
              </a:pathLst>
            </a:custGeom>
            <a:solidFill>
              <a:srgbClr val="EF3D60">
                <a:alpha val="50999"/>
              </a:srgbClr>
            </a:solidFill>
          </p:spPr>
          <p:txBody>
            <a:bodyPr wrap="square" lIns="0" tIns="0" rIns="0" bIns="0" rtlCol="0"/>
            <a:lstStyle/>
            <a:p>
              <a:endParaRPr sz="2968"/>
            </a:p>
          </p:txBody>
        </p:sp>
        <p:sp>
          <p:nvSpPr>
            <p:cNvPr id="94" name="object 92">
              <a:extLst>
                <a:ext uri="{FF2B5EF4-FFF2-40B4-BE49-F238E27FC236}">
                  <a16:creationId xmlns:a16="http://schemas.microsoft.com/office/drawing/2014/main" id="{85F62C88-DD32-A14C-BC40-E75B9853FEE8}"/>
                </a:ext>
              </a:extLst>
            </p:cNvPr>
            <p:cNvSpPr/>
            <p:nvPr/>
          </p:nvSpPr>
          <p:spPr>
            <a:xfrm>
              <a:off x="9654204" y="4755143"/>
              <a:ext cx="1062990" cy="390525"/>
            </a:xfrm>
            <a:custGeom>
              <a:avLst/>
              <a:gdLst/>
              <a:ahLst/>
              <a:cxnLst/>
              <a:rect l="l" t="t" r="r" b="b"/>
              <a:pathLst>
                <a:path w="1062990" h="390525">
                  <a:moveTo>
                    <a:pt x="322529" y="265874"/>
                  </a:moveTo>
                  <a:lnTo>
                    <a:pt x="0" y="381977"/>
                  </a:lnTo>
                  <a:lnTo>
                    <a:pt x="1358" y="384606"/>
                  </a:lnTo>
                  <a:lnTo>
                    <a:pt x="2451" y="387375"/>
                  </a:lnTo>
                  <a:lnTo>
                    <a:pt x="3263" y="390271"/>
                  </a:lnTo>
                  <a:lnTo>
                    <a:pt x="12992" y="389483"/>
                  </a:lnTo>
                  <a:lnTo>
                    <a:pt x="350977" y="267817"/>
                  </a:lnTo>
                  <a:lnTo>
                    <a:pt x="322529" y="265874"/>
                  </a:lnTo>
                  <a:close/>
                </a:path>
                <a:path w="1062990" h="390525">
                  <a:moveTo>
                    <a:pt x="416305" y="232117"/>
                  </a:moveTo>
                  <a:lnTo>
                    <a:pt x="365772" y="250304"/>
                  </a:lnTo>
                  <a:lnTo>
                    <a:pt x="394220" y="252247"/>
                  </a:lnTo>
                  <a:lnTo>
                    <a:pt x="441375" y="235280"/>
                  </a:lnTo>
                  <a:lnTo>
                    <a:pt x="416305" y="232117"/>
                  </a:lnTo>
                  <a:close/>
                </a:path>
                <a:path w="1062990" h="390525">
                  <a:moveTo>
                    <a:pt x="765251" y="106489"/>
                  </a:moveTo>
                  <a:lnTo>
                    <a:pt x="453389" y="218757"/>
                  </a:lnTo>
                  <a:lnTo>
                    <a:pt x="478459" y="221919"/>
                  </a:lnTo>
                  <a:lnTo>
                    <a:pt x="777671" y="114211"/>
                  </a:lnTo>
                  <a:lnTo>
                    <a:pt x="765251" y="106489"/>
                  </a:lnTo>
                  <a:close/>
                </a:path>
                <a:path w="1062990" h="390525">
                  <a:moveTo>
                    <a:pt x="840714" y="79324"/>
                  </a:moveTo>
                  <a:lnTo>
                    <a:pt x="783437" y="99949"/>
                  </a:lnTo>
                  <a:lnTo>
                    <a:pt x="795845" y="107657"/>
                  </a:lnTo>
                  <a:lnTo>
                    <a:pt x="850353" y="88036"/>
                  </a:lnTo>
                  <a:lnTo>
                    <a:pt x="840714" y="79324"/>
                  </a:lnTo>
                  <a:close/>
                </a:path>
                <a:path w="1062990" h="390525">
                  <a:moveTo>
                    <a:pt x="1061084" y="0"/>
                  </a:moveTo>
                  <a:lnTo>
                    <a:pt x="856449" y="73660"/>
                  </a:lnTo>
                  <a:lnTo>
                    <a:pt x="866114" y="82372"/>
                  </a:lnTo>
                  <a:lnTo>
                    <a:pt x="1062583" y="11645"/>
                  </a:lnTo>
                  <a:lnTo>
                    <a:pt x="1061084" y="0"/>
                  </a:lnTo>
                  <a:close/>
                </a:path>
              </a:pathLst>
            </a:custGeom>
            <a:solidFill>
              <a:srgbClr val="EF3D60">
                <a:alpha val="50999"/>
              </a:srgbClr>
            </a:solidFill>
          </p:spPr>
          <p:txBody>
            <a:bodyPr wrap="square" lIns="0" tIns="0" rIns="0" bIns="0" rtlCol="0"/>
            <a:lstStyle/>
            <a:p>
              <a:endParaRPr sz="2968"/>
            </a:p>
          </p:txBody>
        </p:sp>
        <p:sp>
          <p:nvSpPr>
            <p:cNvPr id="95" name="object 93">
              <a:extLst>
                <a:ext uri="{FF2B5EF4-FFF2-40B4-BE49-F238E27FC236}">
                  <a16:creationId xmlns:a16="http://schemas.microsoft.com/office/drawing/2014/main" id="{C7872DB5-62CF-FC4E-851D-48ADA2AF2458}"/>
                </a:ext>
              </a:extLst>
            </p:cNvPr>
            <p:cNvSpPr/>
            <p:nvPr/>
          </p:nvSpPr>
          <p:spPr>
            <a:xfrm>
              <a:off x="9627127" y="5199088"/>
              <a:ext cx="242570" cy="1771650"/>
            </a:xfrm>
            <a:custGeom>
              <a:avLst/>
              <a:gdLst/>
              <a:ahLst/>
              <a:cxnLst/>
              <a:rect l="l" t="t" r="r" b="b"/>
              <a:pathLst>
                <a:path w="242570" h="1771650">
                  <a:moveTo>
                    <a:pt x="240385" y="1758594"/>
                  </a:moveTo>
                  <a:lnTo>
                    <a:pt x="234200" y="1771548"/>
                  </a:lnTo>
                  <a:lnTo>
                    <a:pt x="236308" y="1771243"/>
                  </a:lnTo>
                  <a:lnTo>
                    <a:pt x="238455" y="1771078"/>
                  </a:lnTo>
                  <a:lnTo>
                    <a:pt x="242083" y="1771078"/>
                  </a:lnTo>
                  <a:lnTo>
                    <a:pt x="240385" y="1758594"/>
                  </a:lnTo>
                  <a:close/>
                </a:path>
                <a:path w="242570" h="1771650">
                  <a:moveTo>
                    <a:pt x="242083" y="1771078"/>
                  </a:moveTo>
                  <a:lnTo>
                    <a:pt x="241122" y="1771078"/>
                  </a:lnTo>
                  <a:lnTo>
                    <a:pt x="242087" y="1771103"/>
                  </a:lnTo>
                  <a:close/>
                </a:path>
                <a:path w="242570" h="1771650">
                  <a:moveTo>
                    <a:pt x="114414" y="830834"/>
                  </a:moveTo>
                  <a:lnTo>
                    <a:pt x="101345" y="843051"/>
                  </a:lnTo>
                  <a:lnTo>
                    <a:pt x="224929" y="1753222"/>
                  </a:lnTo>
                  <a:lnTo>
                    <a:pt x="236385" y="1729193"/>
                  </a:lnTo>
                  <a:lnTo>
                    <a:pt x="114414" y="830834"/>
                  </a:lnTo>
                  <a:close/>
                </a:path>
                <a:path w="242570" h="1771650">
                  <a:moveTo>
                    <a:pt x="96291" y="697369"/>
                  </a:moveTo>
                  <a:lnTo>
                    <a:pt x="82994" y="707872"/>
                  </a:lnTo>
                  <a:lnTo>
                    <a:pt x="98894" y="824941"/>
                  </a:lnTo>
                  <a:lnTo>
                    <a:pt x="111963" y="812723"/>
                  </a:lnTo>
                  <a:lnTo>
                    <a:pt x="96291" y="697369"/>
                  </a:lnTo>
                  <a:close/>
                </a:path>
                <a:path w="242570" h="1771650">
                  <a:moveTo>
                    <a:pt x="1612" y="0"/>
                  </a:moveTo>
                  <a:lnTo>
                    <a:pt x="0" y="177"/>
                  </a:lnTo>
                  <a:lnTo>
                    <a:pt x="30746" y="323037"/>
                  </a:lnTo>
                  <a:lnTo>
                    <a:pt x="80352" y="688416"/>
                  </a:lnTo>
                  <a:lnTo>
                    <a:pt x="93649" y="677900"/>
                  </a:lnTo>
                  <a:lnTo>
                    <a:pt x="1612" y="0"/>
                  </a:lnTo>
                  <a:close/>
                </a:path>
              </a:pathLst>
            </a:custGeom>
            <a:solidFill>
              <a:srgbClr val="EF3D60">
                <a:alpha val="50999"/>
              </a:srgbClr>
            </a:solidFill>
          </p:spPr>
          <p:txBody>
            <a:bodyPr wrap="square" lIns="0" tIns="0" rIns="0" bIns="0" rtlCol="0"/>
            <a:lstStyle/>
            <a:p>
              <a:endParaRPr sz="2968"/>
            </a:p>
          </p:txBody>
        </p:sp>
        <p:sp>
          <p:nvSpPr>
            <p:cNvPr id="96" name="object 94">
              <a:extLst>
                <a:ext uri="{FF2B5EF4-FFF2-40B4-BE49-F238E27FC236}">
                  <a16:creationId xmlns:a16="http://schemas.microsoft.com/office/drawing/2014/main" id="{B8382C22-C6E6-E34E-8385-FB06FF9B029A}"/>
                </a:ext>
              </a:extLst>
            </p:cNvPr>
            <p:cNvSpPr/>
            <p:nvPr/>
          </p:nvSpPr>
          <p:spPr>
            <a:xfrm>
              <a:off x="9612328" y="5199269"/>
              <a:ext cx="190500" cy="1841500"/>
            </a:xfrm>
            <a:custGeom>
              <a:avLst/>
              <a:gdLst/>
              <a:ahLst/>
              <a:cxnLst/>
              <a:rect l="l" t="t" r="r" b="b"/>
              <a:pathLst>
                <a:path w="190500" h="1841500">
                  <a:moveTo>
                    <a:pt x="96786" y="860983"/>
                  </a:moveTo>
                  <a:lnTo>
                    <a:pt x="83057" y="873823"/>
                  </a:lnTo>
                  <a:lnTo>
                    <a:pt x="175196" y="1841220"/>
                  </a:lnTo>
                  <a:lnTo>
                    <a:pt x="178854" y="1840230"/>
                  </a:lnTo>
                  <a:lnTo>
                    <a:pt x="182702" y="1839696"/>
                  </a:lnTo>
                  <a:lnTo>
                    <a:pt x="189992" y="1839696"/>
                  </a:lnTo>
                  <a:lnTo>
                    <a:pt x="96786" y="860983"/>
                  </a:lnTo>
                  <a:close/>
                </a:path>
                <a:path w="190500" h="1841500">
                  <a:moveTo>
                    <a:pt x="189992" y="1839696"/>
                  </a:moveTo>
                  <a:lnTo>
                    <a:pt x="187782" y="1839696"/>
                  </a:lnTo>
                  <a:lnTo>
                    <a:pt x="188899" y="1839747"/>
                  </a:lnTo>
                  <a:lnTo>
                    <a:pt x="190004" y="1839823"/>
                  </a:lnTo>
                  <a:close/>
                </a:path>
                <a:path w="190500" h="1841500">
                  <a:moveTo>
                    <a:pt x="83286" y="719162"/>
                  </a:moveTo>
                  <a:lnTo>
                    <a:pt x="69380" y="730135"/>
                  </a:lnTo>
                  <a:lnTo>
                    <a:pt x="81279" y="855078"/>
                  </a:lnTo>
                  <a:lnTo>
                    <a:pt x="94995" y="842238"/>
                  </a:lnTo>
                  <a:lnTo>
                    <a:pt x="83286" y="719162"/>
                  </a:lnTo>
                  <a:close/>
                </a:path>
                <a:path w="190500" h="1841500">
                  <a:moveTo>
                    <a:pt x="14808" y="0"/>
                  </a:moveTo>
                  <a:lnTo>
                    <a:pt x="12623" y="241"/>
                  </a:lnTo>
                  <a:lnTo>
                    <a:pt x="9728" y="876"/>
                  </a:lnTo>
                  <a:lnTo>
                    <a:pt x="6705" y="1219"/>
                  </a:lnTo>
                  <a:lnTo>
                    <a:pt x="3619" y="1244"/>
                  </a:lnTo>
                  <a:lnTo>
                    <a:pt x="0" y="1638"/>
                  </a:lnTo>
                  <a:lnTo>
                    <a:pt x="67475" y="710095"/>
                  </a:lnTo>
                  <a:lnTo>
                    <a:pt x="81381" y="699122"/>
                  </a:lnTo>
                  <a:lnTo>
                    <a:pt x="14808" y="0"/>
                  </a:lnTo>
                  <a:close/>
                </a:path>
              </a:pathLst>
            </a:custGeom>
            <a:solidFill>
              <a:srgbClr val="EF3D60">
                <a:alpha val="50999"/>
              </a:srgbClr>
            </a:solidFill>
          </p:spPr>
          <p:txBody>
            <a:bodyPr wrap="square" lIns="0" tIns="0" rIns="0" bIns="0" rtlCol="0"/>
            <a:lstStyle/>
            <a:p>
              <a:endParaRPr sz="2968"/>
            </a:p>
          </p:txBody>
        </p:sp>
        <p:sp>
          <p:nvSpPr>
            <p:cNvPr id="97" name="object 95">
              <a:extLst>
                <a:ext uri="{FF2B5EF4-FFF2-40B4-BE49-F238E27FC236}">
                  <a16:creationId xmlns:a16="http://schemas.microsoft.com/office/drawing/2014/main" id="{1386EDD7-8259-474E-A767-580FFFEFFCB8}"/>
                </a:ext>
              </a:extLst>
            </p:cNvPr>
            <p:cNvSpPr/>
            <p:nvPr/>
          </p:nvSpPr>
          <p:spPr>
            <a:xfrm>
              <a:off x="10781711" y="5093839"/>
              <a:ext cx="1335405" cy="1685289"/>
            </a:xfrm>
            <a:custGeom>
              <a:avLst/>
              <a:gdLst/>
              <a:ahLst/>
              <a:cxnLst/>
              <a:rect l="l" t="t" r="r" b="b"/>
              <a:pathLst>
                <a:path w="1335404" h="1685290">
                  <a:moveTo>
                    <a:pt x="581901" y="720953"/>
                  </a:moveTo>
                  <a:lnTo>
                    <a:pt x="572503" y="735241"/>
                  </a:lnTo>
                  <a:lnTo>
                    <a:pt x="1322336" y="1685035"/>
                  </a:lnTo>
                  <a:lnTo>
                    <a:pt x="1325905" y="1680933"/>
                  </a:lnTo>
                  <a:lnTo>
                    <a:pt x="1330210" y="1677517"/>
                  </a:lnTo>
                  <a:lnTo>
                    <a:pt x="1335074" y="1674977"/>
                  </a:lnTo>
                  <a:lnTo>
                    <a:pt x="581901" y="720953"/>
                  </a:lnTo>
                  <a:close/>
                </a:path>
                <a:path w="1335404" h="1685290">
                  <a:moveTo>
                    <a:pt x="12750" y="0"/>
                  </a:moveTo>
                  <a:lnTo>
                    <a:pt x="9182" y="4102"/>
                  </a:lnTo>
                  <a:lnTo>
                    <a:pt x="4864" y="7531"/>
                  </a:lnTo>
                  <a:lnTo>
                    <a:pt x="0" y="10071"/>
                  </a:lnTo>
                  <a:lnTo>
                    <a:pt x="562330" y="722363"/>
                  </a:lnTo>
                  <a:lnTo>
                    <a:pt x="571728" y="708075"/>
                  </a:lnTo>
                  <a:lnTo>
                    <a:pt x="12750" y="0"/>
                  </a:lnTo>
                  <a:close/>
                </a:path>
              </a:pathLst>
            </a:custGeom>
            <a:solidFill>
              <a:srgbClr val="EF3D60">
                <a:alpha val="50999"/>
              </a:srgbClr>
            </a:solidFill>
          </p:spPr>
          <p:txBody>
            <a:bodyPr wrap="square" lIns="0" tIns="0" rIns="0" bIns="0" rtlCol="0"/>
            <a:lstStyle/>
            <a:p>
              <a:endParaRPr sz="2968"/>
            </a:p>
          </p:txBody>
        </p:sp>
        <p:sp>
          <p:nvSpPr>
            <p:cNvPr id="98" name="object 96">
              <a:extLst>
                <a:ext uri="{FF2B5EF4-FFF2-40B4-BE49-F238E27FC236}">
                  <a16:creationId xmlns:a16="http://schemas.microsoft.com/office/drawing/2014/main" id="{5926BBF9-2A62-464B-BCF3-3B1A982A4DD8}"/>
                </a:ext>
              </a:extLst>
            </p:cNvPr>
            <p:cNvSpPr/>
            <p:nvPr/>
          </p:nvSpPr>
          <p:spPr>
            <a:xfrm>
              <a:off x="10754815" y="6671653"/>
              <a:ext cx="3810" cy="1270"/>
            </a:xfrm>
            <a:custGeom>
              <a:avLst/>
              <a:gdLst/>
              <a:ahLst/>
              <a:cxnLst/>
              <a:rect l="l" t="t" r="r" b="b"/>
              <a:pathLst>
                <a:path w="3809" h="1270">
                  <a:moveTo>
                    <a:pt x="0" y="1269"/>
                  </a:moveTo>
                  <a:lnTo>
                    <a:pt x="3738" y="1269"/>
                  </a:lnTo>
                  <a:lnTo>
                    <a:pt x="3738" y="0"/>
                  </a:lnTo>
                  <a:lnTo>
                    <a:pt x="0" y="0"/>
                  </a:lnTo>
                  <a:lnTo>
                    <a:pt x="0" y="1269"/>
                  </a:lnTo>
                  <a:close/>
                </a:path>
              </a:pathLst>
            </a:custGeom>
            <a:solidFill>
              <a:srgbClr val="EF3D60">
                <a:alpha val="50999"/>
              </a:srgbClr>
            </a:solidFill>
          </p:spPr>
          <p:txBody>
            <a:bodyPr wrap="square" lIns="0" tIns="0" rIns="0" bIns="0" rtlCol="0"/>
            <a:lstStyle/>
            <a:p>
              <a:endParaRPr sz="2968"/>
            </a:p>
          </p:txBody>
        </p:sp>
        <p:sp>
          <p:nvSpPr>
            <p:cNvPr id="99" name="object 97">
              <a:extLst>
                <a:ext uri="{FF2B5EF4-FFF2-40B4-BE49-F238E27FC236}">
                  <a16:creationId xmlns:a16="http://schemas.microsoft.com/office/drawing/2014/main" id="{ACFBF38F-657A-BC41-9740-DEFD6DAA9766}"/>
                </a:ext>
              </a:extLst>
            </p:cNvPr>
            <p:cNvSpPr/>
            <p:nvPr/>
          </p:nvSpPr>
          <p:spPr>
            <a:xfrm>
              <a:off x="10761604" y="5108282"/>
              <a:ext cx="0" cy="1563370"/>
            </a:xfrm>
            <a:custGeom>
              <a:avLst/>
              <a:gdLst/>
              <a:ahLst/>
              <a:cxnLst/>
              <a:rect l="l" t="t" r="r" b="b"/>
              <a:pathLst>
                <a:path h="1563370">
                  <a:moveTo>
                    <a:pt x="0" y="0"/>
                  </a:moveTo>
                  <a:lnTo>
                    <a:pt x="0" y="1563369"/>
                  </a:lnTo>
                </a:path>
              </a:pathLst>
            </a:custGeom>
            <a:ln w="13576">
              <a:solidFill>
                <a:srgbClr val="EF3D60"/>
              </a:solidFill>
            </a:ln>
          </p:spPr>
          <p:txBody>
            <a:bodyPr wrap="square" lIns="0" tIns="0" rIns="0" bIns="0" rtlCol="0"/>
            <a:lstStyle/>
            <a:p>
              <a:endParaRPr sz="2968"/>
            </a:p>
          </p:txBody>
        </p:sp>
        <p:sp>
          <p:nvSpPr>
            <p:cNvPr id="100" name="object 98">
              <a:extLst>
                <a:ext uri="{FF2B5EF4-FFF2-40B4-BE49-F238E27FC236}">
                  <a16:creationId xmlns:a16="http://schemas.microsoft.com/office/drawing/2014/main" id="{2915DFBB-B576-9B40-AF4F-5E3CE55DAE26}"/>
                </a:ext>
              </a:extLst>
            </p:cNvPr>
            <p:cNvSpPr/>
            <p:nvPr/>
          </p:nvSpPr>
          <p:spPr>
            <a:xfrm>
              <a:off x="10763934" y="6672224"/>
              <a:ext cx="5080" cy="635"/>
            </a:xfrm>
            <a:custGeom>
              <a:avLst/>
              <a:gdLst/>
              <a:ahLst/>
              <a:cxnLst/>
              <a:rect l="l" t="t" r="r" b="b"/>
              <a:pathLst>
                <a:path w="5079" h="634">
                  <a:moveTo>
                    <a:pt x="4457" y="0"/>
                  </a:moveTo>
                  <a:lnTo>
                    <a:pt x="0" y="0"/>
                  </a:lnTo>
                  <a:lnTo>
                    <a:pt x="2341" y="190"/>
                  </a:lnTo>
                  <a:lnTo>
                    <a:pt x="4457" y="520"/>
                  </a:lnTo>
                  <a:lnTo>
                    <a:pt x="4457" y="0"/>
                  </a:lnTo>
                  <a:close/>
                </a:path>
              </a:pathLst>
            </a:custGeom>
            <a:solidFill>
              <a:srgbClr val="EF3D60">
                <a:alpha val="50999"/>
              </a:srgbClr>
            </a:solidFill>
          </p:spPr>
          <p:txBody>
            <a:bodyPr wrap="square" lIns="0" tIns="0" rIns="0" bIns="0" rtlCol="0"/>
            <a:lstStyle/>
            <a:p>
              <a:endParaRPr sz="2968"/>
            </a:p>
          </p:txBody>
        </p:sp>
        <p:sp>
          <p:nvSpPr>
            <p:cNvPr id="101" name="object 99">
              <a:extLst>
                <a:ext uri="{FF2B5EF4-FFF2-40B4-BE49-F238E27FC236}">
                  <a16:creationId xmlns:a16="http://schemas.microsoft.com/office/drawing/2014/main" id="{3C11B6C5-1FDF-CB4A-871C-30EE6B3048ED}"/>
                </a:ext>
              </a:extLst>
            </p:cNvPr>
            <p:cNvSpPr/>
            <p:nvPr/>
          </p:nvSpPr>
          <p:spPr>
            <a:xfrm>
              <a:off x="10763934" y="5108295"/>
              <a:ext cx="5080" cy="635"/>
            </a:xfrm>
            <a:custGeom>
              <a:avLst/>
              <a:gdLst/>
              <a:ahLst/>
              <a:cxnLst/>
              <a:rect l="l" t="t" r="r" b="b"/>
              <a:pathLst>
                <a:path w="5079" h="635">
                  <a:moveTo>
                    <a:pt x="4457" y="0"/>
                  </a:moveTo>
                  <a:lnTo>
                    <a:pt x="2260" y="342"/>
                  </a:lnTo>
                  <a:lnTo>
                    <a:pt x="0" y="520"/>
                  </a:lnTo>
                  <a:lnTo>
                    <a:pt x="4457" y="520"/>
                  </a:lnTo>
                  <a:lnTo>
                    <a:pt x="4457" y="0"/>
                  </a:lnTo>
                  <a:close/>
                </a:path>
              </a:pathLst>
            </a:custGeom>
            <a:solidFill>
              <a:srgbClr val="EF3D60">
                <a:alpha val="50999"/>
              </a:srgbClr>
            </a:solidFill>
          </p:spPr>
          <p:txBody>
            <a:bodyPr wrap="square" lIns="0" tIns="0" rIns="0" bIns="0" rtlCol="0"/>
            <a:lstStyle/>
            <a:p>
              <a:endParaRPr sz="2968"/>
            </a:p>
          </p:txBody>
        </p:sp>
        <p:sp>
          <p:nvSpPr>
            <p:cNvPr id="102" name="object 100">
              <a:extLst>
                <a:ext uri="{FF2B5EF4-FFF2-40B4-BE49-F238E27FC236}">
                  <a16:creationId xmlns:a16="http://schemas.microsoft.com/office/drawing/2014/main" id="{0490D1A9-E12F-D34D-92B9-B315CE0DA72E}"/>
                </a:ext>
              </a:extLst>
            </p:cNvPr>
            <p:cNvSpPr/>
            <p:nvPr/>
          </p:nvSpPr>
          <p:spPr>
            <a:xfrm>
              <a:off x="9366787" y="5098418"/>
              <a:ext cx="1369060" cy="1273175"/>
            </a:xfrm>
            <a:custGeom>
              <a:avLst/>
              <a:gdLst/>
              <a:ahLst/>
              <a:cxnLst/>
              <a:rect l="l" t="t" r="r" b="b"/>
              <a:pathLst>
                <a:path w="1369059" h="1273175">
                  <a:moveTo>
                    <a:pt x="1366659" y="0"/>
                  </a:moveTo>
                  <a:lnTo>
                    <a:pt x="1250594" y="91706"/>
                  </a:lnTo>
                  <a:lnTo>
                    <a:pt x="0" y="1261681"/>
                  </a:lnTo>
                  <a:lnTo>
                    <a:pt x="3987" y="1264704"/>
                  </a:lnTo>
                  <a:lnTo>
                    <a:pt x="7429" y="1268387"/>
                  </a:lnTo>
                  <a:lnTo>
                    <a:pt x="10172" y="1272578"/>
                  </a:lnTo>
                  <a:lnTo>
                    <a:pt x="1368691" y="1638"/>
                  </a:lnTo>
                  <a:lnTo>
                    <a:pt x="1367993" y="1104"/>
                  </a:lnTo>
                  <a:lnTo>
                    <a:pt x="1366659" y="0"/>
                  </a:lnTo>
                  <a:close/>
                </a:path>
              </a:pathLst>
            </a:custGeom>
            <a:solidFill>
              <a:srgbClr val="EF3D60">
                <a:alpha val="50999"/>
              </a:srgbClr>
            </a:solidFill>
          </p:spPr>
          <p:txBody>
            <a:bodyPr wrap="square" lIns="0" tIns="0" rIns="0" bIns="0" rtlCol="0"/>
            <a:lstStyle/>
            <a:p>
              <a:endParaRPr sz="2968"/>
            </a:p>
          </p:txBody>
        </p:sp>
        <p:sp>
          <p:nvSpPr>
            <p:cNvPr id="103" name="object 101">
              <a:extLst>
                <a:ext uri="{FF2B5EF4-FFF2-40B4-BE49-F238E27FC236}">
                  <a16:creationId xmlns:a16="http://schemas.microsoft.com/office/drawing/2014/main" id="{7F4C7C21-845D-4645-9F41-286AE95F5C71}"/>
                </a:ext>
              </a:extLst>
            </p:cNvPr>
            <p:cNvSpPr/>
            <p:nvPr/>
          </p:nvSpPr>
          <p:spPr>
            <a:xfrm>
              <a:off x="10799229" y="3435048"/>
              <a:ext cx="1952625" cy="1610995"/>
            </a:xfrm>
            <a:custGeom>
              <a:avLst/>
              <a:gdLst/>
              <a:ahLst/>
              <a:cxnLst/>
              <a:rect l="l" t="t" r="r" b="b"/>
              <a:pathLst>
                <a:path w="1952625" h="1610995">
                  <a:moveTo>
                    <a:pt x="66789" y="1556664"/>
                  </a:moveTo>
                  <a:lnTo>
                    <a:pt x="0" y="1608607"/>
                  </a:lnTo>
                  <a:lnTo>
                    <a:pt x="698" y="1609839"/>
                  </a:lnTo>
                  <a:lnTo>
                    <a:pt x="1016" y="1610474"/>
                  </a:lnTo>
                  <a:lnTo>
                    <a:pt x="66789" y="1556664"/>
                  </a:lnTo>
                  <a:close/>
                </a:path>
                <a:path w="1952625" h="1610995">
                  <a:moveTo>
                    <a:pt x="260451" y="1374825"/>
                  </a:moveTo>
                  <a:lnTo>
                    <a:pt x="39903" y="1555280"/>
                  </a:lnTo>
                  <a:lnTo>
                    <a:pt x="20231" y="1577848"/>
                  </a:lnTo>
                  <a:lnTo>
                    <a:pt x="276987" y="1378140"/>
                  </a:lnTo>
                  <a:lnTo>
                    <a:pt x="260451" y="1374825"/>
                  </a:lnTo>
                  <a:close/>
                </a:path>
                <a:path w="1952625" h="1610995">
                  <a:moveTo>
                    <a:pt x="630999" y="1071651"/>
                  </a:moveTo>
                  <a:lnTo>
                    <a:pt x="271691" y="1365631"/>
                  </a:lnTo>
                  <a:lnTo>
                    <a:pt x="288696" y="1369034"/>
                  </a:lnTo>
                  <a:lnTo>
                    <a:pt x="438772" y="1252308"/>
                  </a:lnTo>
                  <a:lnTo>
                    <a:pt x="643851" y="1084503"/>
                  </a:lnTo>
                  <a:lnTo>
                    <a:pt x="630999" y="1071651"/>
                  </a:lnTo>
                  <a:close/>
                </a:path>
                <a:path w="1952625" h="1610995">
                  <a:moveTo>
                    <a:pt x="755751" y="969568"/>
                  </a:moveTo>
                  <a:lnTo>
                    <a:pt x="642366" y="1062342"/>
                  </a:lnTo>
                  <a:lnTo>
                    <a:pt x="655218" y="1075194"/>
                  </a:lnTo>
                  <a:lnTo>
                    <a:pt x="765187" y="985227"/>
                  </a:lnTo>
                  <a:lnTo>
                    <a:pt x="755751" y="969568"/>
                  </a:lnTo>
                  <a:close/>
                </a:path>
                <a:path w="1952625" h="1610995">
                  <a:moveTo>
                    <a:pt x="957237" y="804710"/>
                  </a:moveTo>
                  <a:lnTo>
                    <a:pt x="768959" y="958761"/>
                  </a:lnTo>
                  <a:lnTo>
                    <a:pt x="778383" y="974420"/>
                  </a:lnTo>
                  <a:lnTo>
                    <a:pt x="950696" y="833437"/>
                  </a:lnTo>
                  <a:lnTo>
                    <a:pt x="950480" y="831710"/>
                  </a:lnTo>
                  <a:lnTo>
                    <a:pt x="950379" y="819518"/>
                  </a:lnTo>
                  <a:lnTo>
                    <a:pt x="952893" y="811479"/>
                  </a:lnTo>
                  <a:lnTo>
                    <a:pt x="957237" y="804710"/>
                  </a:lnTo>
                  <a:close/>
                </a:path>
                <a:path w="1952625" h="1610995">
                  <a:moveTo>
                    <a:pt x="989444" y="778357"/>
                  </a:moveTo>
                  <a:lnTo>
                    <a:pt x="978065" y="787679"/>
                  </a:lnTo>
                  <a:lnTo>
                    <a:pt x="981938" y="786168"/>
                  </a:lnTo>
                  <a:lnTo>
                    <a:pt x="986066" y="785202"/>
                  </a:lnTo>
                  <a:lnTo>
                    <a:pt x="990384" y="784872"/>
                  </a:lnTo>
                  <a:lnTo>
                    <a:pt x="989444" y="778357"/>
                  </a:lnTo>
                  <a:close/>
                </a:path>
                <a:path w="1952625" h="1610995">
                  <a:moveTo>
                    <a:pt x="1051369" y="727697"/>
                  </a:moveTo>
                  <a:lnTo>
                    <a:pt x="1006335" y="764552"/>
                  </a:lnTo>
                  <a:lnTo>
                    <a:pt x="1009345" y="785456"/>
                  </a:lnTo>
                  <a:lnTo>
                    <a:pt x="1052753" y="749935"/>
                  </a:lnTo>
                  <a:lnTo>
                    <a:pt x="1051369" y="727697"/>
                  </a:lnTo>
                  <a:close/>
                </a:path>
                <a:path w="1952625" h="1610995">
                  <a:moveTo>
                    <a:pt x="1298092" y="525830"/>
                  </a:moveTo>
                  <a:lnTo>
                    <a:pt x="1063421" y="717842"/>
                  </a:lnTo>
                  <a:lnTo>
                    <a:pt x="1064806" y="740067"/>
                  </a:lnTo>
                  <a:lnTo>
                    <a:pt x="1292618" y="553669"/>
                  </a:lnTo>
                  <a:lnTo>
                    <a:pt x="1298092" y="525830"/>
                  </a:lnTo>
                  <a:close/>
                </a:path>
                <a:path w="1952625" h="1610995">
                  <a:moveTo>
                    <a:pt x="1446326" y="404545"/>
                  </a:moveTo>
                  <a:lnTo>
                    <a:pt x="1320152" y="507784"/>
                  </a:lnTo>
                  <a:lnTo>
                    <a:pt x="1314678" y="535622"/>
                  </a:lnTo>
                  <a:lnTo>
                    <a:pt x="1436839" y="435673"/>
                  </a:lnTo>
                  <a:lnTo>
                    <a:pt x="1446326" y="404545"/>
                  </a:lnTo>
                  <a:close/>
                </a:path>
                <a:path w="1952625" h="1610995">
                  <a:moveTo>
                    <a:pt x="1940750" y="0"/>
                  </a:moveTo>
                  <a:lnTo>
                    <a:pt x="1467243" y="387438"/>
                  </a:lnTo>
                  <a:lnTo>
                    <a:pt x="1457756" y="418566"/>
                  </a:lnTo>
                  <a:lnTo>
                    <a:pt x="1952193" y="13995"/>
                  </a:lnTo>
                  <a:lnTo>
                    <a:pt x="1947481" y="10198"/>
                  </a:lnTo>
                  <a:lnTo>
                    <a:pt x="1943557" y="5435"/>
                  </a:lnTo>
                  <a:lnTo>
                    <a:pt x="1940750" y="0"/>
                  </a:lnTo>
                  <a:close/>
                </a:path>
              </a:pathLst>
            </a:custGeom>
            <a:solidFill>
              <a:srgbClr val="EF3D60">
                <a:alpha val="50999"/>
              </a:srgbClr>
            </a:solidFill>
          </p:spPr>
          <p:txBody>
            <a:bodyPr wrap="square" lIns="0" tIns="0" rIns="0" bIns="0" rtlCol="0"/>
            <a:lstStyle/>
            <a:p>
              <a:endParaRPr sz="2968"/>
            </a:p>
          </p:txBody>
        </p:sp>
        <p:sp>
          <p:nvSpPr>
            <p:cNvPr id="104" name="object 102">
              <a:extLst>
                <a:ext uri="{FF2B5EF4-FFF2-40B4-BE49-F238E27FC236}">
                  <a16:creationId xmlns:a16="http://schemas.microsoft.com/office/drawing/2014/main" id="{FF5EC812-3856-5242-BC68-AF731949123E}"/>
                </a:ext>
              </a:extLst>
            </p:cNvPr>
            <p:cNvSpPr/>
            <p:nvPr/>
          </p:nvSpPr>
          <p:spPr>
            <a:xfrm>
              <a:off x="10779572" y="3538207"/>
              <a:ext cx="1018540" cy="1489710"/>
            </a:xfrm>
            <a:custGeom>
              <a:avLst/>
              <a:gdLst/>
              <a:ahLst/>
              <a:cxnLst/>
              <a:rect l="l" t="t" r="r" b="b"/>
              <a:pathLst>
                <a:path w="1018540" h="1489710">
                  <a:moveTo>
                    <a:pt x="162051" y="1248054"/>
                  </a:moveTo>
                  <a:lnTo>
                    <a:pt x="0" y="1487639"/>
                  </a:lnTo>
                  <a:lnTo>
                    <a:pt x="1054" y="1488122"/>
                  </a:lnTo>
                  <a:lnTo>
                    <a:pt x="2095" y="1488643"/>
                  </a:lnTo>
                  <a:lnTo>
                    <a:pt x="3098" y="1489202"/>
                  </a:lnTo>
                  <a:lnTo>
                    <a:pt x="63106" y="1420418"/>
                  </a:lnTo>
                  <a:lnTo>
                    <a:pt x="177596" y="1251165"/>
                  </a:lnTo>
                  <a:lnTo>
                    <a:pt x="162051" y="1248054"/>
                  </a:lnTo>
                  <a:close/>
                </a:path>
                <a:path w="1018540" h="1489710">
                  <a:moveTo>
                    <a:pt x="472008" y="789851"/>
                  </a:moveTo>
                  <a:lnTo>
                    <a:pt x="168871" y="1237970"/>
                  </a:lnTo>
                  <a:lnTo>
                    <a:pt x="184416" y="1241082"/>
                  </a:lnTo>
                  <a:lnTo>
                    <a:pt x="482523" y="800379"/>
                  </a:lnTo>
                  <a:lnTo>
                    <a:pt x="472008" y="789851"/>
                  </a:lnTo>
                  <a:close/>
                </a:path>
                <a:path w="1018540" h="1489710">
                  <a:moveTo>
                    <a:pt x="608114" y="588619"/>
                  </a:moveTo>
                  <a:lnTo>
                    <a:pt x="480352" y="777506"/>
                  </a:lnTo>
                  <a:lnTo>
                    <a:pt x="490867" y="788035"/>
                  </a:lnTo>
                  <a:lnTo>
                    <a:pt x="616432" y="602424"/>
                  </a:lnTo>
                  <a:lnTo>
                    <a:pt x="608114" y="588619"/>
                  </a:lnTo>
                  <a:close/>
                </a:path>
                <a:path w="1018540" h="1489710">
                  <a:moveTo>
                    <a:pt x="928408" y="115125"/>
                  </a:moveTo>
                  <a:lnTo>
                    <a:pt x="618553" y="573214"/>
                  </a:lnTo>
                  <a:lnTo>
                    <a:pt x="626859" y="587006"/>
                  </a:lnTo>
                  <a:lnTo>
                    <a:pt x="931506" y="136626"/>
                  </a:lnTo>
                  <a:lnTo>
                    <a:pt x="928408" y="115125"/>
                  </a:lnTo>
                  <a:close/>
                </a:path>
                <a:path w="1018540" h="1489710">
                  <a:moveTo>
                    <a:pt x="1006284" y="0"/>
                  </a:moveTo>
                  <a:lnTo>
                    <a:pt x="943978" y="92113"/>
                  </a:lnTo>
                  <a:lnTo>
                    <a:pt x="947077" y="113626"/>
                  </a:lnTo>
                  <a:lnTo>
                    <a:pt x="1018374" y="8204"/>
                  </a:lnTo>
                  <a:lnTo>
                    <a:pt x="1013891" y="6159"/>
                  </a:lnTo>
                  <a:lnTo>
                    <a:pt x="1009802" y="3378"/>
                  </a:lnTo>
                  <a:lnTo>
                    <a:pt x="1006284" y="0"/>
                  </a:lnTo>
                  <a:close/>
                </a:path>
              </a:pathLst>
            </a:custGeom>
            <a:solidFill>
              <a:srgbClr val="EF3D60">
                <a:alpha val="50999"/>
              </a:srgbClr>
            </a:solidFill>
          </p:spPr>
          <p:txBody>
            <a:bodyPr wrap="square" lIns="0" tIns="0" rIns="0" bIns="0" rtlCol="0"/>
            <a:lstStyle/>
            <a:p>
              <a:endParaRPr sz="2968"/>
            </a:p>
          </p:txBody>
        </p:sp>
        <p:sp>
          <p:nvSpPr>
            <p:cNvPr id="105" name="object 103">
              <a:extLst>
                <a:ext uri="{FF2B5EF4-FFF2-40B4-BE49-F238E27FC236}">
                  <a16:creationId xmlns:a16="http://schemas.microsoft.com/office/drawing/2014/main" id="{3F18CB44-5673-EC49-B933-5D328C4B25E4}"/>
                </a:ext>
              </a:extLst>
            </p:cNvPr>
            <p:cNvSpPr/>
            <p:nvPr/>
          </p:nvSpPr>
          <p:spPr>
            <a:xfrm>
              <a:off x="10577563" y="3686209"/>
              <a:ext cx="175260" cy="1337945"/>
            </a:xfrm>
            <a:custGeom>
              <a:avLst/>
              <a:gdLst/>
              <a:ahLst/>
              <a:cxnLst/>
              <a:rect l="l" t="t" r="r" b="b"/>
              <a:pathLst>
                <a:path w="175259" h="1337945">
                  <a:moveTo>
                    <a:pt x="12395" y="0"/>
                  </a:moveTo>
                  <a:lnTo>
                    <a:pt x="8661" y="1041"/>
                  </a:lnTo>
                  <a:lnTo>
                    <a:pt x="4724" y="1600"/>
                  </a:lnTo>
                  <a:lnTo>
                    <a:pt x="1" y="1600"/>
                  </a:lnTo>
                  <a:lnTo>
                    <a:pt x="172364" y="1337373"/>
                  </a:lnTo>
                  <a:lnTo>
                    <a:pt x="173177" y="1337144"/>
                  </a:lnTo>
                  <a:lnTo>
                    <a:pt x="174002" y="1336941"/>
                  </a:lnTo>
                  <a:lnTo>
                    <a:pt x="174840" y="1336763"/>
                  </a:lnTo>
                  <a:lnTo>
                    <a:pt x="171437" y="1232636"/>
                  </a:lnTo>
                  <a:lnTo>
                    <a:pt x="152844" y="1088491"/>
                  </a:lnTo>
                  <a:lnTo>
                    <a:pt x="147758" y="1082137"/>
                  </a:lnTo>
                  <a:lnTo>
                    <a:pt x="143925" y="1074883"/>
                  </a:lnTo>
                  <a:lnTo>
                    <a:pt x="141507" y="1066896"/>
                  </a:lnTo>
                  <a:lnTo>
                    <a:pt x="140665" y="1058341"/>
                  </a:lnTo>
                  <a:lnTo>
                    <a:pt x="140665" y="1050620"/>
                  </a:lnTo>
                  <a:lnTo>
                    <a:pt x="142684" y="1043368"/>
                  </a:lnTo>
                  <a:lnTo>
                    <a:pt x="146215" y="1037094"/>
                  </a:lnTo>
                  <a:lnTo>
                    <a:pt x="12601" y="1600"/>
                  </a:lnTo>
                  <a:lnTo>
                    <a:pt x="0" y="1587"/>
                  </a:lnTo>
                  <a:lnTo>
                    <a:pt x="12600" y="1587"/>
                  </a:lnTo>
                  <a:lnTo>
                    <a:pt x="12395" y="0"/>
                  </a:lnTo>
                  <a:close/>
                </a:path>
              </a:pathLst>
            </a:custGeom>
            <a:solidFill>
              <a:srgbClr val="EF3D60">
                <a:alpha val="50999"/>
              </a:srgbClr>
            </a:solidFill>
          </p:spPr>
          <p:txBody>
            <a:bodyPr wrap="square" lIns="0" tIns="0" rIns="0" bIns="0" rtlCol="0"/>
            <a:lstStyle/>
            <a:p>
              <a:endParaRPr sz="2968"/>
            </a:p>
          </p:txBody>
        </p:sp>
        <p:sp>
          <p:nvSpPr>
            <p:cNvPr id="106" name="object 104">
              <a:extLst>
                <a:ext uri="{FF2B5EF4-FFF2-40B4-BE49-F238E27FC236}">
                  <a16:creationId xmlns:a16="http://schemas.microsoft.com/office/drawing/2014/main" id="{9DC8C0B8-D8A8-AD46-A6DC-DB353352D7CD}"/>
                </a:ext>
              </a:extLst>
            </p:cNvPr>
            <p:cNvSpPr/>
            <p:nvPr/>
          </p:nvSpPr>
          <p:spPr>
            <a:xfrm>
              <a:off x="9367445" y="3805106"/>
              <a:ext cx="1367790" cy="1231900"/>
            </a:xfrm>
            <a:custGeom>
              <a:avLst/>
              <a:gdLst/>
              <a:ahLst/>
              <a:cxnLst/>
              <a:rect l="l" t="t" r="r" b="b"/>
              <a:pathLst>
                <a:path w="1367790" h="1231900">
                  <a:moveTo>
                    <a:pt x="9880" y="0"/>
                  </a:moveTo>
                  <a:lnTo>
                    <a:pt x="7226" y="4191"/>
                  </a:lnTo>
                  <a:lnTo>
                    <a:pt x="3886" y="7899"/>
                  </a:lnTo>
                  <a:lnTo>
                    <a:pt x="0" y="10960"/>
                  </a:lnTo>
                  <a:lnTo>
                    <a:pt x="1327124" y="1209700"/>
                  </a:lnTo>
                  <a:lnTo>
                    <a:pt x="1361871" y="1231303"/>
                  </a:lnTo>
                  <a:lnTo>
                    <a:pt x="1363560" y="1229436"/>
                  </a:lnTo>
                  <a:lnTo>
                    <a:pt x="1365389" y="1227721"/>
                  </a:lnTo>
                  <a:lnTo>
                    <a:pt x="1367370" y="1226159"/>
                  </a:lnTo>
                  <a:lnTo>
                    <a:pt x="9880" y="0"/>
                  </a:lnTo>
                  <a:close/>
                </a:path>
              </a:pathLst>
            </a:custGeom>
            <a:solidFill>
              <a:srgbClr val="EF3D60">
                <a:alpha val="50999"/>
              </a:srgbClr>
            </a:solidFill>
          </p:spPr>
          <p:txBody>
            <a:bodyPr wrap="square" lIns="0" tIns="0" rIns="0" bIns="0" rtlCol="0"/>
            <a:lstStyle/>
            <a:p>
              <a:endParaRPr sz="2968"/>
            </a:p>
          </p:txBody>
        </p:sp>
        <p:sp>
          <p:nvSpPr>
            <p:cNvPr id="107" name="object 105">
              <a:extLst>
                <a:ext uri="{FF2B5EF4-FFF2-40B4-BE49-F238E27FC236}">
                  <a16:creationId xmlns:a16="http://schemas.microsoft.com/office/drawing/2014/main" id="{D0B1B141-B76F-4D42-A067-6ADAB9E79EEB}"/>
                </a:ext>
              </a:extLst>
            </p:cNvPr>
            <p:cNvSpPr/>
            <p:nvPr/>
          </p:nvSpPr>
          <p:spPr>
            <a:xfrm>
              <a:off x="9097867" y="4027246"/>
              <a:ext cx="1631950" cy="1022350"/>
            </a:xfrm>
            <a:custGeom>
              <a:avLst/>
              <a:gdLst/>
              <a:ahLst/>
              <a:cxnLst/>
              <a:rect l="l" t="t" r="r" b="b"/>
              <a:pathLst>
                <a:path w="1631950" h="1022350">
                  <a:moveTo>
                    <a:pt x="8026" y="0"/>
                  </a:moveTo>
                  <a:lnTo>
                    <a:pt x="6108" y="4762"/>
                  </a:lnTo>
                  <a:lnTo>
                    <a:pt x="3378" y="9105"/>
                  </a:lnTo>
                  <a:lnTo>
                    <a:pt x="0" y="12865"/>
                  </a:lnTo>
                  <a:lnTo>
                    <a:pt x="927" y="13423"/>
                  </a:lnTo>
                  <a:lnTo>
                    <a:pt x="1623453" y="1022032"/>
                  </a:lnTo>
                  <a:lnTo>
                    <a:pt x="1625358" y="1017269"/>
                  </a:lnTo>
                  <a:lnTo>
                    <a:pt x="1628076" y="1012926"/>
                  </a:lnTo>
                  <a:lnTo>
                    <a:pt x="1631454" y="1009167"/>
                  </a:lnTo>
                  <a:lnTo>
                    <a:pt x="8026" y="0"/>
                  </a:lnTo>
                  <a:close/>
                </a:path>
              </a:pathLst>
            </a:custGeom>
            <a:solidFill>
              <a:srgbClr val="EF3D60">
                <a:alpha val="50999"/>
              </a:srgbClr>
            </a:solidFill>
          </p:spPr>
          <p:txBody>
            <a:bodyPr wrap="square" lIns="0" tIns="0" rIns="0" bIns="0" rtlCol="0"/>
            <a:lstStyle/>
            <a:p>
              <a:endParaRPr sz="2968"/>
            </a:p>
          </p:txBody>
        </p:sp>
        <p:sp>
          <p:nvSpPr>
            <p:cNvPr id="108" name="object 106">
              <a:extLst>
                <a:ext uri="{FF2B5EF4-FFF2-40B4-BE49-F238E27FC236}">
                  <a16:creationId xmlns:a16="http://schemas.microsoft.com/office/drawing/2014/main" id="{9D309EF7-ECDB-8942-92F6-0F1DA8E86EDC}"/>
                </a:ext>
              </a:extLst>
            </p:cNvPr>
            <p:cNvSpPr/>
            <p:nvPr/>
          </p:nvSpPr>
          <p:spPr>
            <a:xfrm>
              <a:off x="8933271" y="5085160"/>
              <a:ext cx="1800225" cy="1427480"/>
            </a:xfrm>
            <a:custGeom>
              <a:avLst/>
              <a:gdLst/>
              <a:ahLst/>
              <a:cxnLst/>
              <a:rect l="l" t="t" r="r" b="b"/>
              <a:pathLst>
                <a:path w="1800225" h="1427479">
                  <a:moveTo>
                    <a:pt x="1789696" y="0"/>
                  </a:moveTo>
                  <a:lnTo>
                    <a:pt x="0" y="1414043"/>
                  </a:lnTo>
                  <a:lnTo>
                    <a:pt x="4305" y="1417726"/>
                  </a:lnTo>
                  <a:lnTo>
                    <a:pt x="7886" y="1422222"/>
                  </a:lnTo>
                  <a:lnTo>
                    <a:pt x="10490" y="1427314"/>
                  </a:lnTo>
                  <a:lnTo>
                    <a:pt x="1800174" y="13258"/>
                  </a:lnTo>
                  <a:lnTo>
                    <a:pt x="1795881" y="9588"/>
                  </a:lnTo>
                  <a:lnTo>
                    <a:pt x="1792300" y="5079"/>
                  </a:lnTo>
                  <a:lnTo>
                    <a:pt x="1789696" y="0"/>
                  </a:lnTo>
                  <a:close/>
                </a:path>
              </a:pathLst>
            </a:custGeom>
            <a:solidFill>
              <a:srgbClr val="EF3D60">
                <a:alpha val="50999"/>
              </a:srgbClr>
            </a:solidFill>
          </p:spPr>
          <p:txBody>
            <a:bodyPr wrap="square" lIns="0" tIns="0" rIns="0" bIns="0" rtlCol="0"/>
            <a:lstStyle/>
            <a:p>
              <a:endParaRPr sz="2968"/>
            </a:p>
          </p:txBody>
        </p:sp>
        <p:sp>
          <p:nvSpPr>
            <p:cNvPr id="109" name="object 107">
              <a:extLst>
                <a:ext uri="{FF2B5EF4-FFF2-40B4-BE49-F238E27FC236}">
                  <a16:creationId xmlns:a16="http://schemas.microsoft.com/office/drawing/2014/main" id="{C5AB199B-8BEB-CE48-BD4A-6BA4137FE7C3}"/>
                </a:ext>
              </a:extLst>
            </p:cNvPr>
            <p:cNvSpPr/>
            <p:nvPr/>
          </p:nvSpPr>
          <p:spPr>
            <a:xfrm>
              <a:off x="8121467" y="5066438"/>
              <a:ext cx="2599055" cy="234315"/>
            </a:xfrm>
            <a:custGeom>
              <a:avLst/>
              <a:gdLst/>
              <a:ahLst/>
              <a:cxnLst/>
              <a:rect l="l" t="t" r="r" b="b"/>
              <a:pathLst>
                <a:path w="2599054" h="234314">
                  <a:moveTo>
                    <a:pt x="1450759" y="91351"/>
                  </a:moveTo>
                  <a:lnTo>
                    <a:pt x="0" y="215353"/>
                  </a:lnTo>
                  <a:lnTo>
                    <a:pt x="1244" y="219405"/>
                  </a:lnTo>
                  <a:lnTo>
                    <a:pt x="1930" y="223710"/>
                  </a:lnTo>
                  <a:lnTo>
                    <a:pt x="1803" y="231940"/>
                  </a:lnTo>
                  <a:lnTo>
                    <a:pt x="1574" y="233768"/>
                  </a:lnTo>
                  <a:lnTo>
                    <a:pt x="1455064" y="109524"/>
                  </a:lnTo>
                  <a:lnTo>
                    <a:pt x="1452397" y="104025"/>
                  </a:lnTo>
                  <a:lnTo>
                    <a:pt x="1450860" y="97853"/>
                  </a:lnTo>
                  <a:lnTo>
                    <a:pt x="1450759" y="91351"/>
                  </a:lnTo>
                  <a:close/>
                </a:path>
                <a:path w="2599054" h="234314">
                  <a:moveTo>
                    <a:pt x="2120569" y="48894"/>
                  </a:moveTo>
                  <a:lnTo>
                    <a:pt x="1537309" y="95542"/>
                  </a:lnTo>
                  <a:lnTo>
                    <a:pt x="1537042" y="97967"/>
                  </a:lnTo>
                  <a:lnTo>
                    <a:pt x="1536573" y="100329"/>
                  </a:lnTo>
                  <a:lnTo>
                    <a:pt x="1535912" y="102615"/>
                  </a:lnTo>
                  <a:lnTo>
                    <a:pt x="1974202" y="65150"/>
                  </a:lnTo>
                  <a:lnTo>
                    <a:pt x="2120569" y="48894"/>
                  </a:lnTo>
                  <a:close/>
                </a:path>
                <a:path w="2599054" h="234314">
                  <a:moveTo>
                    <a:pt x="2598572" y="11404"/>
                  </a:moveTo>
                  <a:lnTo>
                    <a:pt x="2583395" y="13080"/>
                  </a:lnTo>
                  <a:lnTo>
                    <a:pt x="2598674" y="11785"/>
                  </a:lnTo>
                  <a:lnTo>
                    <a:pt x="2598572" y="11404"/>
                  </a:lnTo>
                  <a:close/>
                </a:path>
                <a:path w="2599054" h="234314">
                  <a:moveTo>
                    <a:pt x="2519565" y="0"/>
                  </a:moveTo>
                  <a:lnTo>
                    <a:pt x="2464498" y="4698"/>
                  </a:lnTo>
                  <a:lnTo>
                    <a:pt x="2521610" y="139"/>
                  </a:lnTo>
                  <a:lnTo>
                    <a:pt x="2519565" y="0"/>
                  </a:lnTo>
                  <a:close/>
                </a:path>
              </a:pathLst>
            </a:custGeom>
            <a:solidFill>
              <a:srgbClr val="EF3D60">
                <a:alpha val="50999"/>
              </a:srgbClr>
            </a:solidFill>
          </p:spPr>
          <p:txBody>
            <a:bodyPr wrap="square" lIns="0" tIns="0" rIns="0" bIns="0" rtlCol="0"/>
            <a:lstStyle/>
            <a:p>
              <a:endParaRPr sz="2968"/>
            </a:p>
          </p:txBody>
        </p:sp>
        <p:sp>
          <p:nvSpPr>
            <p:cNvPr id="110" name="object 108">
              <a:extLst>
                <a:ext uri="{FF2B5EF4-FFF2-40B4-BE49-F238E27FC236}">
                  <a16:creationId xmlns:a16="http://schemas.microsoft.com/office/drawing/2014/main" id="{DD8A8EC2-02BF-ED46-865E-ED089F505F75}"/>
                </a:ext>
              </a:extLst>
            </p:cNvPr>
            <p:cNvSpPr/>
            <p:nvPr/>
          </p:nvSpPr>
          <p:spPr>
            <a:xfrm>
              <a:off x="8121666" y="4875750"/>
              <a:ext cx="2556510" cy="191135"/>
            </a:xfrm>
            <a:custGeom>
              <a:avLst/>
              <a:gdLst/>
              <a:ahLst/>
              <a:cxnLst/>
              <a:rect l="l" t="t" r="r" b="b"/>
              <a:pathLst>
                <a:path w="2556509" h="191135">
                  <a:moveTo>
                    <a:pt x="1270" y="0"/>
                  </a:moveTo>
                  <a:lnTo>
                    <a:pt x="1562" y="2057"/>
                  </a:lnTo>
                  <a:lnTo>
                    <a:pt x="1727" y="4165"/>
                  </a:lnTo>
                  <a:lnTo>
                    <a:pt x="1727" y="10528"/>
                  </a:lnTo>
                  <a:lnTo>
                    <a:pt x="1117" y="14592"/>
                  </a:lnTo>
                  <a:lnTo>
                    <a:pt x="0" y="18440"/>
                  </a:lnTo>
                  <a:lnTo>
                    <a:pt x="2521407" y="190817"/>
                  </a:lnTo>
                  <a:lnTo>
                    <a:pt x="2555900" y="188061"/>
                  </a:lnTo>
                  <a:lnTo>
                    <a:pt x="2323719" y="158775"/>
                  </a:lnTo>
                  <a:lnTo>
                    <a:pt x="1270" y="0"/>
                  </a:lnTo>
                  <a:close/>
                </a:path>
              </a:pathLst>
            </a:custGeom>
            <a:solidFill>
              <a:srgbClr val="EF3D60">
                <a:alpha val="50999"/>
              </a:srgbClr>
            </a:solidFill>
          </p:spPr>
          <p:txBody>
            <a:bodyPr wrap="square" lIns="0" tIns="0" rIns="0" bIns="0" rtlCol="0"/>
            <a:lstStyle/>
            <a:p>
              <a:endParaRPr sz="2968"/>
            </a:p>
          </p:txBody>
        </p:sp>
        <p:sp>
          <p:nvSpPr>
            <p:cNvPr id="111" name="object 109">
              <a:extLst>
                <a:ext uri="{FF2B5EF4-FFF2-40B4-BE49-F238E27FC236}">
                  <a16:creationId xmlns:a16="http://schemas.microsoft.com/office/drawing/2014/main" id="{CA73CE31-B2C0-D340-B8DF-B1CFD29A93CA}"/>
                </a:ext>
              </a:extLst>
            </p:cNvPr>
            <p:cNvSpPr/>
            <p:nvPr/>
          </p:nvSpPr>
          <p:spPr>
            <a:xfrm>
              <a:off x="8258612" y="4740979"/>
              <a:ext cx="2462530" cy="323215"/>
            </a:xfrm>
            <a:custGeom>
              <a:avLst/>
              <a:gdLst/>
              <a:ahLst/>
              <a:cxnLst/>
              <a:rect l="l" t="t" r="r" b="b"/>
              <a:pathLst>
                <a:path w="2462529" h="323214">
                  <a:moveTo>
                    <a:pt x="2222" y="0"/>
                  </a:moveTo>
                  <a:lnTo>
                    <a:pt x="2311" y="1181"/>
                  </a:lnTo>
                  <a:lnTo>
                    <a:pt x="2374" y="8547"/>
                  </a:lnTo>
                  <a:lnTo>
                    <a:pt x="1523" y="13322"/>
                  </a:lnTo>
                  <a:lnTo>
                    <a:pt x="0" y="17767"/>
                  </a:lnTo>
                  <a:lnTo>
                    <a:pt x="2418956" y="322834"/>
                  </a:lnTo>
                  <a:lnTo>
                    <a:pt x="2459888" y="319557"/>
                  </a:lnTo>
                  <a:lnTo>
                    <a:pt x="2460243" y="316331"/>
                  </a:lnTo>
                  <a:lnTo>
                    <a:pt x="2460955" y="313207"/>
                  </a:lnTo>
                  <a:lnTo>
                    <a:pt x="2461983" y="310235"/>
                  </a:lnTo>
                  <a:lnTo>
                    <a:pt x="2222" y="0"/>
                  </a:lnTo>
                  <a:close/>
                </a:path>
              </a:pathLst>
            </a:custGeom>
            <a:solidFill>
              <a:srgbClr val="EF3D60">
                <a:alpha val="50999"/>
              </a:srgbClr>
            </a:solidFill>
          </p:spPr>
          <p:txBody>
            <a:bodyPr wrap="square" lIns="0" tIns="0" rIns="0" bIns="0" rtlCol="0"/>
            <a:lstStyle/>
            <a:p>
              <a:endParaRPr sz="2968"/>
            </a:p>
          </p:txBody>
        </p:sp>
        <p:sp>
          <p:nvSpPr>
            <p:cNvPr id="112" name="object 110">
              <a:extLst>
                <a:ext uri="{FF2B5EF4-FFF2-40B4-BE49-F238E27FC236}">
                  <a16:creationId xmlns:a16="http://schemas.microsoft.com/office/drawing/2014/main" id="{5113F6B9-4FC8-134E-935C-608BEF64B0E4}"/>
                </a:ext>
              </a:extLst>
            </p:cNvPr>
            <p:cNvSpPr/>
            <p:nvPr/>
          </p:nvSpPr>
          <p:spPr>
            <a:xfrm>
              <a:off x="10796388" y="4284915"/>
              <a:ext cx="966469" cy="758825"/>
            </a:xfrm>
            <a:custGeom>
              <a:avLst/>
              <a:gdLst/>
              <a:ahLst/>
              <a:cxnLst/>
              <a:rect l="l" t="t" r="r" b="b"/>
              <a:pathLst>
                <a:path w="966470" h="758825">
                  <a:moveTo>
                    <a:pt x="279831" y="528269"/>
                  </a:moveTo>
                  <a:lnTo>
                    <a:pt x="23063" y="727976"/>
                  </a:lnTo>
                  <a:lnTo>
                    <a:pt x="0" y="754443"/>
                  </a:lnTo>
                  <a:lnTo>
                    <a:pt x="1015" y="755815"/>
                  </a:lnTo>
                  <a:lnTo>
                    <a:pt x="1968" y="757250"/>
                  </a:lnTo>
                  <a:lnTo>
                    <a:pt x="2844" y="758736"/>
                  </a:lnTo>
                  <a:lnTo>
                    <a:pt x="295224" y="531342"/>
                  </a:lnTo>
                  <a:lnTo>
                    <a:pt x="279831" y="528269"/>
                  </a:lnTo>
                  <a:close/>
                </a:path>
                <a:path w="966470" h="758825">
                  <a:moveTo>
                    <a:pt x="651344" y="239306"/>
                  </a:moveTo>
                  <a:lnTo>
                    <a:pt x="291541" y="519163"/>
                  </a:lnTo>
                  <a:lnTo>
                    <a:pt x="306933" y="522249"/>
                  </a:lnTo>
                  <a:lnTo>
                    <a:pt x="659841" y="247789"/>
                  </a:lnTo>
                  <a:lnTo>
                    <a:pt x="651344" y="239306"/>
                  </a:lnTo>
                  <a:close/>
                </a:path>
                <a:path w="966470" h="758825">
                  <a:moveTo>
                    <a:pt x="773442" y="144348"/>
                  </a:moveTo>
                  <a:lnTo>
                    <a:pt x="662990" y="230263"/>
                  </a:lnTo>
                  <a:lnTo>
                    <a:pt x="671474" y="238734"/>
                  </a:lnTo>
                  <a:lnTo>
                    <a:pt x="779627" y="154622"/>
                  </a:lnTo>
                  <a:lnTo>
                    <a:pt x="773442" y="144348"/>
                  </a:lnTo>
                  <a:close/>
                </a:path>
                <a:path w="966470" h="758825">
                  <a:moveTo>
                    <a:pt x="959027" y="0"/>
                  </a:moveTo>
                  <a:lnTo>
                    <a:pt x="786853" y="133908"/>
                  </a:lnTo>
                  <a:lnTo>
                    <a:pt x="793051" y="144183"/>
                  </a:lnTo>
                  <a:lnTo>
                    <a:pt x="966355" y="9410"/>
                  </a:lnTo>
                  <a:lnTo>
                    <a:pt x="963498" y="6629"/>
                  </a:lnTo>
                  <a:lnTo>
                    <a:pt x="961034" y="3467"/>
                  </a:lnTo>
                  <a:lnTo>
                    <a:pt x="959027" y="0"/>
                  </a:lnTo>
                  <a:close/>
                </a:path>
              </a:pathLst>
            </a:custGeom>
            <a:solidFill>
              <a:srgbClr val="EF3D60">
                <a:alpha val="50999"/>
              </a:srgbClr>
            </a:solidFill>
          </p:spPr>
          <p:txBody>
            <a:bodyPr wrap="square" lIns="0" tIns="0" rIns="0" bIns="0" rtlCol="0"/>
            <a:lstStyle/>
            <a:p>
              <a:endParaRPr sz="2968"/>
            </a:p>
          </p:txBody>
        </p:sp>
        <p:sp>
          <p:nvSpPr>
            <p:cNvPr id="113" name="object 111">
              <a:extLst>
                <a:ext uri="{FF2B5EF4-FFF2-40B4-BE49-F238E27FC236}">
                  <a16:creationId xmlns:a16="http://schemas.microsoft.com/office/drawing/2014/main" id="{D6E2C278-0221-0C41-9B6C-FB3C70EFA89B}"/>
                </a:ext>
              </a:extLst>
            </p:cNvPr>
            <p:cNvSpPr/>
            <p:nvPr/>
          </p:nvSpPr>
          <p:spPr>
            <a:xfrm>
              <a:off x="8740481" y="5077121"/>
              <a:ext cx="1979930" cy="220979"/>
            </a:xfrm>
            <a:custGeom>
              <a:avLst/>
              <a:gdLst/>
              <a:ahLst/>
              <a:cxnLst/>
              <a:rect l="l" t="t" r="r" b="b"/>
              <a:pathLst>
                <a:path w="1979929" h="220979">
                  <a:moveTo>
                    <a:pt x="844956" y="111163"/>
                  </a:moveTo>
                  <a:lnTo>
                    <a:pt x="0" y="205041"/>
                  </a:lnTo>
                  <a:lnTo>
                    <a:pt x="1193" y="208991"/>
                  </a:lnTo>
                  <a:lnTo>
                    <a:pt x="1816" y="213156"/>
                  </a:lnTo>
                  <a:lnTo>
                    <a:pt x="1714" y="220459"/>
                  </a:lnTo>
                  <a:lnTo>
                    <a:pt x="875461" y="123393"/>
                  </a:lnTo>
                  <a:lnTo>
                    <a:pt x="875157" y="123393"/>
                  </a:lnTo>
                  <a:lnTo>
                    <a:pt x="866585" y="122546"/>
                  </a:lnTo>
                  <a:lnTo>
                    <a:pt x="858585" y="120116"/>
                  </a:lnTo>
                  <a:lnTo>
                    <a:pt x="851320" y="116267"/>
                  </a:lnTo>
                  <a:lnTo>
                    <a:pt x="844956" y="111163"/>
                  </a:lnTo>
                  <a:close/>
                </a:path>
                <a:path w="1979929" h="220979">
                  <a:moveTo>
                    <a:pt x="1979345" y="0"/>
                  </a:moveTo>
                  <a:lnTo>
                    <a:pt x="1501559" y="38214"/>
                  </a:lnTo>
                  <a:lnTo>
                    <a:pt x="911479" y="103771"/>
                  </a:lnTo>
                  <a:lnTo>
                    <a:pt x="906254" y="110272"/>
                  </a:lnTo>
                  <a:lnTo>
                    <a:pt x="899898" y="115657"/>
                  </a:lnTo>
                  <a:lnTo>
                    <a:pt x="892581" y="119754"/>
                  </a:lnTo>
                  <a:lnTo>
                    <a:pt x="884478" y="122389"/>
                  </a:lnTo>
                  <a:lnTo>
                    <a:pt x="1979549" y="723"/>
                  </a:lnTo>
                  <a:lnTo>
                    <a:pt x="1979345" y="0"/>
                  </a:lnTo>
                  <a:close/>
                </a:path>
              </a:pathLst>
            </a:custGeom>
            <a:solidFill>
              <a:srgbClr val="EF3D60">
                <a:alpha val="50999"/>
              </a:srgbClr>
            </a:solidFill>
          </p:spPr>
          <p:txBody>
            <a:bodyPr wrap="square" lIns="0" tIns="0" rIns="0" bIns="0" rtlCol="0"/>
            <a:lstStyle/>
            <a:p>
              <a:endParaRPr sz="2968"/>
            </a:p>
          </p:txBody>
        </p:sp>
        <p:sp>
          <p:nvSpPr>
            <p:cNvPr id="114" name="object 112">
              <a:extLst>
                <a:ext uri="{FF2B5EF4-FFF2-40B4-BE49-F238E27FC236}">
                  <a16:creationId xmlns:a16="http://schemas.microsoft.com/office/drawing/2014/main" id="{C912CE21-E0F8-894F-B7F5-C5A2D1D80CB9}"/>
                </a:ext>
              </a:extLst>
            </p:cNvPr>
            <p:cNvSpPr/>
            <p:nvPr/>
          </p:nvSpPr>
          <p:spPr>
            <a:xfrm>
              <a:off x="10796742" y="5075661"/>
              <a:ext cx="2061845" cy="965200"/>
            </a:xfrm>
            <a:custGeom>
              <a:avLst/>
              <a:gdLst/>
              <a:ahLst/>
              <a:cxnLst/>
              <a:rect l="l" t="t" r="r" b="b"/>
              <a:pathLst>
                <a:path w="2061845" h="965200">
                  <a:moveTo>
                    <a:pt x="1725853" y="794664"/>
                  </a:moveTo>
                  <a:lnTo>
                    <a:pt x="1744078" y="821664"/>
                  </a:lnTo>
                  <a:lnTo>
                    <a:pt x="2054263" y="965073"/>
                  </a:lnTo>
                  <a:lnTo>
                    <a:pt x="2055609" y="959472"/>
                  </a:lnTo>
                  <a:lnTo>
                    <a:pt x="2058047" y="954290"/>
                  </a:lnTo>
                  <a:lnTo>
                    <a:pt x="2061337" y="949782"/>
                  </a:lnTo>
                  <a:lnTo>
                    <a:pt x="1725853" y="794664"/>
                  </a:lnTo>
                  <a:close/>
                </a:path>
                <a:path w="2061845" h="965200">
                  <a:moveTo>
                    <a:pt x="1199807" y="551446"/>
                  </a:moveTo>
                  <a:lnTo>
                    <a:pt x="1202270" y="571157"/>
                  </a:lnTo>
                  <a:lnTo>
                    <a:pt x="1715681" y="808532"/>
                  </a:lnTo>
                  <a:lnTo>
                    <a:pt x="1697456" y="781532"/>
                  </a:lnTo>
                  <a:lnTo>
                    <a:pt x="1199807" y="551446"/>
                  </a:lnTo>
                  <a:close/>
                </a:path>
                <a:path w="2061845" h="965200">
                  <a:moveTo>
                    <a:pt x="809180" y="370840"/>
                  </a:moveTo>
                  <a:lnTo>
                    <a:pt x="799807" y="385076"/>
                  </a:lnTo>
                  <a:lnTo>
                    <a:pt x="1186865" y="564032"/>
                  </a:lnTo>
                  <a:lnTo>
                    <a:pt x="1184402" y="544322"/>
                  </a:lnTo>
                  <a:lnTo>
                    <a:pt x="809180" y="370840"/>
                  </a:lnTo>
                  <a:close/>
                </a:path>
                <a:path w="2061845" h="965200">
                  <a:moveTo>
                    <a:pt x="7099" y="0"/>
                  </a:moveTo>
                  <a:lnTo>
                    <a:pt x="5740" y="5588"/>
                  </a:lnTo>
                  <a:lnTo>
                    <a:pt x="3302" y="10769"/>
                  </a:lnTo>
                  <a:lnTo>
                    <a:pt x="0" y="15290"/>
                  </a:lnTo>
                  <a:lnTo>
                    <a:pt x="785520" y="378472"/>
                  </a:lnTo>
                  <a:lnTo>
                    <a:pt x="794893" y="364236"/>
                  </a:lnTo>
                  <a:lnTo>
                    <a:pt x="7099" y="0"/>
                  </a:lnTo>
                  <a:close/>
                </a:path>
              </a:pathLst>
            </a:custGeom>
            <a:solidFill>
              <a:srgbClr val="EF3D60">
                <a:alpha val="50999"/>
              </a:srgbClr>
            </a:solidFill>
          </p:spPr>
          <p:txBody>
            <a:bodyPr wrap="square" lIns="0" tIns="0" rIns="0" bIns="0" rtlCol="0"/>
            <a:lstStyle/>
            <a:p>
              <a:endParaRPr sz="2968"/>
            </a:p>
          </p:txBody>
        </p:sp>
        <p:sp>
          <p:nvSpPr>
            <p:cNvPr id="115" name="object 113">
              <a:extLst>
                <a:ext uri="{FF2B5EF4-FFF2-40B4-BE49-F238E27FC236}">
                  <a16:creationId xmlns:a16="http://schemas.microsoft.com/office/drawing/2014/main" id="{B40D307E-49CD-FC4C-A384-A96834D95B9A}"/>
                </a:ext>
              </a:extLst>
            </p:cNvPr>
            <p:cNvSpPr/>
            <p:nvPr/>
          </p:nvSpPr>
          <p:spPr>
            <a:xfrm>
              <a:off x="10782682" y="3120363"/>
              <a:ext cx="1677035" cy="1919605"/>
            </a:xfrm>
            <a:custGeom>
              <a:avLst/>
              <a:gdLst/>
              <a:ahLst/>
              <a:cxnLst/>
              <a:rect l="l" t="t" r="r" b="b"/>
              <a:pathLst>
                <a:path w="1677034" h="1919604">
                  <a:moveTo>
                    <a:pt x="202679" y="1674647"/>
                  </a:moveTo>
                  <a:lnTo>
                    <a:pt x="0" y="1907057"/>
                  </a:lnTo>
                  <a:lnTo>
                    <a:pt x="5372" y="1910029"/>
                  </a:lnTo>
                  <a:lnTo>
                    <a:pt x="10032" y="1914105"/>
                  </a:lnTo>
                  <a:lnTo>
                    <a:pt x="13703" y="1918995"/>
                  </a:lnTo>
                  <a:lnTo>
                    <a:pt x="223215" y="1678749"/>
                  </a:lnTo>
                  <a:lnTo>
                    <a:pt x="202679" y="1674647"/>
                  </a:lnTo>
                  <a:close/>
                </a:path>
                <a:path w="1677034" h="1919604">
                  <a:moveTo>
                    <a:pt x="544220" y="1283030"/>
                  </a:moveTo>
                  <a:lnTo>
                    <a:pt x="211175" y="1664906"/>
                  </a:lnTo>
                  <a:lnTo>
                    <a:pt x="231711" y="1669008"/>
                  </a:lnTo>
                  <a:lnTo>
                    <a:pt x="557098" y="1295908"/>
                  </a:lnTo>
                  <a:lnTo>
                    <a:pt x="544220" y="1283030"/>
                  </a:lnTo>
                  <a:close/>
                </a:path>
                <a:path w="1677034" h="1919604">
                  <a:moveTo>
                    <a:pt x="678700" y="1128826"/>
                  </a:moveTo>
                  <a:lnTo>
                    <a:pt x="553859" y="1271981"/>
                  </a:lnTo>
                  <a:lnTo>
                    <a:pt x="566737" y="1284858"/>
                  </a:lnTo>
                  <a:lnTo>
                    <a:pt x="688543" y="1145184"/>
                  </a:lnTo>
                  <a:lnTo>
                    <a:pt x="678700" y="1128826"/>
                  </a:lnTo>
                  <a:close/>
                </a:path>
                <a:path w="1677034" h="1919604">
                  <a:moveTo>
                    <a:pt x="964018" y="801674"/>
                  </a:moveTo>
                  <a:lnTo>
                    <a:pt x="690359" y="1115466"/>
                  </a:lnTo>
                  <a:lnTo>
                    <a:pt x="700214" y="1131824"/>
                  </a:lnTo>
                  <a:lnTo>
                    <a:pt x="967435" y="825411"/>
                  </a:lnTo>
                  <a:lnTo>
                    <a:pt x="964018" y="801674"/>
                  </a:lnTo>
                  <a:close/>
                </a:path>
                <a:path w="1677034" h="1919604">
                  <a:moveTo>
                    <a:pt x="1046899" y="706628"/>
                  </a:moveTo>
                  <a:lnTo>
                    <a:pt x="980211" y="783094"/>
                  </a:lnTo>
                  <a:lnTo>
                    <a:pt x="983627" y="806843"/>
                  </a:lnTo>
                  <a:lnTo>
                    <a:pt x="1048524" y="732434"/>
                  </a:lnTo>
                  <a:lnTo>
                    <a:pt x="1046899" y="706628"/>
                  </a:lnTo>
                  <a:close/>
                </a:path>
                <a:path w="1677034" h="1919604">
                  <a:moveTo>
                    <a:pt x="1426400" y="271487"/>
                  </a:moveTo>
                  <a:lnTo>
                    <a:pt x="1058735" y="693064"/>
                  </a:lnTo>
                  <a:lnTo>
                    <a:pt x="1060348" y="718870"/>
                  </a:lnTo>
                  <a:lnTo>
                    <a:pt x="1419390" y="307200"/>
                  </a:lnTo>
                  <a:lnTo>
                    <a:pt x="1426400" y="271487"/>
                  </a:lnTo>
                  <a:close/>
                </a:path>
                <a:path w="1677034" h="1919604">
                  <a:moveTo>
                    <a:pt x="1663166" y="0"/>
                  </a:moveTo>
                  <a:lnTo>
                    <a:pt x="1450301" y="244081"/>
                  </a:lnTo>
                  <a:lnTo>
                    <a:pt x="1443291" y="279793"/>
                  </a:lnTo>
                  <a:lnTo>
                    <a:pt x="1676882" y="11937"/>
                  </a:lnTo>
                  <a:lnTo>
                    <a:pt x="1671510" y="8966"/>
                  </a:lnTo>
                  <a:lnTo>
                    <a:pt x="1666836" y="4876"/>
                  </a:lnTo>
                  <a:lnTo>
                    <a:pt x="1663166" y="0"/>
                  </a:lnTo>
                  <a:close/>
                </a:path>
              </a:pathLst>
            </a:custGeom>
            <a:solidFill>
              <a:srgbClr val="EF3D60">
                <a:alpha val="50999"/>
              </a:srgbClr>
            </a:solidFill>
          </p:spPr>
          <p:txBody>
            <a:bodyPr wrap="square" lIns="0" tIns="0" rIns="0" bIns="0" rtlCol="0"/>
            <a:lstStyle/>
            <a:p>
              <a:endParaRPr sz="2968"/>
            </a:p>
          </p:txBody>
        </p:sp>
        <p:sp>
          <p:nvSpPr>
            <p:cNvPr id="116" name="object 114">
              <a:extLst>
                <a:ext uri="{FF2B5EF4-FFF2-40B4-BE49-F238E27FC236}">
                  <a16:creationId xmlns:a16="http://schemas.microsoft.com/office/drawing/2014/main" id="{20AC794A-4D45-1640-BF9A-7ABFA6883A2F}"/>
                </a:ext>
              </a:extLst>
            </p:cNvPr>
            <p:cNvSpPr/>
            <p:nvPr/>
          </p:nvSpPr>
          <p:spPr>
            <a:xfrm>
              <a:off x="10686415" y="2999233"/>
              <a:ext cx="81915" cy="2023745"/>
            </a:xfrm>
            <a:custGeom>
              <a:avLst/>
              <a:gdLst/>
              <a:ahLst/>
              <a:cxnLst/>
              <a:rect l="l" t="t" r="r" b="b"/>
              <a:pathLst>
                <a:path w="81915" h="2023745">
                  <a:moveTo>
                    <a:pt x="78752" y="1933346"/>
                  </a:moveTo>
                  <a:lnTo>
                    <a:pt x="78752" y="2022894"/>
                  </a:lnTo>
                  <a:lnTo>
                    <a:pt x="79743" y="2022970"/>
                  </a:lnTo>
                  <a:lnTo>
                    <a:pt x="81686" y="2023224"/>
                  </a:lnTo>
                  <a:lnTo>
                    <a:pt x="78752" y="1933346"/>
                  </a:lnTo>
                  <a:close/>
                </a:path>
                <a:path w="81915" h="2023745">
                  <a:moveTo>
                    <a:pt x="58204" y="1785277"/>
                  </a:moveTo>
                  <a:lnTo>
                    <a:pt x="65989" y="2023732"/>
                  </a:lnTo>
                  <a:lnTo>
                    <a:pt x="67830" y="2023338"/>
                  </a:lnTo>
                  <a:lnTo>
                    <a:pt x="69710" y="2023059"/>
                  </a:lnTo>
                  <a:lnTo>
                    <a:pt x="71628" y="2022894"/>
                  </a:lnTo>
                  <a:lnTo>
                    <a:pt x="71628" y="1788591"/>
                  </a:lnTo>
                  <a:lnTo>
                    <a:pt x="66903" y="1788198"/>
                  </a:lnTo>
                  <a:lnTo>
                    <a:pt x="62382" y="1787055"/>
                  </a:lnTo>
                  <a:lnTo>
                    <a:pt x="58204" y="1785277"/>
                  </a:lnTo>
                  <a:close/>
                </a:path>
                <a:path w="81915" h="2023745">
                  <a:moveTo>
                    <a:pt x="25730" y="789393"/>
                  </a:moveTo>
                  <a:lnTo>
                    <a:pt x="55638" y="1706562"/>
                  </a:lnTo>
                  <a:lnTo>
                    <a:pt x="60401" y="1704149"/>
                  </a:lnTo>
                  <a:lnTo>
                    <a:pt x="65646" y="1702600"/>
                  </a:lnTo>
                  <a:lnTo>
                    <a:pt x="71208" y="1702092"/>
                  </a:lnTo>
                  <a:lnTo>
                    <a:pt x="58826" y="1322400"/>
                  </a:lnTo>
                  <a:lnTo>
                    <a:pt x="58064" y="1299476"/>
                  </a:lnTo>
                  <a:lnTo>
                    <a:pt x="41960" y="805624"/>
                  </a:lnTo>
                  <a:lnTo>
                    <a:pt x="25730" y="789393"/>
                  </a:lnTo>
                  <a:close/>
                </a:path>
                <a:path w="81915" h="2023745">
                  <a:moveTo>
                    <a:pt x="0" y="507"/>
                  </a:moveTo>
                  <a:lnTo>
                    <a:pt x="25031" y="767994"/>
                  </a:lnTo>
                  <a:lnTo>
                    <a:pt x="41262" y="784237"/>
                  </a:lnTo>
                  <a:lnTo>
                    <a:pt x="15716" y="977"/>
                  </a:lnTo>
                  <a:lnTo>
                    <a:pt x="4254" y="977"/>
                  </a:lnTo>
                  <a:lnTo>
                    <a:pt x="2095" y="812"/>
                  </a:lnTo>
                  <a:lnTo>
                    <a:pt x="0" y="507"/>
                  </a:lnTo>
                  <a:close/>
                </a:path>
                <a:path w="81915" h="2023745">
                  <a:moveTo>
                    <a:pt x="15684" y="0"/>
                  </a:moveTo>
                  <a:lnTo>
                    <a:pt x="12712" y="635"/>
                  </a:lnTo>
                  <a:lnTo>
                    <a:pt x="9626" y="977"/>
                  </a:lnTo>
                  <a:lnTo>
                    <a:pt x="15716" y="977"/>
                  </a:lnTo>
                  <a:lnTo>
                    <a:pt x="15684" y="0"/>
                  </a:lnTo>
                  <a:close/>
                </a:path>
              </a:pathLst>
            </a:custGeom>
            <a:solidFill>
              <a:srgbClr val="EF3D60">
                <a:alpha val="50999"/>
              </a:srgbClr>
            </a:solidFill>
          </p:spPr>
          <p:txBody>
            <a:bodyPr wrap="square" lIns="0" tIns="0" rIns="0" bIns="0" rtlCol="0"/>
            <a:lstStyle/>
            <a:p>
              <a:endParaRPr sz="2968"/>
            </a:p>
          </p:txBody>
        </p:sp>
        <p:sp>
          <p:nvSpPr>
            <p:cNvPr id="117" name="object 115">
              <a:extLst>
                <a:ext uri="{FF2B5EF4-FFF2-40B4-BE49-F238E27FC236}">
                  <a16:creationId xmlns:a16="http://schemas.microsoft.com/office/drawing/2014/main" id="{96B114CA-7004-814D-866F-6CDFBE23EC0B}"/>
                </a:ext>
              </a:extLst>
            </p:cNvPr>
            <p:cNvSpPr/>
            <p:nvPr/>
          </p:nvSpPr>
          <p:spPr>
            <a:xfrm>
              <a:off x="10761606" y="4787820"/>
              <a:ext cx="0" cy="233679"/>
            </a:xfrm>
            <a:custGeom>
              <a:avLst/>
              <a:gdLst/>
              <a:ahLst/>
              <a:cxnLst/>
              <a:rect l="l" t="t" r="r" b="b"/>
              <a:pathLst>
                <a:path h="233679">
                  <a:moveTo>
                    <a:pt x="0" y="0"/>
                  </a:moveTo>
                  <a:lnTo>
                    <a:pt x="0" y="233679"/>
                  </a:lnTo>
                </a:path>
              </a:pathLst>
            </a:custGeom>
            <a:ln w="7124">
              <a:solidFill>
                <a:srgbClr val="EF3D60"/>
              </a:solidFill>
            </a:ln>
          </p:spPr>
          <p:txBody>
            <a:bodyPr wrap="square" lIns="0" tIns="0" rIns="0" bIns="0" rtlCol="0"/>
            <a:lstStyle/>
            <a:p>
              <a:endParaRPr sz="2968"/>
            </a:p>
          </p:txBody>
        </p:sp>
        <p:sp>
          <p:nvSpPr>
            <p:cNvPr id="118" name="object 116">
              <a:extLst>
                <a:ext uri="{FF2B5EF4-FFF2-40B4-BE49-F238E27FC236}">
                  <a16:creationId xmlns:a16="http://schemas.microsoft.com/office/drawing/2014/main" id="{EC1D4A99-2E59-FB49-B54B-C696629CBA1F}"/>
                </a:ext>
              </a:extLst>
            </p:cNvPr>
            <p:cNvSpPr/>
            <p:nvPr/>
          </p:nvSpPr>
          <p:spPr>
            <a:xfrm>
              <a:off x="10762832" y="5021982"/>
              <a:ext cx="2540" cy="635"/>
            </a:xfrm>
            <a:custGeom>
              <a:avLst/>
              <a:gdLst/>
              <a:ahLst/>
              <a:cxnLst/>
              <a:rect l="l" t="t" r="r" b="b"/>
              <a:pathLst>
                <a:path w="2540" h="635">
                  <a:moveTo>
                    <a:pt x="2336" y="0"/>
                  </a:moveTo>
                  <a:lnTo>
                    <a:pt x="0" y="0"/>
                  </a:lnTo>
                  <a:lnTo>
                    <a:pt x="1168" y="50"/>
                  </a:lnTo>
                  <a:lnTo>
                    <a:pt x="2336" y="152"/>
                  </a:lnTo>
                  <a:lnTo>
                    <a:pt x="2336" y="0"/>
                  </a:lnTo>
                  <a:close/>
                </a:path>
              </a:pathLst>
            </a:custGeom>
            <a:solidFill>
              <a:srgbClr val="EF3D60">
                <a:alpha val="50999"/>
              </a:srgbClr>
            </a:solidFill>
          </p:spPr>
          <p:txBody>
            <a:bodyPr wrap="square" lIns="0" tIns="0" rIns="0" bIns="0" rtlCol="0"/>
            <a:lstStyle/>
            <a:p>
              <a:endParaRPr sz="2968"/>
            </a:p>
          </p:txBody>
        </p:sp>
        <p:sp>
          <p:nvSpPr>
            <p:cNvPr id="119" name="object 117">
              <a:extLst>
                <a:ext uri="{FF2B5EF4-FFF2-40B4-BE49-F238E27FC236}">
                  <a16:creationId xmlns:a16="http://schemas.microsoft.com/office/drawing/2014/main" id="{05EB878A-D437-7F46-802E-03F5A18CDFD7}"/>
                </a:ext>
              </a:extLst>
            </p:cNvPr>
            <p:cNvSpPr/>
            <p:nvPr/>
          </p:nvSpPr>
          <p:spPr>
            <a:xfrm>
              <a:off x="10762832" y="4787832"/>
              <a:ext cx="2540" cy="635"/>
            </a:xfrm>
            <a:custGeom>
              <a:avLst/>
              <a:gdLst/>
              <a:ahLst/>
              <a:cxnLst/>
              <a:rect l="l" t="t" r="r" b="b"/>
              <a:pathLst>
                <a:path w="2540" h="635">
                  <a:moveTo>
                    <a:pt x="2336" y="0"/>
                  </a:moveTo>
                  <a:lnTo>
                    <a:pt x="1168" y="88"/>
                  </a:lnTo>
                  <a:lnTo>
                    <a:pt x="0" y="139"/>
                  </a:lnTo>
                  <a:lnTo>
                    <a:pt x="2336" y="139"/>
                  </a:lnTo>
                  <a:lnTo>
                    <a:pt x="2336" y="0"/>
                  </a:lnTo>
                  <a:close/>
                </a:path>
              </a:pathLst>
            </a:custGeom>
            <a:solidFill>
              <a:srgbClr val="EF3D60">
                <a:alpha val="50999"/>
              </a:srgbClr>
            </a:solidFill>
          </p:spPr>
          <p:txBody>
            <a:bodyPr wrap="square" lIns="0" tIns="0" rIns="0" bIns="0" rtlCol="0"/>
            <a:lstStyle/>
            <a:p>
              <a:endParaRPr sz="2968"/>
            </a:p>
          </p:txBody>
        </p:sp>
        <p:sp>
          <p:nvSpPr>
            <p:cNvPr id="120" name="object 118">
              <a:extLst>
                <a:ext uri="{FF2B5EF4-FFF2-40B4-BE49-F238E27FC236}">
                  <a16:creationId xmlns:a16="http://schemas.microsoft.com/office/drawing/2014/main" id="{07A12070-F6EA-F24D-895F-3426D53284D9}"/>
                </a:ext>
              </a:extLst>
            </p:cNvPr>
            <p:cNvSpPr/>
            <p:nvPr/>
          </p:nvSpPr>
          <p:spPr>
            <a:xfrm>
              <a:off x="9878344" y="5107405"/>
              <a:ext cx="873125" cy="1870710"/>
            </a:xfrm>
            <a:custGeom>
              <a:avLst/>
              <a:gdLst/>
              <a:ahLst/>
              <a:cxnLst/>
              <a:rect l="l" t="t" r="r" b="b"/>
              <a:pathLst>
                <a:path w="873125" h="1870709">
                  <a:moveTo>
                    <a:pt x="872274" y="0"/>
                  </a:moveTo>
                  <a:lnTo>
                    <a:pt x="432295" y="921829"/>
                  </a:lnTo>
                  <a:lnTo>
                    <a:pt x="0" y="1864055"/>
                  </a:lnTo>
                  <a:lnTo>
                    <a:pt x="5257" y="1865363"/>
                  </a:lnTo>
                  <a:lnTo>
                    <a:pt x="10147" y="1867649"/>
                  </a:lnTo>
                  <a:lnTo>
                    <a:pt x="14439" y="1870684"/>
                  </a:lnTo>
                  <a:lnTo>
                    <a:pt x="872693" y="114"/>
                  </a:lnTo>
                  <a:lnTo>
                    <a:pt x="872274" y="0"/>
                  </a:lnTo>
                  <a:close/>
                </a:path>
              </a:pathLst>
            </a:custGeom>
            <a:solidFill>
              <a:srgbClr val="EF3D60">
                <a:alpha val="50999"/>
              </a:srgbClr>
            </a:solidFill>
          </p:spPr>
          <p:txBody>
            <a:bodyPr wrap="square" lIns="0" tIns="0" rIns="0" bIns="0" rtlCol="0"/>
            <a:lstStyle/>
            <a:p>
              <a:endParaRPr sz="2968"/>
            </a:p>
          </p:txBody>
        </p:sp>
        <p:sp>
          <p:nvSpPr>
            <p:cNvPr id="121" name="object 119">
              <a:extLst>
                <a:ext uri="{FF2B5EF4-FFF2-40B4-BE49-F238E27FC236}">
                  <a16:creationId xmlns:a16="http://schemas.microsoft.com/office/drawing/2014/main" id="{93703778-A6B9-B54F-BCBF-CC6E982AB40E}"/>
                </a:ext>
              </a:extLst>
            </p:cNvPr>
            <p:cNvSpPr/>
            <p:nvPr/>
          </p:nvSpPr>
          <p:spPr>
            <a:xfrm>
              <a:off x="9810017" y="5100344"/>
              <a:ext cx="941069" cy="1947545"/>
            </a:xfrm>
            <a:custGeom>
              <a:avLst/>
              <a:gdLst/>
              <a:ahLst/>
              <a:cxnLst/>
              <a:rect l="l" t="t" r="r" b="b"/>
              <a:pathLst>
                <a:path w="941070" h="1947545">
                  <a:moveTo>
                    <a:pt x="14490" y="1909699"/>
                  </a:moveTo>
                  <a:lnTo>
                    <a:pt x="0" y="1940039"/>
                  </a:lnTo>
                  <a:lnTo>
                    <a:pt x="5372" y="1941436"/>
                  </a:lnTo>
                  <a:lnTo>
                    <a:pt x="10337" y="1943849"/>
                  </a:lnTo>
                  <a:lnTo>
                    <a:pt x="14681" y="1947037"/>
                  </a:lnTo>
                  <a:lnTo>
                    <a:pt x="20307" y="1935238"/>
                  </a:lnTo>
                  <a:lnTo>
                    <a:pt x="16522" y="1928787"/>
                  </a:lnTo>
                  <a:lnTo>
                    <a:pt x="14350" y="1921268"/>
                  </a:lnTo>
                  <a:lnTo>
                    <a:pt x="14389" y="1910867"/>
                  </a:lnTo>
                  <a:lnTo>
                    <a:pt x="14490" y="1909699"/>
                  </a:lnTo>
                  <a:close/>
                </a:path>
                <a:path w="941070" h="1947545">
                  <a:moveTo>
                    <a:pt x="925855" y="0"/>
                  </a:moveTo>
                  <a:lnTo>
                    <a:pt x="27787" y="1881822"/>
                  </a:lnTo>
                  <a:lnTo>
                    <a:pt x="32857" y="1877666"/>
                  </a:lnTo>
                  <a:lnTo>
                    <a:pt x="38523" y="1874304"/>
                  </a:lnTo>
                  <a:lnTo>
                    <a:pt x="44702" y="1871817"/>
                  </a:lnTo>
                  <a:lnTo>
                    <a:pt x="51307" y="1870290"/>
                  </a:lnTo>
                  <a:lnTo>
                    <a:pt x="940600" y="7061"/>
                  </a:lnTo>
                  <a:lnTo>
                    <a:pt x="935202" y="5651"/>
                  </a:lnTo>
                  <a:lnTo>
                    <a:pt x="930211" y="3225"/>
                  </a:lnTo>
                  <a:lnTo>
                    <a:pt x="925855" y="0"/>
                  </a:lnTo>
                  <a:close/>
                </a:path>
              </a:pathLst>
            </a:custGeom>
            <a:solidFill>
              <a:srgbClr val="EF3D60">
                <a:alpha val="50999"/>
              </a:srgbClr>
            </a:solidFill>
          </p:spPr>
          <p:txBody>
            <a:bodyPr wrap="square" lIns="0" tIns="0" rIns="0" bIns="0" rtlCol="0"/>
            <a:lstStyle/>
            <a:p>
              <a:endParaRPr sz="2968"/>
            </a:p>
          </p:txBody>
        </p:sp>
        <p:sp>
          <p:nvSpPr>
            <p:cNvPr id="122" name="object 120">
              <a:extLst>
                <a:ext uri="{FF2B5EF4-FFF2-40B4-BE49-F238E27FC236}">
                  <a16:creationId xmlns:a16="http://schemas.microsoft.com/office/drawing/2014/main" id="{CAE627BE-D628-EA46-9C80-8AAA6119C322}"/>
                </a:ext>
              </a:extLst>
            </p:cNvPr>
            <p:cNvSpPr/>
            <p:nvPr/>
          </p:nvSpPr>
          <p:spPr>
            <a:xfrm>
              <a:off x="9657460" y="4969441"/>
              <a:ext cx="2208530" cy="193040"/>
            </a:xfrm>
            <a:custGeom>
              <a:avLst/>
              <a:gdLst/>
              <a:ahLst/>
              <a:cxnLst/>
              <a:rect l="l" t="t" r="r" b="b"/>
              <a:pathLst>
                <a:path w="2208529" h="193039">
                  <a:moveTo>
                    <a:pt x="1061034" y="91097"/>
                  </a:moveTo>
                  <a:lnTo>
                    <a:pt x="0" y="175971"/>
                  </a:lnTo>
                  <a:lnTo>
                    <a:pt x="1041" y="179692"/>
                  </a:lnTo>
                  <a:lnTo>
                    <a:pt x="1587" y="183603"/>
                  </a:lnTo>
                  <a:lnTo>
                    <a:pt x="1498" y="190931"/>
                  </a:lnTo>
                  <a:lnTo>
                    <a:pt x="1320" y="192544"/>
                  </a:lnTo>
                  <a:lnTo>
                    <a:pt x="1062367" y="107683"/>
                  </a:lnTo>
                  <a:lnTo>
                    <a:pt x="1061326" y="103949"/>
                  </a:lnTo>
                  <a:lnTo>
                    <a:pt x="1060767" y="100025"/>
                  </a:lnTo>
                  <a:lnTo>
                    <a:pt x="1060856" y="92697"/>
                  </a:lnTo>
                  <a:lnTo>
                    <a:pt x="1061034" y="91097"/>
                  </a:lnTo>
                  <a:close/>
                </a:path>
                <a:path w="2208529" h="193039">
                  <a:moveTo>
                    <a:pt x="2199944" y="0"/>
                  </a:moveTo>
                  <a:lnTo>
                    <a:pt x="1146022" y="84302"/>
                  </a:lnTo>
                  <a:lnTo>
                    <a:pt x="1147038" y="88011"/>
                  </a:lnTo>
                  <a:lnTo>
                    <a:pt x="1147610" y="91922"/>
                  </a:lnTo>
                  <a:lnTo>
                    <a:pt x="1147508" y="99263"/>
                  </a:lnTo>
                  <a:lnTo>
                    <a:pt x="1147318" y="100888"/>
                  </a:lnTo>
                  <a:lnTo>
                    <a:pt x="2208364" y="16027"/>
                  </a:lnTo>
                  <a:lnTo>
                    <a:pt x="2207336" y="12306"/>
                  </a:lnTo>
                  <a:lnTo>
                    <a:pt x="2206777" y="8369"/>
                  </a:lnTo>
                  <a:lnTo>
                    <a:pt x="2206879" y="1384"/>
                  </a:lnTo>
                  <a:lnTo>
                    <a:pt x="2199944" y="0"/>
                  </a:lnTo>
                  <a:close/>
                </a:path>
              </a:pathLst>
            </a:custGeom>
            <a:solidFill>
              <a:srgbClr val="EF3D60">
                <a:alpha val="50999"/>
              </a:srgbClr>
            </a:solidFill>
          </p:spPr>
          <p:txBody>
            <a:bodyPr wrap="square" lIns="0" tIns="0" rIns="0" bIns="0" rtlCol="0"/>
            <a:lstStyle/>
            <a:p>
              <a:endParaRPr sz="2968"/>
            </a:p>
          </p:txBody>
        </p:sp>
        <p:sp>
          <p:nvSpPr>
            <p:cNvPr id="123" name="object 121">
              <a:extLst>
                <a:ext uri="{FF2B5EF4-FFF2-40B4-BE49-F238E27FC236}">
                  <a16:creationId xmlns:a16="http://schemas.microsoft.com/office/drawing/2014/main" id="{D0E4CDD2-0945-C040-B432-594FB18D982D}"/>
                </a:ext>
              </a:extLst>
            </p:cNvPr>
            <p:cNvSpPr/>
            <p:nvPr/>
          </p:nvSpPr>
          <p:spPr>
            <a:xfrm>
              <a:off x="11941290" y="4995422"/>
              <a:ext cx="1739264" cy="1602740"/>
            </a:xfrm>
            <a:custGeom>
              <a:avLst/>
              <a:gdLst/>
              <a:ahLst/>
              <a:cxnLst/>
              <a:rect l="l" t="t" r="r" b="b"/>
              <a:pathLst>
                <a:path w="1739265" h="1602740">
                  <a:moveTo>
                    <a:pt x="4000" y="0"/>
                  </a:moveTo>
                  <a:lnTo>
                    <a:pt x="2832" y="2044"/>
                  </a:lnTo>
                  <a:lnTo>
                    <a:pt x="1485" y="3975"/>
                  </a:lnTo>
                  <a:lnTo>
                    <a:pt x="0" y="5791"/>
                  </a:lnTo>
                  <a:lnTo>
                    <a:pt x="85674" y="99415"/>
                  </a:lnTo>
                  <a:lnTo>
                    <a:pt x="1738704" y="1602181"/>
                  </a:lnTo>
                  <a:lnTo>
                    <a:pt x="1738704" y="1577006"/>
                  </a:lnTo>
                  <a:lnTo>
                    <a:pt x="4000" y="0"/>
                  </a:lnTo>
                  <a:close/>
                </a:path>
              </a:pathLst>
            </a:custGeom>
            <a:solidFill>
              <a:srgbClr val="EF3D60">
                <a:alpha val="50999"/>
              </a:srgbClr>
            </a:solidFill>
          </p:spPr>
          <p:txBody>
            <a:bodyPr wrap="square" lIns="0" tIns="0" rIns="0" bIns="0" rtlCol="0"/>
            <a:lstStyle/>
            <a:p>
              <a:endParaRPr sz="2968"/>
            </a:p>
          </p:txBody>
        </p:sp>
        <p:sp>
          <p:nvSpPr>
            <p:cNvPr id="124" name="object 122">
              <a:extLst>
                <a:ext uri="{FF2B5EF4-FFF2-40B4-BE49-F238E27FC236}">
                  <a16:creationId xmlns:a16="http://schemas.microsoft.com/office/drawing/2014/main" id="{FE34210B-F429-3344-9C32-60B9F776ADA3}"/>
                </a:ext>
              </a:extLst>
            </p:cNvPr>
            <p:cNvSpPr/>
            <p:nvPr/>
          </p:nvSpPr>
          <p:spPr>
            <a:xfrm>
              <a:off x="11924796" y="5009736"/>
              <a:ext cx="1203960" cy="1767205"/>
            </a:xfrm>
            <a:custGeom>
              <a:avLst/>
              <a:gdLst/>
              <a:ahLst/>
              <a:cxnLst/>
              <a:rect l="l" t="t" r="r" b="b"/>
              <a:pathLst>
                <a:path w="1203959" h="1767204">
                  <a:moveTo>
                    <a:pt x="7175" y="0"/>
                  </a:moveTo>
                  <a:lnTo>
                    <a:pt x="4914" y="1524"/>
                  </a:lnTo>
                  <a:lnTo>
                    <a:pt x="2514" y="2844"/>
                  </a:lnTo>
                  <a:lnTo>
                    <a:pt x="0" y="3924"/>
                  </a:lnTo>
                  <a:lnTo>
                    <a:pt x="1189964" y="1766785"/>
                  </a:lnTo>
                  <a:lnTo>
                    <a:pt x="1193800" y="1762975"/>
                  </a:lnTo>
                  <a:lnTo>
                    <a:pt x="1198346" y="1759877"/>
                  </a:lnTo>
                  <a:lnTo>
                    <a:pt x="1203388" y="1757705"/>
                  </a:lnTo>
                  <a:lnTo>
                    <a:pt x="44170" y="40436"/>
                  </a:lnTo>
                  <a:lnTo>
                    <a:pt x="7175" y="0"/>
                  </a:lnTo>
                  <a:close/>
                </a:path>
              </a:pathLst>
            </a:custGeom>
            <a:solidFill>
              <a:srgbClr val="EF3D60">
                <a:alpha val="50999"/>
              </a:srgbClr>
            </a:solidFill>
          </p:spPr>
          <p:txBody>
            <a:bodyPr wrap="square" lIns="0" tIns="0" rIns="0" bIns="0" rtlCol="0"/>
            <a:lstStyle/>
            <a:p>
              <a:endParaRPr sz="2968"/>
            </a:p>
          </p:txBody>
        </p:sp>
        <p:sp>
          <p:nvSpPr>
            <p:cNvPr id="125" name="object 123">
              <a:extLst>
                <a:ext uri="{FF2B5EF4-FFF2-40B4-BE49-F238E27FC236}">
                  <a16:creationId xmlns:a16="http://schemas.microsoft.com/office/drawing/2014/main" id="{F58EDCB0-BF1F-1849-AAA4-A9109E82FE12}"/>
                </a:ext>
              </a:extLst>
            </p:cNvPr>
            <p:cNvSpPr/>
            <p:nvPr/>
          </p:nvSpPr>
          <p:spPr>
            <a:xfrm>
              <a:off x="11905792" y="5015368"/>
              <a:ext cx="233045" cy="1750695"/>
            </a:xfrm>
            <a:custGeom>
              <a:avLst/>
              <a:gdLst/>
              <a:ahLst/>
              <a:cxnLst/>
              <a:rect l="l" t="t" r="r" b="b"/>
              <a:pathLst>
                <a:path w="233045" h="1750695">
                  <a:moveTo>
                    <a:pt x="14287" y="0"/>
                  </a:moveTo>
                  <a:lnTo>
                    <a:pt x="10350" y="1181"/>
                  </a:lnTo>
                  <a:lnTo>
                    <a:pt x="6172" y="1803"/>
                  </a:lnTo>
                  <a:lnTo>
                    <a:pt x="4" y="1803"/>
                  </a:lnTo>
                  <a:lnTo>
                    <a:pt x="218567" y="1750377"/>
                  </a:lnTo>
                  <a:lnTo>
                    <a:pt x="222516" y="1749183"/>
                  </a:lnTo>
                  <a:lnTo>
                    <a:pt x="226720" y="1748548"/>
                  </a:lnTo>
                  <a:lnTo>
                    <a:pt x="232849" y="1748548"/>
                  </a:lnTo>
                  <a:lnTo>
                    <a:pt x="14512" y="1803"/>
                  </a:lnTo>
                  <a:lnTo>
                    <a:pt x="1231" y="1803"/>
                  </a:lnTo>
                  <a:lnTo>
                    <a:pt x="0" y="1765"/>
                  </a:lnTo>
                  <a:lnTo>
                    <a:pt x="14508" y="1765"/>
                  </a:lnTo>
                  <a:lnTo>
                    <a:pt x="14287" y="0"/>
                  </a:lnTo>
                  <a:close/>
                </a:path>
                <a:path w="233045" h="1750695">
                  <a:moveTo>
                    <a:pt x="232849" y="1748548"/>
                  </a:moveTo>
                  <a:lnTo>
                    <a:pt x="231660" y="1748548"/>
                  </a:lnTo>
                  <a:lnTo>
                    <a:pt x="232854" y="1748586"/>
                  </a:lnTo>
                  <a:close/>
                </a:path>
              </a:pathLst>
            </a:custGeom>
            <a:solidFill>
              <a:srgbClr val="EF3D60">
                <a:alpha val="50999"/>
              </a:srgbClr>
            </a:solidFill>
          </p:spPr>
          <p:txBody>
            <a:bodyPr wrap="square" lIns="0" tIns="0" rIns="0" bIns="0" rtlCol="0"/>
            <a:lstStyle/>
            <a:p>
              <a:endParaRPr sz="2968"/>
            </a:p>
          </p:txBody>
        </p:sp>
        <p:sp>
          <p:nvSpPr>
            <p:cNvPr id="126" name="object 124">
              <a:extLst>
                <a:ext uri="{FF2B5EF4-FFF2-40B4-BE49-F238E27FC236}">
                  <a16:creationId xmlns:a16="http://schemas.microsoft.com/office/drawing/2014/main" id="{339950EA-EE1D-3040-A75E-4CBCB8FE6E63}"/>
                </a:ext>
              </a:extLst>
            </p:cNvPr>
            <p:cNvSpPr/>
            <p:nvPr/>
          </p:nvSpPr>
          <p:spPr>
            <a:xfrm>
              <a:off x="10778578" y="5005162"/>
              <a:ext cx="1112520" cy="1679575"/>
            </a:xfrm>
            <a:custGeom>
              <a:avLst/>
              <a:gdLst/>
              <a:ahLst/>
              <a:cxnLst/>
              <a:rect l="l" t="t" r="r" b="b"/>
              <a:pathLst>
                <a:path w="1112520" h="1679575">
                  <a:moveTo>
                    <a:pt x="1099083" y="0"/>
                  </a:moveTo>
                  <a:lnTo>
                    <a:pt x="0" y="1670481"/>
                  </a:lnTo>
                  <a:lnTo>
                    <a:pt x="4864" y="1672551"/>
                  </a:lnTo>
                  <a:lnTo>
                    <a:pt x="9271" y="1675460"/>
                  </a:lnTo>
                  <a:lnTo>
                    <a:pt x="13030" y="1679054"/>
                  </a:lnTo>
                  <a:lnTo>
                    <a:pt x="1112075" y="8559"/>
                  </a:lnTo>
                  <a:lnTo>
                    <a:pt x="1107224" y="6502"/>
                  </a:lnTo>
                  <a:lnTo>
                    <a:pt x="1102829" y="3581"/>
                  </a:lnTo>
                  <a:lnTo>
                    <a:pt x="1099083" y="0"/>
                  </a:lnTo>
                  <a:close/>
                </a:path>
              </a:pathLst>
            </a:custGeom>
            <a:solidFill>
              <a:srgbClr val="EF3D60">
                <a:alpha val="50999"/>
              </a:srgbClr>
            </a:solidFill>
          </p:spPr>
          <p:txBody>
            <a:bodyPr wrap="square" lIns="0" tIns="0" rIns="0" bIns="0" rtlCol="0"/>
            <a:lstStyle/>
            <a:p>
              <a:endParaRPr sz="2968"/>
            </a:p>
          </p:txBody>
        </p:sp>
        <p:sp>
          <p:nvSpPr>
            <p:cNvPr id="127" name="object 125">
              <a:extLst>
                <a:ext uri="{FF2B5EF4-FFF2-40B4-BE49-F238E27FC236}">
                  <a16:creationId xmlns:a16="http://schemas.microsoft.com/office/drawing/2014/main" id="{81FA7C6D-BC33-4D4E-8C0F-7DE4549A7B97}"/>
                </a:ext>
              </a:extLst>
            </p:cNvPr>
            <p:cNvSpPr/>
            <p:nvPr/>
          </p:nvSpPr>
          <p:spPr>
            <a:xfrm>
              <a:off x="11989486" y="3255211"/>
              <a:ext cx="1682114" cy="1643380"/>
            </a:xfrm>
            <a:custGeom>
              <a:avLst/>
              <a:gdLst/>
              <a:ahLst/>
              <a:cxnLst/>
              <a:rect l="l" t="t" r="r" b="b"/>
              <a:pathLst>
                <a:path w="1682115" h="1643379">
                  <a:moveTo>
                    <a:pt x="1669313" y="0"/>
                  </a:moveTo>
                  <a:lnTo>
                    <a:pt x="160896" y="1469783"/>
                  </a:lnTo>
                  <a:lnTo>
                    <a:pt x="0" y="1643367"/>
                  </a:lnTo>
                  <a:lnTo>
                    <a:pt x="42646" y="1609496"/>
                  </a:lnTo>
                  <a:lnTo>
                    <a:pt x="1681556" y="12585"/>
                  </a:lnTo>
                  <a:lnTo>
                    <a:pt x="1676679" y="9271"/>
                  </a:lnTo>
                  <a:lnTo>
                    <a:pt x="1672488" y="4978"/>
                  </a:lnTo>
                  <a:lnTo>
                    <a:pt x="1669313" y="0"/>
                  </a:lnTo>
                  <a:close/>
                </a:path>
              </a:pathLst>
            </a:custGeom>
            <a:solidFill>
              <a:srgbClr val="EF3D60">
                <a:alpha val="50999"/>
              </a:srgbClr>
            </a:solidFill>
          </p:spPr>
          <p:txBody>
            <a:bodyPr wrap="square" lIns="0" tIns="0" rIns="0" bIns="0" rtlCol="0"/>
            <a:lstStyle/>
            <a:p>
              <a:endParaRPr sz="2968"/>
            </a:p>
          </p:txBody>
        </p:sp>
        <p:sp>
          <p:nvSpPr>
            <p:cNvPr id="128" name="object 126">
              <a:extLst>
                <a:ext uri="{FF2B5EF4-FFF2-40B4-BE49-F238E27FC236}">
                  <a16:creationId xmlns:a16="http://schemas.microsoft.com/office/drawing/2014/main" id="{885294C2-6D47-7042-A258-927065FB699C}"/>
                </a:ext>
              </a:extLst>
            </p:cNvPr>
            <p:cNvSpPr/>
            <p:nvPr/>
          </p:nvSpPr>
          <p:spPr>
            <a:xfrm>
              <a:off x="11927309" y="3449068"/>
              <a:ext cx="836930" cy="1487805"/>
            </a:xfrm>
            <a:custGeom>
              <a:avLst/>
              <a:gdLst/>
              <a:ahLst/>
              <a:cxnLst/>
              <a:rect l="l" t="t" r="r" b="b"/>
              <a:pathLst>
                <a:path w="836929" h="1487804">
                  <a:moveTo>
                    <a:pt x="824153" y="0"/>
                  </a:moveTo>
                  <a:lnTo>
                    <a:pt x="7404" y="1461706"/>
                  </a:lnTo>
                  <a:lnTo>
                    <a:pt x="0" y="1485976"/>
                  </a:lnTo>
                  <a:lnTo>
                    <a:pt x="914" y="1486433"/>
                  </a:lnTo>
                  <a:lnTo>
                    <a:pt x="1803" y="1486928"/>
                  </a:lnTo>
                  <a:lnTo>
                    <a:pt x="2667" y="1487449"/>
                  </a:lnTo>
                  <a:lnTo>
                    <a:pt x="4521" y="1485442"/>
                  </a:lnTo>
                  <a:lnTo>
                    <a:pt x="20358" y="1467561"/>
                  </a:lnTo>
                  <a:lnTo>
                    <a:pt x="836523" y="6934"/>
                  </a:lnTo>
                  <a:lnTo>
                    <a:pt x="832002" y="5308"/>
                  </a:lnTo>
                  <a:lnTo>
                    <a:pt x="827824" y="2946"/>
                  </a:lnTo>
                  <a:lnTo>
                    <a:pt x="824153" y="0"/>
                  </a:lnTo>
                  <a:close/>
                </a:path>
              </a:pathLst>
            </a:custGeom>
            <a:solidFill>
              <a:srgbClr val="EF3D60">
                <a:alpha val="50999"/>
              </a:srgbClr>
            </a:solidFill>
          </p:spPr>
          <p:txBody>
            <a:bodyPr wrap="square" lIns="0" tIns="0" rIns="0" bIns="0" rtlCol="0"/>
            <a:lstStyle/>
            <a:p>
              <a:endParaRPr sz="2968"/>
            </a:p>
          </p:txBody>
        </p:sp>
        <p:sp>
          <p:nvSpPr>
            <p:cNvPr id="129" name="object 127">
              <a:extLst>
                <a:ext uri="{FF2B5EF4-FFF2-40B4-BE49-F238E27FC236}">
                  <a16:creationId xmlns:a16="http://schemas.microsoft.com/office/drawing/2014/main" id="{BF400D81-009D-DF42-898B-1D32C0137F60}"/>
                </a:ext>
              </a:extLst>
            </p:cNvPr>
            <p:cNvSpPr/>
            <p:nvPr/>
          </p:nvSpPr>
          <p:spPr>
            <a:xfrm>
              <a:off x="11812276" y="3549357"/>
              <a:ext cx="98425" cy="1369695"/>
            </a:xfrm>
            <a:custGeom>
              <a:avLst/>
              <a:gdLst/>
              <a:ahLst/>
              <a:cxnLst/>
              <a:rect l="l" t="t" r="r" b="b"/>
              <a:pathLst>
                <a:path w="98425" h="1369695">
                  <a:moveTo>
                    <a:pt x="0" y="787"/>
                  </a:moveTo>
                  <a:lnTo>
                    <a:pt x="76949" y="1230972"/>
                  </a:lnTo>
                  <a:lnTo>
                    <a:pt x="96901" y="1369390"/>
                  </a:lnTo>
                  <a:lnTo>
                    <a:pt x="97942" y="1364081"/>
                  </a:lnTo>
                  <a:lnTo>
                    <a:pt x="12695" y="939"/>
                  </a:lnTo>
                  <a:lnTo>
                    <a:pt x="2400" y="939"/>
                  </a:lnTo>
                  <a:lnTo>
                    <a:pt x="1193" y="889"/>
                  </a:lnTo>
                  <a:lnTo>
                    <a:pt x="0" y="787"/>
                  </a:lnTo>
                  <a:close/>
                </a:path>
                <a:path w="98425" h="1369695">
                  <a:moveTo>
                    <a:pt x="12636" y="0"/>
                  </a:moveTo>
                  <a:lnTo>
                    <a:pt x="9728" y="609"/>
                  </a:lnTo>
                  <a:lnTo>
                    <a:pt x="6718" y="939"/>
                  </a:lnTo>
                  <a:lnTo>
                    <a:pt x="12695" y="939"/>
                  </a:lnTo>
                  <a:lnTo>
                    <a:pt x="12636" y="0"/>
                  </a:lnTo>
                  <a:close/>
                </a:path>
              </a:pathLst>
            </a:custGeom>
            <a:solidFill>
              <a:srgbClr val="EF3D60">
                <a:alpha val="50999"/>
              </a:srgbClr>
            </a:solidFill>
          </p:spPr>
          <p:txBody>
            <a:bodyPr wrap="square" lIns="0" tIns="0" rIns="0" bIns="0" rtlCol="0"/>
            <a:lstStyle/>
            <a:p>
              <a:endParaRPr sz="2968"/>
            </a:p>
          </p:txBody>
        </p:sp>
        <p:sp>
          <p:nvSpPr>
            <p:cNvPr id="130" name="object 128">
              <a:extLst>
                <a:ext uri="{FF2B5EF4-FFF2-40B4-BE49-F238E27FC236}">
                  <a16:creationId xmlns:a16="http://schemas.microsoft.com/office/drawing/2014/main" id="{F51F2F5E-CDD1-3849-B6DE-A67203C283F4}"/>
                </a:ext>
              </a:extLst>
            </p:cNvPr>
            <p:cNvSpPr/>
            <p:nvPr/>
          </p:nvSpPr>
          <p:spPr>
            <a:xfrm>
              <a:off x="10603332" y="3669464"/>
              <a:ext cx="1275080" cy="1279525"/>
            </a:xfrm>
            <a:custGeom>
              <a:avLst/>
              <a:gdLst/>
              <a:ahLst/>
              <a:cxnLst/>
              <a:rect l="l" t="t" r="r" b="b"/>
              <a:pathLst>
                <a:path w="1275079" h="1279525">
                  <a:moveTo>
                    <a:pt x="10350" y="0"/>
                  </a:moveTo>
                  <a:lnTo>
                    <a:pt x="7505" y="4013"/>
                  </a:lnTo>
                  <a:lnTo>
                    <a:pt x="4000" y="7518"/>
                  </a:lnTo>
                  <a:lnTo>
                    <a:pt x="0" y="10350"/>
                  </a:lnTo>
                  <a:lnTo>
                    <a:pt x="1268869" y="1279220"/>
                  </a:lnTo>
                  <a:lnTo>
                    <a:pt x="1270685" y="1276654"/>
                  </a:lnTo>
                  <a:lnTo>
                    <a:pt x="1272768" y="1274305"/>
                  </a:lnTo>
                  <a:lnTo>
                    <a:pt x="1275079" y="1272197"/>
                  </a:lnTo>
                  <a:lnTo>
                    <a:pt x="1263827" y="1253515"/>
                  </a:lnTo>
                  <a:lnTo>
                    <a:pt x="10350" y="0"/>
                  </a:lnTo>
                  <a:close/>
                </a:path>
              </a:pathLst>
            </a:custGeom>
            <a:solidFill>
              <a:srgbClr val="EF3D60">
                <a:alpha val="50999"/>
              </a:srgbClr>
            </a:solidFill>
          </p:spPr>
          <p:txBody>
            <a:bodyPr wrap="square" lIns="0" tIns="0" rIns="0" bIns="0" rtlCol="0"/>
            <a:lstStyle/>
            <a:p>
              <a:endParaRPr sz="2968"/>
            </a:p>
          </p:txBody>
        </p:sp>
        <p:sp>
          <p:nvSpPr>
            <p:cNvPr id="131" name="object 129">
              <a:extLst>
                <a:ext uri="{FF2B5EF4-FFF2-40B4-BE49-F238E27FC236}">
                  <a16:creationId xmlns:a16="http://schemas.microsoft.com/office/drawing/2014/main" id="{48C9F8F9-5346-6A42-810C-8D3A25083370}"/>
                </a:ext>
              </a:extLst>
            </p:cNvPr>
            <p:cNvSpPr/>
            <p:nvPr/>
          </p:nvSpPr>
          <p:spPr>
            <a:xfrm>
              <a:off x="11931835" y="3396047"/>
              <a:ext cx="1374775" cy="1538605"/>
            </a:xfrm>
            <a:custGeom>
              <a:avLst/>
              <a:gdLst/>
              <a:ahLst/>
              <a:cxnLst/>
              <a:rect l="l" t="t" r="r" b="b"/>
              <a:pathLst>
                <a:path w="1374775" h="1538604">
                  <a:moveTo>
                    <a:pt x="1362544" y="0"/>
                  </a:moveTo>
                  <a:lnTo>
                    <a:pt x="0" y="1538465"/>
                  </a:lnTo>
                  <a:lnTo>
                    <a:pt x="477405" y="1023353"/>
                  </a:lnTo>
                  <a:lnTo>
                    <a:pt x="1374432" y="10515"/>
                  </a:lnTo>
                  <a:lnTo>
                    <a:pt x="1369847" y="7772"/>
                  </a:lnTo>
                  <a:lnTo>
                    <a:pt x="1365821" y="4191"/>
                  </a:lnTo>
                  <a:lnTo>
                    <a:pt x="1362544" y="0"/>
                  </a:lnTo>
                  <a:close/>
                </a:path>
              </a:pathLst>
            </a:custGeom>
            <a:solidFill>
              <a:srgbClr val="EF3D60">
                <a:alpha val="50999"/>
              </a:srgbClr>
            </a:solidFill>
          </p:spPr>
          <p:txBody>
            <a:bodyPr wrap="square" lIns="0" tIns="0" rIns="0" bIns="0" rtlCol="0"/>
            <a:lstStyle/>
            <a:p>
              <a:endParaRPr sz="2968"/>
            </a:p>
          </p:txBody>
        </p:sp>
        <p:sp>
          <p:nvSpPr>
            <p:cNvPr id="132" name="object 130">
              <a:extLst>
                <a:ext uri="{FF2B5EF4-FFF2-40B4-BE49-F238E27FC236}">
                  <a16:creationId xmlns:a16="http://schemas.microsoft.com/office/drawing/2014/main" id="{B5817CEB-4B9A-F245-8269-D61099C30B7A}"/>
                </a:ext>
              </a:extLst>
            </p:cNvPr>
            <p:cNvSpPr/>
            <p:nvPr/>
          </p:nvSpPr>
          <p:spPr>
            <a:xfrm>
              <a:off x="11795435" y="4305698"/>
              <a:ext cx="62865" cy="387985"/>
            </a:xfrm>
            <a:custGeom>
              <a:avLst/>
              <a:gdLst/>
              <a:ahLst/>
              <a:cxnLst/>
              <a:rect l="l" t="t" r="r" b="b"/>
              <a:pathLst>
                <a:path w="62865" h="387985">
                  <a:moveTo>
                    <a:pt x="6540" y="0"/>
                  </a:moveTo>
                  <a:lnTo>
                    <a:pt x="4406" y="444"/>
                  </a:lnTo>
                  <a:lnTo>
                    <a:pt x="2222" y="736"/>
                  </a:lnTo>
                  <a:lnTo>
                    <a:pt x="0" y="850"/>
                  </a:lnTo>
                  <a:lnTo>
                    <a:pt x="62356" y="387438"/>
                  </a:lnTo>
                  <a:lnTo>
                    <a:pt x="6540" y="0"/>
                  </a:lnTo>
                  <a:close/>
                </a:path>
              </a:pathLst>
            </a:custGeom>
            <a:solidFill>
              <a:srgbClr val="EF3D60">
                <a:alpha val="50999"/>
              </a:srgbClr>
            </a:solidFill>
          </p:spPr>
          <p:txBody>
            <a:bodyPr wrap="square" lIns="0" tIns="0" rIns="0" bIns="0" rtlCol="0"/>
            <a:lstStyle/>
            <a:p>
              <a:endParaRPr sz="2968"/>
            </a:p>
          </p:txBody>
        </p:sp>
        <p:sp>
          <p:nvSpPr>
            <p:cNvPr id="133" name="object 131">
              <a:extLst>
                <a:ext uri="{FF2B5EF4-FFF2-40B4-BE49-F238E27FC236}">
                  <a16:creationId xmlns:a16="http://schemas.microsoft.com/office/drawing/2014/main" id="{B09DC091-C323-334D-A0BB-5673B1C1C0E0}"/>
                </a:ext>
              </a:extLst>
            </p:cNvPr>
            <p:cNvSpPr/>
            <p:nvPr/>
          </p:nvSpPr>
          <p:spPr>
            <a:xfrm>
              <a:off x="11931972" y="5001209"/>
              <a:ext cx="937260" cy="1022350"/>
            </a:xfrm>
            <a:custGeom>
              <a:avLst/>
              <a:gdLst/>
              <a:ahLst/>
              <a:cxnLst/>
              <a:rect l="l" t="t" r="r" b="b"/>
              <a:pathLst>
                <a:path w="937259" h="1022350">
                  <a:moveTo>
                    <a:pt x="9321" y="0"/>
                  </a:moveTo>
                  <a:lnTo>
                    <a:pt x="6654" y="3276"/>
                  </a:lnTo>
                  <a:lnTo>
                    <a:pt x="3505" y="6159"/>
                  </a:lnTo>
                  <a:lnTo>
                    <a:pt x="0" y="8521"/>
                  </a:lnTo>
                  <a:lnTo>
                    <a:pt x="927569" y="1022337"/>
                  </a:lnTo>
                  <a:lnTo>
                    <a:pt x="930236" y="1019060"/>
                  </a:lnTo>
                  <a:lnTo>
                    <a:pt x="933373" y="1016190"/>
                  </a:lnTo>
                  <a:lnTo>
                    <a:pt x="936866" y="1013815"/>
                  </a:lnTo>
                  <a:lnTo>
                    <a:pt x="9321" y="0"/>
                  </a:lnTo>
                  <a:close/>
                </a:path>
              </a:pathLst>
            </a:custGeom>
            <a:solidFill>
              <a:srgbClr val="EF3D60">
                <a:alpha val="50999"/>
              </a:srgbClr>
            </a:solidFill>
          </p:spPr>
          <p:txBody>
            <a:bodyPr wrap="square" lIns="0" tIns="0" rIns="0" bIns="0" rtlCol="0"/>
            <a:lstStyle/>
            <a:p>
              <a:endParaRPr sz="2968"/>
            </a:p>
          </p:txBody>
        </p:sp>
        <p:sp>
          <p:nvSpPr>
            <p:cNvPr id="134" name="object 132">
              <a:extLst>
                <a:ext uri="{FF2B5EF4-FFF2-40B4-BE49-F238E27FC236}">
                  <a16:creationId xmlns:a16="http://schemas.microsoft.com/office/drawing/2014/main" id="{3D3AC7A4-B6BE-BF40-A2ED-6F25CF38DC67}"/>
                </a:ext>
              </a:extLst>
            </p:cNvPr>
            <p:cNvSpPr/>
            <p:nvPr/>
          </p:nvSpPr>
          <p:spPr>
            <a:xfrm>
              <a:off x="11943084" y="3664763"/>
              <a:ext cx="1609725" cy="1289050"/>
            </a:xfrm>
            <a:custGeom>
              <a:avLst/>
              <a:gdLst/>
              <a:ahLst/>
              <a:cxnLst/>
              <a:rect l="l" t="t" r="r" b="b"/>
              <a:pathLst>
                <a:path w="1609725" h="1289050">
                  <a:moveTo>
                    <a:pt x="1599323" y="0"/>
                  </a:moveTo>
                  <a:lnTo>
                    <a:pt x="46405" y="1233817"/>
                  </a:lnTo>
                  <a:lnTo>
                    <a:pt x="0" y="1283893"/>
                  </a:lnTo>
                  <a:lnTo>
                    <a:pt x="1066" y="1285405"/>
                  </a:lnTo>
                  <a:lnTo>
                    <a:pt x="2044" y="1287005"/>
                  </a:lnTo>
                  <a:lnTo>
                    <a:pt x="2933" y="1288656"/>
                  </a:lnTo>
                  <a:lnTo>
                    <a:pt x="1609166" y="12382"/>
                  </a:lnTo>
                  <a:lnTo>
                    <a:pt x="1605178" y="8902"/>
                  </a:lnTo>
                  <a:lnTo>
                    <a:pt x="1601825" y="4711"/>
                  </a:lnTo>
                  <a:lnTo>
                    <a:pt x="1599323" y="0"/>
                  </a:lnTo>
                  <a:close/>
                </a:path>
              </a:pathLst>
            </a:custGeom>
            <a:solidFill>
              <a:srgbClr val="EF3D60">
                <a:alpha val="50999"/>
              </a:srgbClr>
            </a:solidFill>
          </p:spPr>
          <p:txBody>
            <a:bodyPr wrap="square" lIns="0" tIns="0" rIns="0" bIns="0" rtlCol="0"/>
            <a:lstStyle/>
            <a:p>
              <a:endParaRPr sz="2968"/>
            </a:p>
          </p:txBody>
        </p:sp>
        <p:sp>
          <p:nvSpPr>
            <p:cNvPr id="135" name="object 133">
              <a:extLst>
                <a:ext uri="{FF2B5EF4-FFF2-40B4-BE49-F238E27FC236}">
                  <a16:creationId xmlns:a16="http://schemas.microsoft.com/office/drawing/2014/main" id="{204C6DA6-857F-E847-AB88-492A057A52E2}"/>
                </a:ext>
              </a:extLst>
            </p:cNvPr>
            <p:cNvSpPr/>
            <p:nvPr/>
          </p:nvSpPr>
          <p:spPr>
            <a:xfrm>
              <a:off x="11909164" y="2446649"/>
              <a:ext cx="503555" cy="2484120"/>
            </a:xfrm>
            <a:custGeom>
              <a:avLst/>
              <a:gdLst/>
              <a:ahLst/>
              <a:cxnLst/>
              <a:rect l="l" t="t" r="r" b="b"/>
              <a:pathLst>
                <a:path w="503554" h="2484120">
                  <a:moveTo>
                    <a:pt x="485571" y="0"/>
                  </a:moveTo>
                  <a:lnTo>
                    <a:pt x="0" y="2472105"/>
                  </a:lnTo>
                  <a:lnTo>
                    <a:pt x="1689" y="2483815"/>
                  </a:lnTo>
                  <a:lnTo>
                    <a:pt x="2400" y="2483866"/>
                  </a:lnTo>
                  <a:lnTo>
                    <a:pt x="3797" y="2484018"/>
                  </a:lnTo>
                  <a:lnTo>
                    <a:pt x="38633" y="2369731"/>
                  </a:lnTo>
                  <a:lnTo>
                    <a:pt x="503402" y="3505"/>
                  </a:lnTo>
                  <a:lnTo>
                    <a:pt x="496608" y="3505"/>
                  </a:lnTo>
                  <a:lnTo>
                    <a:pt x="490829" y="2260"/>
                  </a:lnTo>
                  <a:lnTo>
                    <a:pt x="485571" y="0"/>
                  </a:lnTo>
                  <a:close/>
                </a:path>
              </a:pathLst>
            </a:custGeom>
            <a:solidFill>
              <a:srgbClr val="EF3D60">
                <a:alpha val="50999"/>
              </a:srgbClr>
            </a:solidFill>
          </p:spPr>
          <p:txBody>
            <a:bodyPr wrap="square" lIns="0" tIns="0" rIns="0" bIns="0" rtlCol="0"/>
            <a:lstStyle/>
            <a:p>
              <a:endParaRPr sz="2968"/>
            </a:p>
          </p:txBody>
        </p:sp>
        <p:sp>
          <p:nvSpPr>
            <p:cNvPr id="136" name="object 134">
              <a:extLst>
                <a:ext uri="{FF2B5EF4-FFF2-40B4-BE49-F238E27FC236}">
                  <a16:creationId xmlns:a16="http://schemas.microsoft.com/office/drawing/2014/main" id="{7D025ADA-DD7C-F84B-AA59-627B1964A148}"/>
                </a:ext>
              </a:extLst>
            </p:cNvPr>
            <p:cNvSpPr/>
            <p:nvPr/>
          </p:nvSpPr>
          <p:spPr>
            <a:xfrm>
              <a:off x="11929972" y="3119381"/>
              <a:ext cx="1697355" cy="1829435"/>
            </a:xfrm>
            <a:custGeom>
              <a:avLst/>
              <a:gdLst/>
              <a:ahLst/>
              <a:cxnLst/>
              <a:rect l="l" t="t" r="r" b="b"/>
              <a:pathLst>
                <a:path w="1697355" h="1829435">
                  <a:moveTo>
                    <a:pt x="1684134" y="0"/>
                  </a:moveTo>
                  <a:lnTo>
                    <a:pt x="1439887" y="263537"/>
                  </a:lnTo>
                  <a:lnTo>
                    <a:pt x="1436010" y="272067"/>
                  </a:lnTo>
                  <a:lnTo>
                    <a:pt x="1430461" y="279492"/>
                  </a:lnTo>
                  <a:lnTo>
                    <a:pt x="1423478" y="285569"/>
                  </a:lnTo>
                  <a:lnTo>
                    <a:pt x="1415300" y="290055"/>
                  </a:lnTo>
                  <a:lnTo>
                    <a:pt x="0" y="1817128"/>
                  </a:lnTo>
                  <a:lnTo>
                    <a:pt x="5168" y="1820240"/>
                  </a:lnTo>
                  <a:lnTo>
                    <a:pt x="9639" y="1824380"/>
                  </a:lnTo>
                  <a:lnTo>
                    <a:pt x="13106" y="1829282"/>
                  </a:lnTo>
                  <a:lnTo>
                    <a:pt x="1697240" y="12166"/>
                  </a:lnTo>
                  <a:lnTo>
                    <a:pt x="1692071" y="9055"/>
                  </a:lnTo>
                  <a:lnTo>
                    <a:pt x="1687614" y="4902"/>
                  </a:lnTo>
                  <a:lnTo>
                    <a:pt x="1684134" y="0"/>
                  </a:lnTo>
                  <a:close/>
                </a:path>
              </a:pathLst>
            </a:custGeom>
            <a:solidFill>
              <a:srgbClr val="EF3D60">
                <a:alpha val="50999"/>
              </a:srgbClr>
            </a:solidFill>
          </p:spPr>
          <p:txBody>
            <a:bodyPr wrap="square" lIns="0" tIns="0" rIns="0" bIns="0" rtlCol="0"/>
            <a:lstStyle/>
            <a:p>
              <a:endParaRPr sz="2968"/>
            </a:p>
          </p:txBody>
        </p:sp>
        <p:sp>
          <p:nvSpPr>
            <p:cNvPr id="137" name="object 135">
              <a:extLst>
                <a:ext uri="{FF2B5EF4-FFF2-40B4-BE49-F238E27FC236}">
                  <a16:creationId xmlns:a16="http://schemas.microsoft.com/office/drawing/2014/main" id="{FE6D3CF5-9E45-604A-B884-F454C07B44F7}"/>
                </a:ext>
              </a:extLst>
            </p:cNvPr>
            <p:cNvSpPr/>
            <p:nvPr/>
          </p:nvSpPr>
          <p:spPr>
            <a:xfrm>
              <a:off x="11912955" y="3133035"/>
              <a:ext cx="562610" cy="1802130"/>
            </a:xfrm>
            <a:custGeom>
              <a:avLst/>
              <a:gdLst/>
              <a:ahLst/>
              <a:cxnLst/>
              <a:rect l="l" t="t" r="r" b="b"/>
              <a:pathLst>
                <a:path w="562609" h="1802129">
                  <a:moveTo>
                    <a:pt x="547979" y="0"/>
                  </a:moveTo>
                  <a:lnTo>
                    <a:pt x="0" y="1797621"/>
                  </a:lnTo>
                  <a:lnTo>
                    <a:pt x="5118" y="1798256"/>
                  </a:lnTo>
                  <a:lnTo>
                    <a:pt x="9944" y="1799755"/>
                  </a:lnTo>
                  <a:lnTo>
                    <a:pt x="14363" y="1802002"/>
                  </a:lnTo>
                  <a:lnTo>
                    <a:pt x="562356" y="4368"/>
                  </a:lnTo>
                  <a:lnTo>
                    <a:pt x="557237" y="3746"/>
                  </a:lnTo>
                  <a:lnTo>
                    <a:pt x="552386" y="2235"/>
                  </a:lnTo>
                  <a:lnTo>
                    <a:pt x="547979" y="0"/>
                  </a:lnTo>
                  <a:close/>
                </a:path>
              </a:pathLst>
            </a:custGeom>
            <a:solidFill>
              <a:srgbClr val="EF3D60">
                <a:alpha val="50999"/>
              </a:srgbClr>
            </a:solidFill>
          </p:spPr>
          <p:txBody>
            <a:bodyPr wrap="square" lIns="0" tIns="0" rIns="0" bIns="0" rtlCol="0"/>
            <a:lstStyle/>
            <a:p>
              <a:endParaRPr sz="2968"/>
            </a:p>
          </p:txBody>
        </p:sp>
        <p:sp>
          <p:nvSpPr>
            <p:cNvPr id="138" name="object 136">
              <a:extLst>
                <a:ext uri="{FF2B5EF4-FFF2-40B4-BE49-F238E27FC236}">
                  <a16:creationId xmlns:a16="http://schemas.microsoft.com/office/drawing/2014/main" id="{CE9A2049-C9C7-EF4B-AD50-0DA04D358C0D}"/>
                </a:ext>
              </a:extLst>
            </p:cNvPr>
            <p:cNvSpPr/>
            <p:nvPr/>
          </p:nvSpPr>
          <p:spPr>
            <a:xfrm>
              <a:off x="10707636" y="2988914"/>
              <a:ext cx="1184910" cy="1953260"/>
            </a:xfrm>
            <a:custGeom>
              <a:avLst/>
              <a:gdLst/>
              <a:ahLst/>
              <a:cxnLst/>
              <a:rect l="l" t="t" r="r" b="b"/>
              <a:pathLst>
                <a:path w="1184909" h="1953260">
                  <a:moveTo>
                    <a:pt x="14452" y="0"/>
                  </a:moveTo>
                  <a:lnTo>
                    <a:pt x="10287" y="3784"/>
                  </a:lnTo>
                  <a:lnTo>
                    <a:pt x="5397" y="6769"/>
                  </a:lnTo>
                  <a:lnTo>
                    <a:pt x="0" y="8724"/>
                  </a:lnTo>
                  <a:lnTo>
                    <a:pt x="1170774" y="1952739"/>
                  </a:lnTo>
                  <a:lnTo>
                    <a:pt x="1174813" y="1949069"/>
                  </a:lnTo>
                  <a:lnTo>
                    <a:pt x="1179537" y="1946148"/>
                  </a:lnTo>
                  <a:lnTo>
                    <a:pt x="1184732" y="1944192"/>
                  </a:lnTo>
                  <a:lnTo>
                    <a:pt x="1184541" y="1942858"/>
                  </a:lnTo>
                  <a:lnTo>
                    <a:pt x="14452" y="0"/>
                  </a:lnTo>
                  <a:close/>
                </a:path>
              </a:pathLst>
            </a:custGeom>
            <a:solidFill>
              <a:srgbClr val="EF3D60">
                <a:alpha val="50999"/>
              </a:srgbClr>
            </a:solidFill>
          </p:spPr>
          <p:txBody>
            <a:bodyPr wrap="square" lIns="0" tIns="0" rIns="0" bIns="0" rtlCol="0"/>
            <a:lstStyle/>
            <a:p>
              <a:endParaRPr sz="2968"/>
            </a:p>
          </p:txBody>
        </p:sp>
        <p:sp>
          <p:nvSpPr>
            <p:cNvPr id="139" name="object 137">
              <a:extLst>
                <a:ext uri="{FF2B5EF4-FFF2-40B4-BE49-F238E27FC236}">
                  <a16:creationId xmlns:a16="http://schemas.microsoft.com/office/drawing/2014/main" id="{846F1F6C-7316-FB40-9709-9B1412E009E3}"/>
                </a:ext>
              </a:extLst>
            </p:cNvPr>
            <p:cNvSpPr/>
            <p:nvPr/>
          </p:nvSpPr>
          <p:spPr>
            <a:xfrm>
              <a:off x="11514805" y="2309848"/>
              <a:ext cx="396240" cy="2623820"/>
            </a:xfrm>
            <a:custGeom>
              <a:avLst/>
              <a:gdLst/>
              <a:ahLst/>
              <a:cxnLst/>
              <a:rect l="l" t="t" r="r" b="b"/>
              <a:pathLst>
                <a:path w="396240" h="2623820">
                  <a:moveTo>
                    <a:pt x="304863" y="1987638"/>
                  </a:moveTo>
                  <a:lnTo>
                    <a:pt x="299758" y="1991614"/>
                  </a:lnTo>
                  <a:lnTo>
                    <a:pt x="293738" y="1994471"/>
                  </a:lnTo>
                  <a:lnTo>
                    <a:pt x="287172" y="1995855"/>
                  </a:lnTo>
                  <a:lnTo>
                    <a:pt x="377558" y="2623261"/>
                  </a:lnTo>
                  <a:lnTo>
                    <a:pt x="382308" y="2621470"/>
                  </a:lnTo>
                  <a:lnTo>
                    <a:pt x="387464" y="2620492"/>
                  </a:lnTo>
                  <a:lnTo>
                    <a:pt x="396033" y="2620492"/>
                  </a:lnTo>
                  <a:lnTo>
                    <a:pt x="304863" y="1987638"/>
                  </a:lnTo>
                  <a:close/>
                </a:path>
                <a:path w="396240" h="2623820">
                  <a:moveTo>
                    <a:pt x="396033" y="2620492"/>
                  </a:moveTo>
                  <a:lnTo>
                    <a:pt x="393928" y="2620492"/>
                  </a:lnTo>
                  <a:lnTo>
                    <a:pt x="394995" y="2620530"/>
                  </a:lnTo>
                  <a:lnTo>
                    <a:pt x="396049" y="2620606"/>
                  </a:lnTo>
                  <a:close/>
                </a:path>
                <a:path w="396240" h="2623820">
                  <a:moveTo>
                    <a:pt x="293662" y="1909940"/>
                  </a:moveTo>
                  <a:lnTo>
                    <a:pt x="283819" y="1909940"/>
                  </a:lnTo>
                  <a:lnTo>
                    <a:pt x="289178" y="1911007"/>
                  </a:lnTo>
                  <a:lnTo>
                    <a:pt x="294093" y="1912937"/>
                  </a:lnTo>
                  <a:lnTo>
                    <a:pt x="293662" y="1909940"/>
                  </a:lnTo>
                  <a:close/>
                </a:path>
                <a:path w="396240" h="2623820">
                  <a:moveTo>
                    <a:pt x="0" y="2654"/>
                  </a:moveTo>
                  <a:lnTo>
                    <a:pt x="273862" y="1903564"/>
                  </a:lnTo>
                  <a:lnTo>
                    <a:pt x="274815" y="1910067"/>
                  </a:lnTo>
                  <a:lnTo>
                    <a:pt x="275932" y="1909991"/>
                  </a:lnTo>
                  <a:lnTo>
                    <a:pt x="277063" y="1909940"/>
                  </a:lnTo>
                  <a:lnTo>
                    <a:pt x="293662" y="1909940"/>
                  </a:lnTo>
                  <a:lnTo>
                    <a:pt x="18902" y="2768"/>
                  </a:lnTo>
                  <a:lnTo>
                    <a:pt x="2108" y="2768"/>
                  </a:lnTo>
                  <a:lnTo>
                    <a:pt x="1054" y="2730"/>
                  </a:lnTo>
                  <a:lnTo>
                    <a:pt x="0" y="2654"/>
                  </a:lnTo>
                  <a:close/>
                </a:path>
                <a:path w="396240" h="2623820">
                  <a:moveTo>
                    <a:pt x="18503" y="0"/>
                  </a:moveTo>
                  <a:lnTo>
                    <a:pt x="13728" y="1790"/>
                  </a:lnTo>
                  <a:lnTo>
                    <a:pt x="8572" y="2768"/>
                  </a:lnTo>
                  <a:lnTo>
                    <a:pt x="18902" y="2768"/>
                  </a:lnTo>
                  <a:lnTo>
                    <a:pt x="18503" y="0"/>
                  </a:lnTo>
                  <a:close/>
                </a:path>
              </a:pathLst>
            </a:custGeom>
            <a:solidFill>
              <a:srgbClr val="EF3D60">
                <a:alpha val="50999"/>
              </a:srgbClr>
            </a:solidFill>
          </p:spPr>
          <p:txBody>
            <a:bodyPr wrap="square" lIns="0" tIns="0" rIns="0" bIns="0" rtlCol="0"/>
            <a:lstStyle/>
            <a:p>
              <a:endParaRPr sz="2968"/>
            </a:p>
          </p:txBody>
        </p:sp>
        <p:sp>
          <p:nvSpPr>
            <p:cNvPr id="140" name="object 138">
              <a:extLst>
                <a:ext uri="{FF2B5EF4-FFF2-40B4-BE49-F238E27FC236}">
                  <a16:creationId xmlns:a16="http://schemas.microsoft.com/office/drawing/2014/main" id="{F95ABDDD-A979-D146-A393-C3CAF85F9510}"/>
                </a:ext>
              </a:extLst>
            </p:cNvPr>
            <p:cNvSpPr/>
            <p:nvPr/>
          </p:nvSpPr>
          <p:spPr>
            <a:xfrm>
              <a:off x="10802766" y="4747482"/>
              <a:ext cx="1064260" cy="223520"/>
            </a:xfrm>
            <a:custGeom>
              <a:avLst/>
              <a:gdLst/>
              <a:ahLst/>
              <a:cxnLst/>
              <a:rect l="l" t="t" r="r" b="b"/>
              <a:pathLst>
                <a:path w="1064259" h="223520">
                  <a:moveTo>
                    <a:pt x="2197" y="0"/>
                  </a:moveTo>
                  <a:lnTo>
                    <a:pt x="1943" y="3822"/>
                  </a:lnTo>
                  <a:lnTo>
                    <a:pt x="1193" y="7518"/>
                  </a:lnTo>
                  <a:lnTo>
                    <a:pt x="0" y="11010"/>
                  </a:lnTo>
                  <a:lnTo>
                    <a:pt x="1061567" y="223342"/>
                  </a:lnTo>
                  <a:lnTo>
                    <a:pt x="1061821" y="219519"/>
                  </a:lnTo>
                  <a:lnTo>
                    <a:pt x="1062570" y="215823"/>
                  </a:lnTo>
                  <a:lnTo>
                    <a:pt x="1063752" y="212331"/>
                  </a:lnTo>
                  <a:lnTo>
                    <a:pt x="2197" y="0"/>
                  </a:lnTo>
                  <a:close/>
                </a:path>
              </a:pathLst>
            </a:custGeom>
            <a:solidFill>
              <a:srgbClr val="EF3D60">
                <a:alpha val="50999"/>
              </a:srgbClr>
            </a:solidFill>
          </p:spPr>
          <p:txBody>
            <a:bodyPr wrap="square" lIns="0" tIns="0" rIns="0" bIns="0" rtlCol="0"/>
            <a:lstStyle/>
            <a:p>
              <a:endParaRPr sz="2968"/>
            </a:p>
          </p:txBody>
        </p:sp>
        <p:sp>
          <p:nvSpPr>
            <p:cNvPr id="141" name="object 139">
              <a:extLst>
                <a:ext uri="{FF2B5EF4-FFF2-40B4-BE49-F238E27FC236}">
                  <a16:creationId xmlns:a16="http://schemas.microsoft.com/office/drawing/2014/main" id="{4023F09F-9659-A04F-B0B1-2E71A3576545}"/>
                </a:ext>
              </a:extLst>
            </p:cNvPr>
            <p:cNvSpPr/>
            <p:nvPr/>
          </p:nvSpPr>
          <p:spPr>
            <a:xfrm>
              <a:off x="404266" y="5297036"/>
              <a:ext cx="86855" cy="86829"/>
            </a:xfrm>
            <a:prstGeom prst="rect">
              <a:avLst/>
            </a:prstGeom>
            <a:blipFill>
              <a:blip r:embed="rId3" cstate="print"/>
              <a:stretch>
                <a:fillRect/>
              </a:stretch>
            </a:blipFill>
          </p:spPr>
          <p:txBody>
            <a:bodyPr wrap="square" lIns="0" tIns="0" rIns="0" bIns="0" rtlCol="0"/>
            <a:lstStyle/>
            <a:p>
              <a:endParaRPr sz="2968"/>
            </a:p>
          </p:txBody>
        </p:sp>
        <p:sp>
          <p:nvSpPr>
            <p:cNvPr id="142" name="object 140">
              <a:extLst>
                <a:ext uri="{FF2B5EF4-FFF2-40B4-BE49-F238E27FC236}">
                  <a16:creationId xmlns:a16="http://schemas.microsoft.com/office/drawing/2014/main" id="{92A24C4B-406C-174D-A462-25823AE06CE1}"/>
                </a:ext>
              </a:extLst>
            </p:cNvPr>
            <p:cNvSpPr/>
            <p:nvPr/>
          </p:nvSpPr>
          <p:spPr>
            <a:xfrm>
              <a:off x="1871206" y="5480423"/>
              <a:ext cx="86842" cy="86829"/>
            </a:xfrm>
            <a:prstGeom prst="rect">
              <a:avLst/>
            </a:prstGeom>
            <a:blipFill>
              <a:blip r:embed="rId4" cstate="print"/>
              <a:stretch>
                <a:fillRect/>
              </a:stretch>
            </a:blipFill>
          </p:spPr>
          <p:txBody>
            <a:bodyPr wrap="square" lIns="0" tIns="0" rIns="0" bIns="0" rtlCol="0"/>
            <a:lstStyle/>
            <a:p>
              <a:endParaRPr sz="2968"/>
            </a:p>
          </p:txBody>
        </p:sp>
        <p:sp>
          <p:nvSpPr>
            <p:cNvPr id="143" name="object 141">
              <a:extLst>
                <a:ext uri="{FF2B5EF4-FFF2-40B4-BE49-F238E27FC236}">
                  <a16:creationId xmlns:a16="http://schemas.microsoft.com/office/drawing/2014/main" id="{C771624B-1E36-2C4D-B31D-793B7FBC6A14}"/>
                </a:ext>
              </a:extLst>
            </p:cNvPr>
            <p:cNvSpPr/>
            <p:nvPr/>
          </p:nvSpPr>
          <p:spPr>
            <a:xfrm>
              <a:off x="771050" y="4563622"/>
              <a:ext cx="86842" cy="86829"/>
            </a:xfrm>
            <a:prstGeom prst="rect">
              <a:avLst/>
            </a:prstGeom>
            <a:blipFill>
              <a:blip r:embed="rId5" cstate="print"/>
              <a:stretch>
                <a:fillRect/>
              </a:stretch>
            </a:blipFill>
          </p:spPr>
          <p:txBody>
            <a:bodyPr wrap="square" lIns="0" tIns="0" rIns="0" bIns="0" rtlCol="0"/>
            <a:lstStyle/>
            <a:p>
              <a:endParaRPr sz="2968"/>
            </a:p>
          </p:txBody>
        </p:sp>
        <p:sp>
          <p:nvSpPr>
            <p:cNvPr id="144" name="object 142">
              <a:extLst>
                <a:ext uri="{FF2B5EF4-FFF2-40B4-BE49-F238E27FC236}">
                  <a16:creationId xmlns:a16="http://schemas.microsoft.com/office/drawing/2014/main" id="{49936E75-CDCE-224E-BC77-E4727748A3B8}"/>
                </a:ext>
              </a:extLst>
            </p:cNvPr>
            <p:cNvSpPr/>
            <p:nvPr/>
          </p:nvSpPr>
          <p:spPr>
            <a:xfrm>
              <a:off x="3292170" y="5572064"/>
              <a:ext cx="86842" cy="86829"/>
            </a:xfrm>
            <a:prstGeom prst="rect">
              <a:avLst/>
            </a:prstGeom>
            <a:blipFill>
              <a:blip r:embed="rId6" cstate="print"/>
              <a:stretch>
                <a:fillRect/>
              </a:stretch>
            </a:blipFill>
          </p:spPr>
          <p:txBody>
            <a:bodyPr wrap="square" lIns="0" tIns="0" rIns="0" bIns="0" rtlCol="0"/>
            <a:lstStyle/>
            <a:p>
              <a:endParaRPr sz="2968"/>
            </a:p>
          </p:txBody>
        </p:sp>
        <p:sp>
          <p:nvSpPr>
            <p:cNvPr id="145" name="object 143">
              <a:extLst>
                <a:ext uri="{FF2B5EF4-FFF2-40B4-BE49-F238E27FC236}">
                  <a16:creationId xmlns:a16="http://schemas.microsoft.com/office/drawing/2014/main" id="{E53DF25D-ECC2-8043-8344-30D487A93740}"/>
                </a:ext>
              </a:extLst>
            </p:cNvPr>
            <p:cNvSpPr/>
            <p:nvPr/>
          </p:nvSpPr>
          <p:spPr>
            <a:xfrm>
              <a:off x="4621539" y="3371794"/>
              <a:ext cx="86842" cy="86829"/>
            </a:xfrm>
            <a:prstGeom prst="rect">
              <a:avLst/>
            </a:prstGeom>
            <a:blipFill>
              <a:blip r:embed="rId7" cstate="print"/>
              <a:stretch>
                <a:fillRect/>
              </a:stretch>
            </a:blipFill>
          </p:spPr>
          <p:txBody>
            <a:bodyPr wrap="square" lIns="0" tIns="0" rIns="0" bIns="0" rtlCol="0"/>
            <a:lstStyle/>
            <a:p>
              <a:endParaRPr sz="2968"/>
            </a:p>
          </p:txBody>
        </p:sp>
        <p:sp>
          <p:nvSpPr>
            <p:cNvPr id="146" name="object 144">
              <a:extLst>
                <a:ext uri="{FF2B5EF4-FFF2-40B4-BE49-F238E27FC236}">
                  <a16:creationId xmlns:a16="http://schemas.microsoft.com/office/drawing/2014/main" id="{23593EB5-8751-324A-97C9-8877287CAAF8}"/>
                </a:ext>
              </a:extLst>
            </p:cNvPr>
            <p:cNvSpPr/>
            <p:nvPr/>
          </p:nvSpPr>
          <p:spPr>
            <a:xfrm>
              <a:off x="3383864" y="4426083"/>
              <a:ext cx="86842" cy="86829"/>
            </a:xfrm>
            <a:prstGeom prst="rect">
              <a:avLst/>
            </a:prstGeom>
            <a:blipFill>
              <a:blip r:embed="rId8" cstate="print"/>
              <a:stretch>
                <a:fillRect/>
              </a:stretch>
            </a:blipFill>
          </p:spPr>
          <p:txBody>
            <a:bodyPr wrap="square" lIns="0" tIns="0" rIns="0" bIns="0" rtlCol="0"/>
            <a:lstStyle/>
            <a:p>
              <a:endParaRPr sz="2968"/>
            </a:p>
          </p:txBody>
        </p:sp>
        <p:sp>
          <p:nvSpPr>
            <p:cNvPr id="147" name="object 145">
              <a:extLst>
                <a:ext uri="{FF2B5EF4-FFF2-40B4-BE49-F238E27FC236}">
                  <a16:creationId xmlns:a16="http://schemas.microsoft.com/office/drawing/2014/main" id="{39841799-B685-EB41-8F4D-305517E45EE4}"/>
                </a:ext>
              </a:extLst>
            </p:cNvPr>
            <p:cNvSpPr/>
            <p:nvPr/>
          </p:nvSpPr>
          <p:spPr>
            <a:xfrm>
              <a:off x="2192088" y="4426083"/>
              <a:ext cx="86842" cy="86829"/>
            </a:xfrm>
            <a:prstGeom prst="rect">
              <a:avLst/>
            </a:prstGeom>
            <a:blipFill>
              <a:blip r:embed="rId9" cstate="print"/>
              <a:stretch>
                <a:fillRect/>
              </a:stretch>
            </a:blipFill>
          </p:spPr>
          <p:txBody>
            <a:bodyPr wrap="square" lIns="0" tIns="0" rIns="0" bIns="0" rtlCol="0"/>
            <a:lstStyle/>
            <a:p>
              <a:endParaRPr sz="2968"/>
            </a:p>
          </p:txBody>
        </p:sp>
        <p:sp>
          <p:nvSpPr>
            <p:cNvPr id="148" name="object 146">
              <a:extLst>
                <a:ext uri="{FF2B5EF4-FFF2-40B4-BE49-F238E27FC236}">
                  <a16:creationId xmlns:a16="http://schemas.microsoft.com/office/drawing/2014/main" id="{92AEDBEE-070E-304F-8048-AA16796F0EA7}"/>
                </a:ext>
              </a:extLst>
            </p:cNvPr>
            <p:cNvSpPr/>
            <p:nvPr/>
          </p:nvSpPr>
          <p:spPr>
            <a:xfrm>
              <a:off x="4621539" y="5572064"/>
              <a:ext cx="86842" cy="86829"/>
            </a:xfrm>
            <a:prstGeom prst="rect">
              <a:avLst/>
            </a:prstGeom>
            <a:blipFill>
              <a:blip r:embed="rId10" cstate="print"/>
              <a:stretch>
                <a:fillRect/>
              </a:stretch>
            </a:blipFill>
          </p:spPr>
          <p:txBody>
            <a:bodyPr wrap="square" lIns="0" tIns="0" rIns="0" bIns="0" rtlCol="0"/>
            <a:lstStyle/>
            <a:p>
              <a:endParaRPr sz="2968"/>
            </a:p>
          </p:txBody>
        </p:sp>
        <p:sp>
          <p:nvSpPr>
            <p:cNvPr id="149" name="object 147">
              <a:extLst>
                <a:ext uri="{FF2B5EF4-FFF2-40B4-BE49-F238E27FC236}">
                  <a16:creationId xmlns:a16="http://schemas.microsoft.com/office/drawing/2014/main" id="{AC7AF37A-A32F-6D48-B9D4-6398A0AF5326}"/>
                </a:ext>
              </a:extLst>
            </p:cNvPr>
            <p:cNvSpPr/>
            <p:nvPr/>
          </p:nvSpPr>
          <p:spPr>
            <a:xfrm>
              <a:off x="4438181" y="4288567"/>
              <a:ext cx="86855" cy="86829"/>
            </a:xfrm>
            <a:prstGeom prst="rect">
              <a:avLst/>
            </a:prstGeom>
            <a:blipFill>
              <a:blip r:embed="rId5" cstate="print"/>
              <a:stretch>
                <a:fillRect/>
              </a:stretch>
            </a:blipFill>
          </p:spPr>
          <p:txBody>
            <a:bodyPr wrap="square" lIns="0" tIns="0" rIns="0" bIns="0" rtlCol="0"/>
            <a:lstStyle/>
            <a:p>
              <a:endParaRPr sz="2968"/>
            </a:p>
          </p:txBody>
        </p:sp>
        <p:sp>
          <p:nvSpPr>
            <p:cNvPr id="150" name="object 148">
              <a:extLst>
                <a:ext uri="{FF2B5EF4-FFF2-40B4-BE49-F238E27FC236}">
                  <a16:creationId xmlns:a16="http://schemas.microsoft.com/office/drawing/2014/main" id="{2E52238F-EDB0-6D49-B694-CD8FB24CB70A}"/>
                </a:ext>
              </a:extLst>
            </p:cNvPr>
            <p:cNvSpPr/>
            <p:nvPr/>
          </p:nvSpPr>
          <p:spPr>
            <a:xfrm>
              <a:off x="4300688" y="3967669"/>
              <a:ext cx="86842" cy="86829"/>
            </a:xfrm>
            <a:prstGeom prst="rect">
              <a:avLst/>
            </a:prstGeom>
            <a:blipFill>
              <a:blip r:embed="rId11" cstate="print"/>
              <a:stretch>
                <a:fillRect/>
              </a:stretch>
            </a:blipFill>
          </p:spPr>
          <p:txBody>
            <a:bodyPr wrap="square" lIns="0" tIns="0" rIns="0" bIns="0" rtlCol="0"/>
            <a:lstStyle/>
            <a:p>
              <a:endParaRPr sz="2968"/>
            </a:p>
          </p:txBody>
        </p:sp>
        <p:sp>
          <p:nvSpPr>
            <p:cNvPr id="151" name="object 149">
              <a:extLst>
                <a:ext uri="{FF2B5EF4-FFF2-40B4-BE49-F238E27FC236}">
                  <a16:creationId xmlns:a16="http://schemas.microsoft.com/office/drawing/2014/main" id="{7AA1BCB2-3CB1-C24E-9974-5C805A7C33C6}"/>
                </a:ext>
              </a:extLst>
            </p:cNvPr>
            <p:cNvSpPr/>
            <p:nvPr/>
          </p:nvSpPr>
          <p:spPr>
            <a:xfrm>
              <a:off x="6455115" y="5572064"/>
              <a:ext cx="86842" cy="86829"/>
            </a:xfrm>
            <a:prstGeom prst="rect">
              <a:avLst/>
            </a:prstGeom>
            <a:blipFill>
              <a:blip r:embed="rId12" cstate="print"/>
              <a:stretch>
                <a:fillRect/>
              </a:stretch>
            </a:blipFill>
          </p:spPr>
          <p:txBody>
            <a:bodyPr wrap="square" lIns="0" tIns="0" rIns="0" bIns="0" rtlCol="0"/>
            <a:lstStyle/>
            <a:p>
              <a:endParaRPr sz="2968"/>
            </a:p>
          </p:txBody>
        </p:sp>
        <p:sp>
          <p:nvSpPr>
            <p:cNvPr id="152" name="object 150">
              <a:extLst>
                <a:ext uri="{FF2B5EF4-FFF2-40B4-BE49-F238E27FC236}">
                  <a16:creationId xmlns:a16="http://schemas.microsoft.com/office/drawing/2014/main" id="{1352DFD0-C6E9-D74D-B7E6-51F82FD307DD}"/>
                </a:ext>
              </a:extLst>
            </p:cNvPr>
            <p:cNvSpPr/>
            <p:nvPr/>
          </p:nvSpPr>
          <p:spPr>
            <a:xfrm>
              <a:off x="6776041" y="5113680"/>
              <a:ext cx="86855" cy="86829"/>
            </a:xfrm>
            <a:prstGeom prst="rect">
              <a:avLst/>
            </a:prstGeom>
            <a:blipFill>
              <a:blip r:embed="rId13" cstate="print"/>
              <a:stretch>
                <a:fillRect/>
              </a:stretch>
            </a:blipFill>
          </p:spPr>
          <p:txBody>
            <a:bodyPr wrap="square" lIns="0" tIns="0" rIns="0" bIns="0" rtlCol="0"/>
            <a:lstStyle/>
            <a:p>
              <a:endParaRPr sz="2968"/>
            </a:p>
          </p:txBody>
        </p:sp>
        <p:sp>
          <p:nvSpPr>
            <p:cNvPr id="153" name="object 151">
              <a:extLst>
                <a:ext uri="{FF2B5EF4-FFF2-40B4-BE49-F238E27FC236}">
                  <a16:creationId xmlns:a16="http://schemas.microsoft.com/office/drawing/2014/main" id="{45DBF576-EFE7-584A-9AD9-FA938A393DBC}"/>
                </a:ext>
              </a:extLst>
            </p:cNvPr>
            <p:cNvSpPr/>
            <p:nvPr/>
          </p:nvSpPr>
          <p:spPr>
            <a:xfrm>
              <a:off x="5446699" y="4151030"/>
              <a:ext cx="86842" cy="86829"/>
            </a:xfrm>
            <a:prstGeom prst="rect">
              <a:avLst/>
            </a:prstGeom>
            <a:blipFill>
              <a:blip r:embed="rId14" cstate="print"/>
              <a:stretch>
                <a:fillRect/>
              </a:stretch>
            </a:blipFill>
          </p:spPr>
          <p:txBody>
            <a:bodyPr wrap="square" lIns="0" tIns="0" rIns="0" bIns="0" rtlCol="0"/>
            <a:lstStyle/>
            <a:p>
              <a:endParaRPr sz="2968"/>
            </a:p>
          </p:txBody>
        </p:sp>
        <p:sp>
          <p:nvSpPr>
            <p:cNvPr id="154" name="object 152">
              <a:extLst>
                <a:ext uri="{FF2B5EF4-FFF2-40B4-BE49-F238E27FC236}">
                  <a16:creationId xmlns:a16="http://schemas.microsoft.com/office/drawing/2014/main" id="{3BE204FC-6419-364F-945D-C1B6BC42BED3}"/>
                </a:ext>
              </a:extLst>
            </p:cNvPr>
            <p:cNvSpPr/>
            <p:nvPr/>
          </p:nvSpPr>
          <p:spPr>
            <a:xfrm>
              <a:off x="6867662" y="4059340"/>
              <a:ext cx="86842" cy="86829"/>
            </a:xfrm>
            <a:prstGeom prst="rect">
              <a:avLst/>
            </a:prstGeom>
            <a:blipFill>
              <a:blip r:embed="rId5" cstate="print"/>
              <a:stretch>
                <a:fillRect/>
              </a:stretch>
            </a:blipFill>
          </p:spPr>
          <p:txBody>
            <a:bodyPr wrap="square" lIns="0" tIns="0" rIns="0" bIns="0" rtlCol="0"/>
            <a:lstStyle/>
            <a:p>
              <a:endParaRPr sz="2968"/>
            </a:p>
          </p:txBody>
        </p:sp>
        <p:sp>
          <p:nvSpPr>
            <p:cNvPr id="155" name="object 153">
              <a:extLst>
                <a:ext uri="{FF2B5EF4-FFF2-40B4-BE49-F238E27FC236}">
                  <a16:creationId xmlns:a16="http://schemas.microsoft.com/office/drawing/2014/main" id="{63AB7D36-FB04-FE42-938C-66B028AC0FC5}"/>
                </a:ext>
              </a:extLst>
            </p:cNvPr>
            <p:cNvSpPr/>
            <p:nvPr/>
          </p:nvSpPr>
          <p:spPr>
            <a:xfrm>
              <a:off x="5675805" y="4196852"/>
              <a:ext cx="86842" cy="86829"/>
            </a:xfrm>
            <a:prstGeom prst="rect">
              <a:avLst/>
            </a:prstGeom>
            <a:blipFill>
              <a:blip r:embed="rId5" cstate="print"/>
              <a:stretch>
                <a:fillRect/>
              </a:stretch>
            </a:blipFill>
          </p:spPr>
          <p:txBody>
            <a:bodyPr wrap="square" lIns="0" tIns="0" rIns="0" bIns="0" rtlCol="0"/>
            <a:lstStyle/>
            <a:p>
              <a:endParaRPr sz="2968"/>
            </a:p>
          </p:txBody>
        </p:sp>
        <p:sp>
          <p:nvSpPr>
            <p:cNvPr id="156" name="object 154">
              <a:extLst>
                <a:ext uri="{FF2B5EF4-FFF2-40B4-BE49-F238E27FC236}">
                  <a16:creationId xmlns:a16="http://schemas.microsoft.com/office/drawing/2014/main" id="{3DEFD01B-6507-AB49-A1F9-67149B247FB4}"/>
                </a:ext>
              </a:extLst>
            </p:cNvPr>
            <p:cNvSpPr/>
            <p:nvPr/>
          </p:nvSpPr>
          <p:spPr>
            <a:xfrm>
              <a:off x="7784486" y="5434552"/>
              <a:ext cx="86842" cy="86829"/>
            </a:xfrm>
            <a:prstGeom prst="rect">
              <a:avLst/>
            </a:prstGeom>
            <a:blipFill>
              <a:blip r:embed="rId15" cstate="print"/>
              <a:stretch>
                <a:fillRect/>
              </a:stretch>
            </a:blipFill>
          </p:spPr>
          <p:txBody>
            <a:bodyPr wrap="square" lIns="0" tIns="0" rIns="0" bIns="0" rtlCol="0"/>
            <a:lstStyle/>
            <a:p>
              <a:endParaRPr sz="2968"/>
            </a:p>
          </p:txBody>
        </p:sp>
        <p:sp>
          <p:nvSpPr>
            <p:cNvPr id="157" name="object 155">
              <a:extLst>
                <a:ext uri="{FF2B5EF4-FFF2-40B4-BE49-F238E27FC236}">
                  <a16:creationId xmlns:a16="http://schemas.microsoft.com/office/drawing/2014/main" id="{3B0E0D49-07F4-404B-A979-599D7AF2369F}"/>
                </a:ext>
              </a:extLst>
            </p:cNvPr>
            <p:cNvSpPr/>
            <p:nvPr/>
          </p:nvSpPr>
          <p:spPr>
            <a:xfrm>
              <a:off x="8059511" y="5892963"/>
              <a:ext cx="86842" cy="86829"/>
            </a:xfrm>
            <a:prstGeom prst="rect">
              <a:avLst/>
            </a:prstGeom>
            <a:blipFill>
              <a:blip r:embed="rId16" cstate="print"/>
              <a:stretch>
                <a:fillRect/>
              </a:stretch>
            </a:blipFill>
          </p:spPr>
          <p:txBody>
            <a:bodyPr wrap="square" lIns="0" tIns="0" rIns="0" bIns="0" rtlCol="0"/>
            <a:lstStyle/>
            <a:p>
              <a:endParaRPr sz="2968"/>
            </a:p>
          </p:txBody>
        </p:sp>
        <p:sp>
          <p:nvSpPr>
            <p:cNvPr id="158" name="object 156">
              <a:extLst>
                <a:ext uri="{FF2B5EF4-FFF2-40B4-BE49-F238E27FC236}">
                  <a16:creationId xmlns:a16="http://schemas.microsoft.com/office/drawing/2014/main" id="{28C9ADB6-E938-384E-B543-B13628A64F21}"/>
                </a:ext>
              </a:extLst>
            </p:cNvPr>
            <p:cNvSpPr/>
            <p:nvPr/>
          </p:nvSpPr>
          <p:spPr>
            <a:xfrm>
              <a:off x="7967819" y="3967669"/>
              <a:ext cx="86842" cy="86829"/>
            </a:xfrm>
            <a:prstGeom prst="rect">
              <a:avLst/>
            </a:prstGeom>
            <a:blipFill>
              <a:blip r:embed="rId5" cstate="print"/>
              <a:stretch>
                <a:fillRect/>
              </a:stretch>
            </a:blipFill>
          </p:spPr>
          <p:txBody>
            <a:bodyPr wrap="square" lIns="0" tIns="0" rIns="0" bIns="0" rtlCol="0"/>
            <a:lstStyle/>
            <a:p>
              <a:endParaRPr sz="2968"/>
            </a:p>
          </p:txBody>
        </p:sp>
        <p:sp>
          <p:nvSpPr>
            <p:cNvPr id="159" name="object 157">
              <a:extLst>
                <a:ext uri="{FF2B5EF4-FFF2-40B4-BE49-F238E27FC236}">
                  <a16:creationId xmlns:a16="http://schemas.microsoft.com/office/drawing/2014/main" id="{A6BEFEC3-860E-2541-A541-C074D98558CE}"/>
                </a:ext>
              </a:extLst>
            </p:cNvPr>
            <p:cNvSpPr/>
            <p:nvPr/>
          </p:nvSpPr>
          <p:spPr>
            <a:xfrm>
              <a:off x="9480547" y="2500815"/>
              <a:ext cx="86842" cy="86829"/>
            </a:xfrm>
            <a:prstGeom prst="rect">
              <a:avLst/>
            </a:prstGeom>
            <a:blipFill>
              <a:blip r:embed="rId17" cstate="print"/>
              <a:stretch>
                <a:fillRect/>
              </a:stretch>
            </a:blipFill>
          </p:spPr>
          <p:txBody>
            <a:bodyPr wrap="square" lIns="0" tIns="0" rIns="0" bIns="0" rtlCol="0"/>
            <a:lstStyle/>
            <a:p>
              <a:endParaRPr sz="2968"/>
            </a:p>
          </p:txBody>
        </p:sp>
        <p:sp>
          <p:nvSpPr>
            <p:cNvPr id="160" name="object 158">
              <a:extLst>
                <a:ext uri="{FF2B5EF4-FFF2-40B4-BE49-F238E27FC236}">
                  <a16:creationId xmlns:a16="http://schemas.microsoft.com/office/drawing/2014/main" id="{2D222E04-6A27-7949-AABC-B530F9E62F83}"/>
                </a:ext>
              </a:extLst>
            </p:cNvPr>
            <p:cNvSpPr/>
            <p:nvPr/>
          </p:nvSpPr>
          <p:spPr>
            <a:xfrm>
              <a:off x="8586679" y="2844623"/>
              <a:ext cx="86842" cy="86855"/>
            </a:xfrm>
            <a:prstGeom prst="rect">
              <a:avLst/>
            </a:prstGeom>
            <a:blipFill>
              <a:blip r:embed="rId8" cstate="print"/>
              <a:stretch>
                <a:fillRect/>
              </a:stretch>
            </a:blipFill>
          </p:spPr>
          <p:txBody>
            <a:bodyPr wrap="square" lIns="0" tIns="0" rIns="0" bIns="0" rtlCol="0"/>
            <a:lstStyle/>
            <a:p>
              <a:endParaRPr sz="2968"/>
            </a:p>
          </p:txBody>
        </p:sp>
        <p:sp>
          <p:nvSpPr>
            <p:cNvPr id="161" name="object 159">
              <a:extLst>
                <a:ext uri="{FF2B5EF4-FFF2-40B4-BE49-F238E27FC236}">
                  <a16:creationId xmlns:a16="http://schemas.microsoft.com/office/drawing/2014/main" id="{01409612-F2E9-9F44-B30A-C8CC99CCB4CC}"/>
                </a:ext>
              </a:extLst>
            </p:cNvPr>
            <p:cNvSpPr/>
            <p:nvPr/>
          </p:nvSpPr>
          <p:spPr>
            <a:xfrm>
              <a:off x="9297188" y="6351327"/>
              <a:ext cx="86842" cy="86829"/>
            </a:xfrm>
            <a:prstGeom prst="rect">
              <a:avLst/>
            </a:prstGeom>
            <a:blipFill>
              <a:blip r:embed="rId18" cstate="print"/>
              <a:stretch>
                <a:fillRect/>
              </a:stretch>
            </a:blipFill>
          </p:spPr>
          <p:txBody>
            <a:bodyPr wrap="square" lIns="0" tIns="0" rIns="0" bIns="0" rtlCol="0"/>
            <a:lstStyle/>
            <a:p>
              <a:endParaRPr sz="2968"/>
            </a:p>
          </p:txBody>
        </p:sp>
        <p:sp>
          <p:nvSpPr>
            <p:cNvPr id="162" name="object 160">
              <a:extLst>
                <a:ext uri="{FF2B5EF4-FFF2-40B4-BE49-F238E27FC236}">
                  <a16:creationId xmlns:a16="http://schemas.microsoft.com/office/drawing/2014/main" id="{3A89ABBB-7302-2B4F-A971-A2241EB61362}"/>
                </a:ext>
              </a:extLst>
            </p:cNvPr>
            <p:cNvSpPr/>
            <p:nvPr/>
          </p:nvSpPr>
          <p:spPr>
            <a:xfrm>
              <a:off x="9297188" y="3738511"/>
              <a:ext cx="86842" cy="86829"/>
            </a:xfrm>
            <a:prstGeom prst="rect">
              <a:avLst/>
            </a:prstGeom>
            <a:blipFill>
              <a:blip r:embed="rId5" cstate="print"/>
              <a:stretch>
                <a:fillRect/>
              </a:stretch>
            </a:blipFill>
          </p:spPr>
          <p:txBody>
            <a:bodyPr wrap="square" lIns="0" tIns="0" rIns="0" bIns="0" rtlCol="0"/>
            <a:lstStyle/>
            <a:p>
              <a:endParaRPr sz="2968"/>
            </a:p>
          </p:txBody>
        </p:sp>
        <p:sp>
          <p:nvSpPr>
            <p:cNvPr id="163" name="object 161">
              <a:extLst>
                <a:ext uri="{FF2B5EF4-FFF2-40B4-BE49-F238E27FC236}">
                  <a16:creationId xmlns:a16="http://schemas.microsoft.com/office/drawing/2014/main" id="{F3E31A3B-7198-2647-A7AB-09DDA6ED58B3}"/>
                </a:ext>
              </a:extLst>
            </p:cNvPr>
            <p:cNvSpPr/>
            <p:nvPr/>
          </p:nvSpPr>
          <p:spPr>
            <a:xfrm>
              <a:off x="9022166" y="3967669"/>
              <a:ext cx="86829" cy="86829"/>
            </a:xfrm>
            <a:prstGeom prst="rect">
              <a:avLst/>
            </a:prstGeom>
            <a:blipFill>
              <a:blip r:embed="rId19" cstate="print"/>
              <a:stretch>
                <a:fillRect/>
              </a:stretch>
            </a:blipFill>
          </p:spPr>
          <p:txBody>
            <a:bodyPr wrap="square" lIns="0" tIns="0" rIns="0" bIns="0" rtlCol="0"/>
            <a:lstStyle/>
            <a:p>
              <a:endParaRPr sz="2968"/>
            </a:p>
          </p:txBody>
        </p:sp>
        <p:sp>
          <p:nvSpPr>
            <p:cNvPr id="164" name="object 162">
              <a:extLst>
                <a:ext uri="{FF2B5EF4-FFF2-40B4-BE49-F238E27FC236}">
                  <a16:creationId xmlns:a16="http://schemas.microsoft.com/office/drawing/2014/main" id="{7D8F6708-416E-9B46-81D1-6D80B1E8CCAA}"/>
                </a:ext>
              </a:extLst>
            </p:cNvPr>
            <p:cNvSpPr/>
            <p:nvPr/>
          </p:nvSpPr>
          <p:spPr>
            <a:xfrm>
              <a:off x="8861686" y="6488843"/>
              <a:ext cx="86842" cy="86829"/>
            </a:xfrm>
            <a:prstGeom prst="rect">
              <a:avLst/>
            </a:prstGeom>
            <a:blipFill>
              <a:blip r:embed="rId20" cstate="print"/>
              <a:stretch>
                <a:fillRect/>
              </a:stretch>
            </a:blipFill>
          </p:spPr>
          <p:txBody>
            <a:bodyPr wrap="square" lIns="0" tIns="0" rIns="0" bIns="0" rtlCol="0"/>
            <a:lstStyle/>
            <a:p>
              <a:endParaRPr sz="2968"/>
            </a:p>
          </p:txBody>
        </p:sp>
        <p:sp>
          <p:nvSpPr>
            <p:cNvPr id="165" name="object 163">
              <a:extLst>
                <a:ext uri="{FF2B5EF4-FFF2-40B4-BE49-F238E27FC236}">
                  <a16:creationId xmlns:a16="http://schemas.microsoft.com/office/drawing/2014/main" id="{33D95EE2-5BD7-6B48-8CC7-4A553E7E4B80}"/>
                </a:ext>
              </a:extLst>
            </p:cNvPr>
            <p:cNvSpPr/>
            <p:nvPr/>
          </p:nvSpPr>
          <p:spPr>
            <a:xfrm>
              <a:off x="8036555" y="5251191"/>
              <a:ext cx="86842" cy="86829"/>
            </a:xfrm>
            <a:prstGeom prst="rect">
              <a:avLst/>
            </a:prstGeom>
            <a:blipFill>
              <a:blip r:embed="rId21" cstate="print"/>
              <a:stretch>
                <a:fillRect/>
              </a:stretch>
            </a:blipFill>
          </p:spPr>
          <p:txBody>
            <a:bodyPr wrap="square" lIns="0" tIns="0" rIns="0" bIns="0" rtlCol="0"/>
            <a:lstStyle/>
            <a:p>
              <a:endParaRPr sz="2968"/>
            </a:p>
          </p:txBody>
        </p:sp>
        <p:sp>
          <p:nvSpPr>
            <p:cNvPr id="166" name="object 164">
              <a:extLst>
                <a:ext uri="{FF2B5EF4-FFF2-40B4-BE49-F238E27FC236}">
                  <a16:creationId xmlns:a16="http://schemas.microsoft.com/office/drawing/2014/main" id="{2C9E5CFC-58EB-1543-82C5-DED2B92F3AC6}"/>
                </a:ext>
              </a:extLst>
            </p:cNvPr>
            <p:cNvSpPr/>
            <p:nvPr/>
          </p:nvSpPr>
          <p:spPr>
            <a:xfrm>
              <a:off x="8036555" y="4838646"/>
              <a:ext cx="86842" cy="86829"/>
            </a:xfrm>
            <a:prstGeom prst="rect">
              <a:avLst/>
            </a:prstGeom>
            <a:blipFill>
              <a:blip r:embed="rId22" cstate="print"/>
              <a:stretch>
                <a:fillRect/>
              </a:stretch>
            </a:blipFill>
          </p:spPr>
          <p:txBody>
            <a:bodyPr wrap="square" lIns="0" tIns="0" rIns="0" bIns="0" rtlCol="0"/>
            <a:lstStyle/>
            <a:p>
              <a:endParaRPr sz="2968"/>
            </a:p>
          </p:txBody>
        </p:sp>
        <p:sp>
          <p:nvSpPr>
            <p:cNvPr id="167" name="object 165">
              <a:extLst>
                <a:ext uri="{FF2B5EF4-FFF2-40B4-BE49-F238E27FC236}">
                  <a16:creationId xmlns:a16="http://schemas.microsoft.com/office/drawing/2014/main" id="{09725869-73A3-9B4A-9CED-AA900FE22FF5}"/>
                </a:ext>
              </a:extLst>
            </p:cNvPr>
            <p:cNvSpPr/>
            <p:nvPr/>
          </p:nvSpPr>
          <p:spPr>
            <a:xfrm>
              <a:off x="8174141" y="4701136"/>
              <a:ext cx="86842" cy="86829"/>
            </a:xfrm>
            <a:prstGeom prst="rect">
              <a:avLst/>
            </a:prstGeom>
            <a:blipFill>
              <a:blip r:embed="rId23" cstate="print"/>
              <a:stretch>
                <a:fillRect/>
              </a:stretch>
            </a:blipFill>
          </p:spPr>
          <p:txBody>
            <a:bodyPr wrap="square" lIns="0" tIns="0" rIns="0" bIns="0" rtlCol="0"/>
            <a:lstStyle/>
            <a:p>
              <a:endParaRPr sz="2968"/>
            </a:p>
          </p:txBody>
        </p:sp>
        <p:sp>
          <p:nvSpPr>
            <p:cNvPr id="168" name="object 166">
              <a:extLst>
                <a:ext uri="{FF2B5EF4-FFF2-40B4-BE49-F238E27FC236}">
                  <a16:creationId xmlns:a16="http://schemas.microsoft.com/office/drawing/2014/main" id="{3F0A50C9-04F3-824C-8B5F-3491C0C39302}"/>
                </a:ext>
              </a:extLst>
            </p:cNvPr>
            <p:cNvSpPr/>
            <p:nvPr/>
          </p:nvSpPr>
          <p:spPr>
            <a:xfrm>
              <a:off x="8655462" y="5251191"/>
              <a:ext cx="86842" cy="86829"/>
            </a:xfrm>
            <a:prstGeom prst="rect">
              <a:avLst/>
            </a:prstGeom>
            <a:blipFill>
              <a:blip r:embed="rId24" cstate="print"/>
              <a:stretch>
                <a:fillRect/>
              </a:stretch>
            </a:blipFill>
          </p:spPr>
          <p:txBody>
            <a:bodyPr wrap="square" lIns="0" tIns="0" rIns="0" bIns="0" rtlCol="0"/>
            <a:lstStyle/>
            <a:p>
              <a:endParaRPr sz="2968"/>
            </a:p>
          </p:txBody>
        </p:sp>
        <p:sp>
          <p:nvSpPr>
            <p:cNvPr id="169" name="object 167">
              <a:extLst>
                <a:ext uri="{FF2B5EF4-FFF2-40B4-BE49-F238E27FC236}">
                  <a16:creationId xmlns:a16="http://schemas.microsoft.com/office/drawing/2014/main" id="{AA7885E8-8C5D-0B48-8DE8-2FA02802F4F3}"/>
                </a:ext>
              </a:extLst>
            </p:cNvPr>
            <p:cNvSpPr/>
            <p:nvPr/>
          </p:nvSpPr>
          <p:spPr>
            <a:xfrm>
              <a:off x="9755571" y="6970163"/>
              <a:ext cx="155627" cy="155637"/>
            </a:xfrm>
            <a:prstGeom prst="rect">
              <a:avLst/>
            </a:prstGeom>
            <a:blipFill>
              <a:blip r:embed="rId25" cstate="print"/>
              <a:stretch>
                <a:fillRect/>
              </a:stretch>
            </a:blipFill>
          </p:spPr>
          <p:txBody>
            <a:bodyPr wrap="square" lIns="0" tIns="0" rIns="0" bIns="0" rtlCol="0"/>
            <a:lstStyle/>
            <a:p>
              <a:endParaRPr sz="2968"/>
            </a:p>
          </p:txBody>
        </p:sp>
        <p:sp>
          <p:nvSpPr>
            <p:cNvPr id="170" name="object 168">
              <a:extLst>
                <a:ext uri="{FF2B5EF4-FFF2-40B4-BE49-F238E27FC236}">
                  <a16:creationId xmlns:a16="http://schemas.microsoft.com/office/drawing/2014/main" id="{8B1DC149-0E84-F14D-A7E8-D30ED244E3D8}"/>
                </a:ext>
              </a:extLst>
            </p:cNvPr>
            <p:cNvSpPr/>
            <p:nvPr/>
          </p:nvSpPr>
          <p:spPr>
            <a:xfrm>
              <a:off x="10718225" y="5021985"/>
              <a:ext cx="86842" cy="86829"/>
            </a:xfrm>
            <a:prstGeom prst="rect">
              <a:avLst/>
            </a:prstGeom>
            <a:blipFill>
              <a:blip r:embed="rId5" cstate="print"/>
              <a:stretch>
                <a:fillRect/>
              </a:stretch>
            </a:blipFill>
          </p:spPr>
          <p:txBody>
            <a:bodyPr wrap="square" lIns="0" tIns="0" rIns="0" bIns="0" rtlCol="0"/>
            <a:lstStyle/>
            <a:p>
              <a:endParaRPr sz="2968"/>
            </a:p>
          </p:txBody>
        </p:sp>
        <p:sp>
          <p:nvSpPr>
            <p:cNvPr id="171" name="object 169">
              <a:extLst>
                <a:ext uri="{FF2B5EF4-FFF2-40B4-BE49-F238E27FC236}">
                  <a16:creationId xmlns:a16="http://schemas.microsoft.com/office/drawing/2014/main" id="{FB9F356D-A1B0-614A-B70E-13E950AAA2B9}"/>
                </a:ext>
              </a:extLst>
            </p:cNvPr>
            <p:cNvSpPr/>
            <p:nvPr/>
          </p:nvSpPr>
          <p:spPr>
            <a:xfrm>
              <a:off x="13101936" y="6763925"/>
              <a:ext cx="86829" cy="86829"/>
            </a:xfrm>
            <a:prstGeom prst="rect">
              <a:avLst/>
            </a:prstGeom>
            <a:blipFill>
              <a:blip r:embed="rId26" cstate="print"/>
              <a:stretch>
                <a:fillRect/>
              </a:stretch>
            </a:blipFill>
          </p:spPr>
          <p:txBody>
            <a:bodyPr wrap="square" lIns="0" tIns="0" rIns="0" bIns="0" rtlCol="0"/>
            <a:lstStyle/>
            <a:p>
              <a:endParaRPr sz="2968"/>
            </a:p>
          </p:txBody>
        </p:sp>
        <p:sp>
          <p:nvSpPr>
            <p:cNvPr id="172" name="object 170">
              <a:extLst>
                <a:ext uri="{FF2B5EF4-FFF2-40B4-BE49-F238E27FC236}">
                  <a16:creationId xmlns:a16="http://schemas.microsoft.com/office/drawing/2014/main" id="{0B239F29-7789-1D43-9CD3-ABF6A0E4F980}"/>
                </a:ext>
              </a:extLst>
            </p:cNvPr>
            <p:cNvSpPr/>
            <p:nvPr/>
          </p:nvSpPr>
          <p:spPr>
            <a:xfrm>
              <a:off x="9572213" y="5113680"/>
              <a:ext cx="86842" cy="86829"/>
            </a:xfrm>
            <a:prstGeom prst="rect">
              <a:avLst/>
            </a:prstGeom>
            <a:blipFill>
              <a:blip r:embed="rId13" cstate="print"/>
              <a:stretch>
                <a:fillRect/>
              </a:stretch>
            </a:blipFill>
          </p:spPr>
          <p:txBody>
            <a:bodyPr wrap="square" lIns="0" tIns="0" rIns="0" bIns="0" rtlCol="0"/>
            <a:lstStyle/>
            <a:p>
              <a:endParaRPr sz="2968"/>
            </a:p>
          </p:txBody>
        </p:sp>
        <p:sp>
          <p:nvSpPr>
            <p:cNvPr id="173" name="object 171">
              <a:extLst>
                <a:ext uri="{FF2B5EF4-FFF2-40B4-BE49-F238E27FC236}">
                  <a16:creationId xmlns:a16="http://schemas.microsoft.com/office/drawing/2014/main" id="{92CCEC61-98B4-D64F-A7AA-3D6B75933E84}"/>
                </a:ext>
              </a:extLst>
            </p:cNvPr>
            <p:cNvSpPr/>
            <p:nvPr/>
          </p:nvSpPr>
          <p:spPr>
            <a:xfrm>
              <a:off x="12093432" y="6763921"/>
              <a:ext cx="86842" cy="86829"/>
            </a:xfrm>
            <a:prstGeom prst="rect">
              <a:avLst/>
            </a:prstGeom>
            <a:blipFill>
              <a:blip r:embed="rId27" cstate="print"/>
              <a:stretch>
                <a:fillRect/>
              </a:stretch>
            </a:blipFill>
          </p:spPr>
          <p:txBody>
            <a:bodyPr wrap="square" lIns="0" tIns="0" rIns="0" bIns="0" rtlCol="0"/>
            <a:lstStyle/>
            <a:p>
              <a:endParaRPr sz="2968"/>
            </a:p>
          </p:txBody>
        </p:sp>
        <p:sp>
          <p:nvSpPr>
            <p:cNvPr id="174" name="object 172">
              <a:extLst>
                <a:ext uri="{FF2B5EF4-FFF2-40B4-BE49-F238E27FC236}">
                  <a16:creationId xmlns:a16="http://schemas.microsoft.com/office/drawing/2014/main" id="{220726E1-B72C-7041-A2C4-84C577408D23}"/>
                </a:ext>
              </a:extLst>
            </p:cNvPr>
            <p:cNvSpPr/>
            <p:nvPr/>
          </p:nvSpPr>
          <p:spPr>
            <a:xfrm>
              <a:off x="10718225" y="6672226"/>
              <a:ext cx="86842" cy="86829"/>
            </a:xfrm>
            <a:prstGeom prst="rect">
              <a:avLst/>
            </a:prstGeom>
            <a:blipFill>
              <a:blip r:embed="rId28" cstate="print"/>
              <a:stretch>
                <a:fillRect/>
              </a:stretch>
            </a:blipFill>
          </p:spPr>
          <p:txBody>
            <a:bodyPr wrap="square" lIns="0" tIns="0" rIns="0" bIns="0" rtlCol="0"/>
            <a:lstStyle/>
            <a:p>
              <a:endParaRPr sz="2968"/>
            </a:p>
          </p:txBody>
        </p:sp>
        <p:sp>
          <p:nvSpPr>
            <p:cNvPr id="175" name="object 173">
              <a:extLst>
                <a:ext uri="{FF2B5EF4-FFF2-40B4-BE49-F238E27FC236}">
                  <a16:creationId xmlns:a16="http://schemas.microsoft.com/office/drawing/2014/main" id="{06B1D5F5-866A-7647-AB4B-89C6E62D7A35}"/>
                </a:ext>
              </a:extLst>
            </p:cNvPr>
            <p:cNvSpPr/>
            <p:nvPr/>
          </p:nvSpPr>
          <p:spPr>
            <a:xfrm>
              <a:off x="13651983" y="3191537"/>
              <a:ext cx="28575" cy="81280"/>
            </a:xfrm>
            <a:custGeom>
              <a:avLst/>
              <a:gdLst/>
              <a:ahLst/>
              <a:cxnLst/>
              <a:rect l="l" t="t" r="r" b="b"/>
              <a:pathLst>
                <a:path w="28575" h="81279">
                  <a:moveTo>
                    <a:pt x="28012" y="0"/>
                  </a:moveTo>
                  <a:lnTo>
                    <a:pt x="26510" y="303"/>
                  </a:lnTo>
                  <a:lnTo>
                    <a:pt x="12709" y="9609"/>
                  </a:lnTo>
                  <a:lnTo>
                    <a:pt x="3409" y="23411"/>
                  </a:lnTo>
                  <a:lnTo>
                    <a:pt x="0" y="40311"/>
                  </a:lnTo>
                  <a:lnTo>
                    <a:pt x="0" y="48909"/>
                  </a:lnTo>
                  <a:lnTo>
                    <a:pt x="24529" y="79419"/>
                  </a:lnTo>
                  <a:lnTo>
                    <a:pt x="28012" y="80797"/>
                  </a:lnTo>
                  <a:lnTo>
                    <a:pt x="28012" y="0"/>
                  </a:lnTo>
                  <a:close/>
                </a:path>
              </a:pathLst>
            </a:custGeom>
            <a:solidFill>
              <a:srgbClr val="EF3D60">
                <a:alpha val="50999"/>
              </a:srgbClr>
            </a:solidFill>
          </p:spPr>
          <p:txBody>
            <a:bodyPr wrap="square" lIns="0" tIns="0" rIns="0" bIns="0" rtlCol="0"/>
            <a:lstStyle/>
            <a:p>
              <a:endParaRPr sz="2968"/>
            </a:p>
          </p:txBody>
        </p:sp>
        <p:sp>
          <p:nvSpPr>
            <p:cNvPr id="176" name="object 174">
              <a:extLst>
                <a:ext uri="{FF2B5EF4-FFF2-40B4-BE49-F238E27FC236}">
                  <a16:creationId xmlns:a16="http://schemas.microsoft.com/office/drawing/2014/main" id="{218F58D9-47B5-624E-B4A6-F543D560358B}"/>
                </a:ext>
              </a:extLst>
            </p:cNvPr>
            <p:cNvSpPr/>
            <p:nvPr/>
          </p:nvSpPr>
          <p:spPr>
            <a:xfrm>
              <a:off x="12735158" y="3371744"/>
              <a:ext cx="86842" cy="86829"/>
            </a:xfrm>
            <a:prstGeom prst="rect">
              <a:avLst/>
            </a:prstGeom>
            <a:blipFill>
              <a:blip r:embed="rId5" cstate="print"/>
              <a:stretch>
                <a:fillRect/>
              </a:stretch>
            </a:blipFill>
          </p:spPr>
          <p:txBody>
            <a:bodyPr wrap="square" lIns="0" tIns="0" rIns="0" bIns="0" rtlCol="0"/>
            <a:lstStyle/>
            <a:p>
              <a:endParaRPr sz="2968"/>
            </a:p>
          </p:txBody>
        </p:sp>
        <p:sp>
          <p:nvSpPr>
            <p:cNvPr id="177" name="object 175">
              <a:extLst>
                <a:ext uri="{FF2B5EF4-FFF2-40B4-BE49-F238E27FC236}">
                  <a16:creationId xmlns:a16="http://schemas.microsoft.com/office/drawing/2014/main" id="{FBA7E2F2-033E-CA4D-901A-648AA60E088F}"/>
                </a:ext>
              </a:extLst>
            </p:cNvPr>
            <p:cNvSpPr/>
            <p:nvPr/>
          </p:nvSpPr>
          <p:spPr>
            <a:xfrm>
              <a:off x="11772488" y="3463461"/>
              <a:ext cx="86842" cy="86829"/>
            </a:xfrm>
            <a:prstGeom prst="rect">
              <a:avLst/>
            </a:prstGeom>
            <a:blipFill>
              <a:blip r:embed="rId5" cstate="print"/>
              <a:stretch>
                <a:fillRect/>
              </a:stretch>
            </a:blipFill>
          </p:spPr>
          <p:txBody>
            <a:bodyPr wrap="square" lIns="0" tIns="0" rIns="0" bIns="0" rtlCol="0"/>
            <a:lstStyle/>
            <a:p>
              <a:endParaRPr sz="2968"/>
            </a:p>
          </p:txBody>
        </p:sp>
        <p:sp>
          <p:nvSpPr>
            <p:cNvPr id="178" name="object 176">
              <a:extLst>
                <a:ext uri="{FF2B5EF4-FFF2-40B4-BE49-F238E27FC236}">
                  <a16:creationId xmlns:a16="http://schemas.microsoft.com/office/drawing/2014/main" id="{4B26D714-B366-814D-A6A3-162C43E86F02}"/>
                </a:ext>
              </a:extLst>
            </p:cNvPr>
            <p:cNvSpPr/>
            <p:nvPr/>
          </p:nvSpPr>
          <p:spPr>
            <a:xfrm>
              <a:off x="13285192" y="3325916"/>
              <a:ext cx="86842" cy="86842"/>
            </a:xfrm>
            <a:prstGeom prst="rect">
              <a:avLst/>
            </a:prstGeom>
            <a:blipFill>
              <a:blip r:embed="rId29" cstate="print"/>
              <a:stretch>
                <a:fillRect/>
              </a:stretch>
            </a:blipFill>
          </p:spPr>
          <p:txBody>
            <a:bodyPr wrap="square" lIns="0" tIns="0" rIns="0" bIns="0" rtlCol="0"/>
            <a:lstStyle/>
            <a:p>
              <a:endParaRPr sz="2968"/>
            </a:p>
          </p:txBody>
        </p:sp>
        <p:sp>
          <p:nvSpPr>
            <p:cNvPr id="179" name="object 177">
              <a:extLst>
                <a:ext uri="{FF2B5EF4-FFF2-40B4-BE49-F238E27FC236}">
                  <a16:creationId xmlns:a16="http://schemas.microsoft.com/office/drawing/2014/main" id="{87D813BD-1AB8-2447-AE4B-C300BC7C433E}"/>
                </a:ext>
              </a:extLst>
            </p:cNvPr>
            <p:cNvSpPr/>
            <p:nvPr/>
          </p:nvSpPr>
          <p:spPr>
            <a:xfrm>
              <a:off x="10534809" y="3600974"/>
              <a:ext cx="86842" cy="86829"/>
            </a:xfrm>
            <a:prstGeom prst="rect">
              <a:avLst/>
            </a:prstGeom>
            <a:blipFill>
              <a:blip r:embed="rId8" cstate="print"/>
              <a:stretch>
                <a:fillRect/>
              </a:stretch>
            </a:blipFill>
          </p:spPr>
          <p:txBody>
            <a:bodyPr wrap="square" lIns="0" tIns="0" rIns="0" bIns="0" rtlCol="0"/>
            <a:lstStyle/>
            <a:p>
              <a:endParaRPr sz="2968"/>
            </a:p>
          </p:txBody>
        </p:sp>
        <p:sp>
          <p:nvSpPr>
            <p:cNvPr id="180" name="object 178">
              <a:extLst>
                <a:ext uri="{FF2B5EF4-FFF2-40B4-BE49-F238E27FC236}">
                  <a16:creationId xmlns:a16="http://schemas.microsoft.com/office/drawing/2014/main" id="{82014BAD-5723-D243-8CD3-E18F15258A5A}"/>
                </a:ext>
              </a:extLst>
            </p:cNvPr>
            <p:cNvSpPr/>
            <p:nvPr/>
          </p:nvSpPr>
          <p:spPr>
            <a:xfrm>
              <a:off x="11749609" y="4219787"/>
              <a:ext cx="86829" cy="86829"/>
            </a:xfrm>
            <a:prstGeom prst="rect">
              <a:avLst/>
            </a:prstGeom>
            <a:blipFill>
              <a:blip r:embed="rId5" cstate="print"/>
              <a:stretch>
                <a:fillRect/>
              </a:stretch>
            </a:blipFill>
          </p:spPr>
          <p:txBody>
            <a:bodyPr wrap="square" lIns="0" tIns="0" rIns="0" bIns="0" rtlCol="0"/>
            <a:lstStyle/>
            <a:p>
              <a:endParaRPr sz="2968"/>
            </a:p>
          </p:txBody>
        </p:sp>
        <p:sp>
          <p:nvSpPr>
            <p:cNvPr id="181" name="object 179">
              <a:extLst>
                <a:ext uri="{FF2B5EF4-FFF2-40B4-BE49-F238E27FC236}">
                  <a16:creationId xmlns:a16="http://schemas.microsoft.com/office/drawing/2014/main" id="{14E08E82-D3A5-A74D-AB0E-3CDD8D09D9C8}"/>
                </a:ext>
              </a:extLst>
            </p:cNvPr>
            <p:cNvSpPr/>
            <p:nvPr/>
          </p:nvSpPr>
          <p:spPr>
            <a:xfrm>
              <a:off x="12849790" y="6007539"/>
              <a:ext cx="86842" cy="86829"/>
            </a:xfrm>
            <a:prstGeom prst="rect">
              <a:avLst/>
            </a:prstGeom>
            <a:blipFill>
              <a:blip r:embed="rId30" cstate="print"/>
              <a:stretch>
                <a:fillRect/>
              </a:stretch>
            </a:blipFill>
          </p:spPr>
          <p:txBody>
            <a:bodyPr wrap="square" lIns="0" tIns="0" rIns="0" bIns="0" rtlCol="0"/>
            <a:lstStyle/>
            <a:p>
              <a:endParaRPr sz="2968"/>
            </a:p>
          </p:txBody>
        </p:sp>
        <p:sp>
          <p:nvSpPr>
            <p:cNvPr id="182" name="object 180">
              <a:extLst>
                <a:ext uri="{FF2B5EF4-FFF2-40B4-BE49-F238E27FC236}">
                  <a16:creationId xmlns:a16="http://schemas.microsoft.com/office/drawing/2014/main" id="{AC0D7F21-AE53-DB4D-BA35-E85617987ABC}"/>
                </a:ext>
              </a:extLst>
            </p:cNvPr>
            <p:cNvSpPr/>
            <p:nvPr/>
          </p:nvSpPr>
          <p:spPr>
            <a:xfrm>
              <a:off x="13537333" y="3600974"/>
              <a:ext cx="86842" cy="86829"/>
            </a:xfrm>
            <a:prstGeom prst="rect">
              <a:avLst/>
            </a:prstGeom>
            <a:blipFill>
              <a:blip r:embed="rId31" cstate="print"/>
              <a:stretch>
                <a:fillRect/>
              </a:stretch>
            </a:blipFill>
          </p:spPr>
          <p:txBody>
            <a:bodyPr wrap="square" lIns="0" tIns="0" rIns="0" bIns="0" rtlCol="0"/>
            <a:lstStyle/>
            <a:p>
              <a:endParaRPr sz="2968"/>
            </a:p>
          </p:txBody>
        </p:sp>
        <p:sp>
          <p:nvSpPr>
            <p:cNvPr id="183" name="object 181">
              <a:extLst>
                <a:ext uri="{FF2B5EF4-FFF2-40B4-BE49-F238E27FC236}">
                  <a16:creationId xmlns:a16="http://schemas.microsoft.com/office/drawing/2014/main" id="{86863256-7DFA-F448-9CBC-46B05A8E9CC7}"/>
                </a:ext>
              </a:extLst>
            </p:cNvPr>
            <p:cNvSpPr/>
            <p:nvPr/>
          </p:nvSpPr>
          <p:spPr>
            <a:xfrm>
              <a:off x="12368441" y="2363320"/>
              <a:ext cx="86842" cy="86829"/>
            </a:xfrm>
            <a:prstGeom prst="rect">
              <a:avLst/>
            </a:prstGeom>
            <a:blipFill>
              <a:blip r:embed="rId32" cstate="print"/>
              <a:stretch>
                <a:fillRect/>
              </a:stretch>
            </a:blipFill>
          </p:spPr>
          <p:txBody>
            <a:bodyPr wrap="square" lIns="0" tIns="0" rIns="0" bIns="0" rtlCol="0"/>
            <a:lstStyle/>
            <a:p>
              <a:endParaRPr sz="2968"/>
            </a:p>
          </p:txBody>
        </p:sp>
        <p:sp>
          <p:nvSpPr>
            <p:cNvPr id="184" name="object 182">
              <a:extLst>
                <a:ext uri="{FF2B5EF4-FFF2-40B4-BE49-F238E27FC236}">
                  <a16:creationId xmlns:a16="http://schemas.microsoft.com/office/drawing/2014/main" id="{2500ACAD-F6A9-BB49-8B44-DC028FAF0B6E}"/>
                </a:ext>
              </a:extLst>
            </p:cNvPr>
            <p:cNvSpPr/>
            <p:nvPr/>
          </p:nvSpPr>
          <p:spPr>
            <a:xfrm>
              <a:off x="13606138" y="3050901"/>
              <a:ext cx="73857" cy="86829"/>
            </a:xfrm>
            <a:prstGeom prst="rect">
              <a:avLst/>
            </a:prstGeom>
            <a:blipFill>
              <a:blip r:embed="rId33" cstate="print"/>
              <a:stretch>
                <a:fillRect/>
              </a:stretch>
            </a:blipFill>
          </p:spPr>
          <p:txBody>
            <a:bodyPr wrap="square" lIns="0" tIns="0" rIns="0" bIns="0" rtlCol="0"/>
            <a:lstStyle/>
            <a:p>
              <a:endParaRPr sz="2968"/>
            </a:p>
          </p:txBody>
        </p:sp>
        <p:sp>
          <p:nvSpPr>
            <p:cNvPr id="185" name="object 183">
              <a:extLst>
                <a:ext uri="{FF2B5EF4-FFF2-40B4-BE49-F238E27FC236}">
                  <a16:creationId xmlns:a16="http://schemas.microsoft.com/office/drawing/2014/main" id="{CF4F3B22-E777-C647-A22F-7B572B48905A}"/>
                </a:ext>
              </a:extLst>
            </p:cNvPr>
            <p:cNvSpPr/>
            <p:nvPr/>
          </p:nvSpPr>
          <p:spPr>
            <a:xfrm>
              <a:off x="12437171" y="3050901"/>
              <a:ext cx="86840" cy="86829"/>
            </a:xfrm>
            <a:prstGeom prst="rect">
              <a:avLst/>
            </a:prstGeom>
            <a:blipFill>
              <a:blip r:embed="rId34" cstate="print"/>
              <a:stretch>
                <a:fillRect/>
              </a:stretch>
            </a:blipFill>
          </p:spPr>
          <p:txBody>
            <a:bodyPr wrap="square" lIns="0" tIns="0" rIns="0" bIns="0" rtlCol="0"/>
            <a:lstStyle/>
            <a:p>
              <a:endParaRPr sz="2968"/>
            </a:p>
          </p:txBody>
        </p:sp>
        <p:sp>
          <p:nvSpPr>
            <p:cNvPr id="186" name="object 184">
              <a:extLst>
                <a:ext uri="{FF2B5EF4-FFF2-40B4-BE49-F238E27FC236}">
                  <a16:creationId xmlns:a16="http://schemas.microsoft.com/office/drawing/2014/main" id="{28C2B149-3AE1-5642-8836-C86ED47110B9}"/>
                </a:ext>
              </a:extLst>
            </p:cNvPr>
            <p:cNvSpPr/>
            <p:nvPr/>
          </p:nvSpPr>
          <p:spPr>
            <a:xfrm>
              <a:off x="10649442" y="2913378"/>
              <a:ext cx="86842" cy="86829"/>
            </a:xfrm>
            <a:prstGeom prst="rect">
              <a:avLst/>
            </a:prstGeom>
            <a:blipFill>
              <a:blip r:embed="rId13" cstate="print"/>
              <a:stretch>
                <a:fillRect/>
              </a:stretch>
            </a:blipFill>
          </p:spPr>
          <p:txBody>
            <a:bodyPr wrap="square" lIns="0" tIns="0" rIns="0" bIns="0" rtlCol="0"/>
            <a:lstStyle/>
            <a:p>
              <a:endParaRPr sz="2968"/>
            </a:p>
          </p:txBody>
        </p:sp>
        <p:sp>
          <p:nvSpPr>
            <p:cNvPr id="187" name="object 185">
              <a:extLst>
                <a:ext uri="{FF2B5EF4-FFF2-40B4-BE49-F238E27FC236}">
                  <a16:creationId xmlns:a16="http://schemas.microsoft.com/office/drawing/2014/main" id="{B9A56B8E-463C-3D4D-AEAE-8240F8B0C366}"/>
                </a:ext>
              </a:extLst>
            </p:cNvPr>
            <p:cNvSpPr/>
            <p:nvPr/>
          </p:nvSpPr>
          <p:spPr>
            <a:xfrm>
              <a:off x="11474571" y="2225781"/>
              <a:ext cx="86842" cy="86842"/>
            </a:xfrm>
            <a:prstGeom prst="rect">
              <a:avLst/>
            </a:prstGeom>
            <a:blipFill>
              <a:blip r:embed="rId35" cstate="print"/>
              <a:stretch>
                <a:fillRect/>
              </a:stretch>
            </a:blipFill>
          </p:spPr>
          <p:txBody>
            <a:bodyPr wrap="square" lIns="0" tIns="0" rIns="0" bIns="0" rtlCol="0"/>
            <a:lstStyle/>
            <a:p>
              <a:endParaRPr sz="2968"/>
            </a:p>
          </p:txBody>
        </p:sp>
        <p:sp>
          <p:nvSpPr>
            <p:cNvPr id="188" name="object 186">
              <a:extLst>
                <a:ext uri="{FF2B5EF4-FFF2-40B4-BE49-F238E27FC236}">
                  <a16:creationId xmlns:a16="http://schemas.microsoft.com/office/drawing/2014/main" id="{2891912C-1695-2E4D-8605-844C2ACE1BB9}"/>
                </a:ext>
              </a:extLst>
            </p:cNvPr>
            <p:cNvSpPr/>
            <p:nvPr/>
          </p:nvSpPr>
          <p:spPr>
            <a:xfrm>
              <a:off x="10718225" y="4701136"/>
              <a:ext cx="86842" cy="86829"/>
            </a:xfrm>
            <a:prstGeom prst="rect">
              <a:avLst/>
            </a:prstGeom>
            <a:blipFill>
              <a:blip r:embed="rId5" cstate="print"/>
              <a:stretch>
                <a:fillRect/>
              </a:stretch>
            </a:blipFill>
          </p:spPr>
          <p:txBody>
            <a:bodyPr wrap="square" lIns="0" tIns="0" rIns="0" bIns="0" rtlCol="0"/>
            <a:lstStyle/>
            <a:p>
              <a:endParaRPr sz="2968"/>
            </a:p>
          </p:txBody>
        </p:sp>
        <p:sp>
          <p:nvSpPr>
            <p:cNvPr id="189" name="object 187">
              <a:extLst>
                <a:ext uri="{FF2B5EF4-FFF2-40B4-BE49-F238E27FC236}">
                  <a16:creationId xmlns:a16="http://schemas.microsoft.com/office/drawing/2014/main" id="{C15FCD9A-2DF2-DE40-A7CB-532F67763772}"/>
                </a:ext>
              </a:extLst>
            </p:cNvPr>
            <p:cNvSpPr/>
            <p:nvPr/>
          </p:nvSpPr>
          <p:spPr>
            <a:xfrm>
              <a:off x="11864226" y="4930340"/>
              <a:ext cx="86842" cy="86829"/>
            </a:xfrm>
            <a:prstGeom prst="rect">
              <a:avLst/>
            </a:prstGeom>
            <a:blipFill>
              <a:blip r:embed="rId36" cstate="print"/>
              <a:stretch>
                <a:fillRect/>
              </a:stretch>
            </a:blipFill>
          </p:spPr>
          <p:txBody>
            <a:bodyPr wrap="square" lIns="0" tIns="0" rIns="0" bIns="0" rtlCol="0"/>
            <a:lstStyle/>
            <a:p>
              <a:endParaRPr sz="2968"/>
            </a:p>
          </p:txBody>
        </p:sp>
      </p:grpSp>
    </p:spTree>
    <p:extLst>
      <p:ext uri="{BB962C8B-B14F-4D97-AF65-F5344CB8AC3E}">
        <p14:creationId xmlns:p14="http://schemas.microsoft.com/office/powerpoint/2010/main" val="2724113849"/>
      </p:ext>
    </p:extLst>
  </p:cSld>
  <p:clrMapOvr>
    <a:overrideClrMapping bg1="lt1" tx1="dk1" bg2="lt2" tx2="dk2" accent1="accent1" accent2="accent2" accent3="accent3" accent4="accent4" accent5="accent5" accent6="accent6" hlink="hlink" folHlink="folHlink"/>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Contents-tilte white - 58px-purple background">
    <p:bg>
      <p:bgPr>
        <a:solidFill>
          <a:schemeClr val="tx2"/>
        </a:solidFill>
        <a:effectLst/>
      </p:bgPr>
    </p:bg>
    <p:spTree>
      <p:nvGrpSpPr>
        <p:cNvPr id="1" name=""/>
        <p:cNvGrpSpPr/>
        <p:nvPr/>
      </p:nvGrpSpPr>
      <p:grpSpPr>
        <a:xfrm>
          <a:off x="0" y="0"/>
          <a:ext cx="0" cy="0"/>
          <a:chOff x="0" y="0"/>
          <a:chExt cx="0" cy="0"/>
        </a:xfrm>
      </p:grpSpPr>
      <p:sp>
        <p:nvSpPr>
          <p:cNvPr id="14" name="Marcador de texto 19">
            <a:extLst>
              <a:ext uri="{FF2B5EF4-FFF2-40B4-BE49-F238E27FC236}">
                <a16:creationId xmlns:a16="http://schemas.microsoft.com/office/drawing/2014/main" id="{F0A5F956-78D9-483E-8513-18F922BFD069}"/>
              </a:ext>
            </a:extLst>
          </p:cNvPr>
          <p:cNvSpPr>
            <a:spLocks noGrp="1"/>
          </p:cNvSpPr>
          <p:nvPr>
            <p:ph type="body" sz="quarter" idx="10" hasCustomPrompt="1"/>
          </p:nvPr>
        </p:nvSpPr>
        <p:spPr>
          <a:xfrm>
            <a:off x="17185412" y="389504"/>
            <a:ext cx="2985439" cy="250572"/>
          </a:xfrm>
          <a:noFill/>
        </p:spPr>
        <p:txBody>
          <a:bodyPr wrap="square" lIns="0" tIns="0" rIns="0" bIns="0" rtlCol="0" anchor="ctr">
            <a:noAutofit/>
          </a:bodyPr>
          <a:lstStyle>
            <a:lvl1pPr marL="0" indent="0">
              <a:buNone/>
              <a:defRPr lang="es-ES" sz="1319" b="0" smtClean="0">
                <a:solidFill>
                  <a:schemeClr val="bg1"/>
                </a:solidFill>
              </a:defRPr>
            </a:lvl1pPr>
            <a:lvl2pPr marL="376961" indent="0">
              <a:buNone/>
              <a:defRPr lang="es-ES" sz="2968" smtClean="0"/>
            </a:lvl2pPr>
            <a:lvl3pPr marL="1130884" indent="0">
              <a:buNone/>
              <a:defRPr lang="es-ES" sz="2968" smtClean="0"/>
            </a:lvl3pPr>
            <a:lvl4pPr marL="1790567" indent="0">
              <a:buFont typeface="Arial" panose="020B0604020202020204" pitchFamily="34" charset="0"/>
              <a:buNone/>
              <a:defRPr lang="es-ES" smtClean="0"/>
            </a:lvl4pPr>
            <a:lvl5pPr marL="2638730" indent="0">
              <a:buNone/>
              <a:defRPr lang="es-ES"/>
            </a:lvl5pPr>
          </a:lstStyle>
          <a:p>
            <a:pPr marL="0" lvl="0"/>
            <a:r>
              <a:rPr lang="es-ES" noProof="0" dirty="0"/>
              <a:t>D</a:t>
            </a:r>
            <a:r>
              <a:rPr lang="en-GB" noProof="0" dirty="0" err="1"/>
              <a:t>ocument</a:t>
            </a:r>
            <a:r>
              <a:rPr lang="en-GB" noProof="0" dirty="0"/>
              <a:t> Title</a:t>
            </a:r>
          </a:p>
        </p:txBody>
      </p:sp>
      <p:pic>
        <p:nvPicPr>
          <p:cNvPr id="5" name="Imagen 18">
            <a:extLst>
              <a:ext uri="{FF2B5EF4-FFF2-40B4-BE49-F238E27FC236}">
                <a16:creationId xmlns:a16="http://schemas.microsoft.com/office/drawing/2014/main" id="{0210973B-74F8-4A55-A1EE-70AA8DC58AD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206379" y="10190981"/>
            <a:ext cx="1167349" cy="583716"/>
          </a:xfrm>
          <a:prstGeom prst="rect">
            <a:avLst/>
          </a:prstGeom>
        </p:spPr>
      </p:pic>
      <p:sp>
        <p:nvSpPr>
          <p:cNvPr id="6" name="Title 10">
            <a:extLst>
              <a:ext uri="{FF2B5EF4-FFF2-40B4-BE49-F238E27FC236}">
                <a16:creationId xmlns:a16="http://schemas.microsoft.com/office/drawing/2014/main" id="{E301087C-BD2B-7541-9238-92B3F39DCBCA}"/>
              </a:ext>
            </a:extLst>
          </p:cNvPr>
          <p:cNvSpPr>
            <a:spLocks noGrp="1"/>
          </p:cNvSpPr>
          <p:nvPr>
            <p:ph type="title" hasCustomPrompt="1"/>
          </p:nvPr>
        </p:nvSpPr>
        <p:spPr>
          <a:xfrm>
            <a:off x="615163" y="396486"/>
            <a:ext cx="8682983" cy="2546037"/>
          </a:xfrm>
        </p:spPr>
        <p:txBody>
          <a:bodyPr anchor="t">
            <a:normAutofit/>
          </a:bodyPr>
          <a:lstStyle>
            <a:lvl1pPr>
              <a:lnSpc>
                <a:spcPts val="8905"/>
              </a:lnSpc>
              <a:defRPr sz="9564">
                <a:solidFill>
                  <a:schemeClr val="bg1"/>
                </a:solidFill>
              </a:defRPr>
            </a:lvl1pPr>
          </a:lstStyle>
          <a:p>
            <a:r>
              <a:rPr lang="en-GB" noProof="0"/>
              <a:t>Title</a:t>
            </a:r>
          </a:p>
        </p:txBody>
      </p:sp>
    </p:spTree>
    <p:extLst>
      <p:ext uri="{BB962C8B-B14F-4D97-AF65-F5344CB8AC3E}">
        <p14:creationId xmlns:p14="http://schemas.microsoft.com/office/powerpoint/2010/main" val="3817797062"/>
      </p:ext>
    </p:extLst>
  </p:cSld>
  <p:clrMapOvr>
    <a:overrideClrMapping bg1="lt1" tx1="dk1" bg2="lt2" tx2="dk2" accent1="accent1" accent2="accent2" accent3="accent3" accent4="accent4" accent5="accent5" accent6="accent6" hlink="hlink" folHlink="folHlink"/>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Contents-tilte white - 40px-purple background">
    <p:bg>
      <p:bgPr>
        <a:solidFill>
          <a:schemeClr val="tx2"/>
        </a:solidFill>
        <a:effectLst/>
      </p:bgPr>
    </p:bg>
    <p:spTree>
      <p:nvGrpSpPr>
        <p:cNvPr id="1" name=""/>
        <p:cNvGrpSpPr/>
        <p:nvPr/>
      </p:nvGrpSpPr>
      <p:grpSpPr>
        <a:xfrm>
          <a:off x="0" y="0"/>
          <a:ext cx="0" cy="0"/>
          <a:chOff x="0" y="0"/>
          <a:chExt cx="0" cy="0"/>
        </a:xfrm>
      </p:grpSpPr>
      <p:sp>
        <p:nvSpPr>
          <p:cNvPr id="14" name="Marcador de texto 19">
            <a:extLst>
              <a:ext uri="{FF2B5EF4-FFF2-40B4-BE49-F238E27FC236}">
                <a16:creationId xmlns:a16="http://schemas.microsoft.com/office/drawing/2014/main" id="{F0A5F956-78D9-483E-8513-18F922BFD069}"/>
              </a:ext>
            </a:extLst>
          </p:cNvPr>
          <p:cNvSpPr>
            <a:spLocks noGrp="1"/>
          </p:cNvSpPr>
          <p:nvPr>
            <p:ph type="body" sz="quarter" idx="10" hasCustomPrompt="1"/>
          </p:nvPr>
        </p:nvSpPr>
        <p:spPr>
          <a:xfrm>
            <a:off x="17185412" y="389504"/>
            <a:ext cx="2985439" cy="250572"/>
          </a:xfrm>
          <a:noFill/>
        </p:spPr>
        <p:txBody>
          <a:bodyPr wrap="square" lIns="0" tIns="0" rIns="0" bIns="0" rtlCol="0" anchor="ctr">
            <a:noAutofit/>
          </a:bodyPr>
          <a:lstStyle>
            <a:lvl1pPr marL="0" indent="0">
              <a:buNone/>
              <a:defRPr lang="es-ES" sz="1319" b="0" smtClean="0">
                <a:solidFill>
                  <a:schemeClr val="bg1"/>
                </a:solidFill>
              </a:defRPr>
            </a:lvl1pPr>
            <a:lvl2pPr marL="376961" indent="0">
              <a:buNone/>
              <a:defRPr lang="es-ES" sz="2968" smtClean="0"/>
            </a:lvl2pPr>
            <a:lvl3pPr marL="1130884" indent="0">
              <a:buNone/>
              <a:defRPr lang="es-ES" sz="2968" smtClean="0"/>
            </a:lvl3pPr>
            <a:lvl4pPr marL="1790567" indent="0">
              <a:buFont typeface="Arial" panose="020B0604020202020204" pitchFamily="34" charset="0"/>
              <a:buNone/>
              <a:defRPr lang="es-ES" smtClean="0"/>
            </a:lvl4pPr>
            <a:lvl5pPr marL="2638730" indent="0">
              <a:buNone/>
              <a:defRPr lang="es-ES"/>
            </a:lvl5pPr>
          </a:lstStyle>
          <a:p>
            <a:pPr marL="0" lvl="0"/>
            <a:r>
              <a:rPr lang="es-ES" noProof="0" dirty="0"/>
              <a:t>D</a:t>
            </a:r>
            <a:r>
              <a:rPr lang="en-GB" noProof="0" dirty="0" err="1"/>
              <a:t>ocument</a:t>
            </a:r>
            <a:r>
              <a:rPr lang="en-GB" noProof="0" dirty="0"/>
              <a:t> Title</a:t>
            </a:r>
          </a:p>
        </p:txBody>
      </p:sp>
      <p:sp>
        <p:nvSpPr>
          <p:cNvPr id="11" name="Title 10">
            <a:extLst>
              <a:ext uri="{FF2B5EF4-FFF2-40B4-BE49-F238E27FC236}">
                <a16:creationId xmlns:a16="http://schemas.microsoft.com/office/drawing/2014/main" id="{B384F1BB-96E7-4D3C-AEA6-2038C6C940A2}"/>
              </a:ext>
            </a:extLst>
          </p:cNvPr>
          <p:cNvSpPr>
            <a:spLocks noGrp="1"/>
          </p:cNvSpPr>
          <p:nvPr>
            <p:ph type="title" hasCustomPrompt="1"/>
          </p:nvPr>
        </p:nvSpPr>
        <p:spPr>
          <a:xfrm>
            <a:off x="615163" y="396486"/>
            <a:ext cx="8682983" cy="2546037"/>
          </a:xfrm>
        </p:spPr>
        <p:txBody>
          <a:bodyPr anchor="t">
            <a:normAutofit/>
          </a:bodyPr>
          <a:lstStyle>
            <a:lvl1pPr>
              <a:lnSpc>
                <a:spcPts val="9234"/>
              </a:lnSpc>
              <a:defRPr sz="6596">
                <a:solidFill>
                  <a:schemeClr val="bg1"/>
                </a:solidFill>
              </a:defRPr>
            </a:lvl1pPr>
          </a:lstStyle>
          <a:p>
            <a:r>
              <a:rPr lang="en-GB" noProof="0" dirty="0"/>
              <a:t>Title</a:t>
            </a:r>
          </a:p>
        </p:txBody>
      </p:sp>
      <p:pic>
        <p:nvPicPr>
          <p:cNvPr id="5" name="Imagen 18">
            <a:extLst>
              <a:ext uri="{FF2B5EF4-FFF2-40B4-BE49-F238E27FC236}">
                <a16:creationId xmlns:a16="http://schemas.microsoft.com/office/drawing/2014/main" id="{0210973B-74F8-4A55-A1EE-70AA8DC58AD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206379" y="10190981"/>
            <a:ext cx="1167349" cy="583716"/>
          </a:xfrm>
          <a:prstGeom prst="rect">
            <a:avLst/>
          </a:prstGeom>
        </p:spPr>
      </p:pic>
    </p:spTree>
    <p:extLst>
      <p:ext uri="{BB962C8B-B14F-4D97-AF65-F5344CB8AC3E}">
        <p14:creationId xmlns:p14="http://schemas.microsoft.com/office/powerpoint/2010/main" val="686370460"/>
      </p:ext>
    </p:extLst>
  </p:cSld>
  <p:clrMapOvr>
    <a:overrideClrMapping bg1="lt1" tx1="dk1" bg2="lt2" tx2="dk2" accent1="accent1" accent2="accent2" accent3="accent3" accent4="accent4" accent5="accent5" accent6="accent6" hlink="hlink" folHlink="folHlink"/>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Index 1">
    <p:bg>
      <p:bgPr>
        <a:solidFill>
          <a:schemeClr val="tx2"/>
        </a:solidFill>
        <a:effectLst/>
      </p:bgPr>
    </p:bg>
    <p:spTree>
      <p:nvGrpSpPr>
        <p:cNvPr id="1" name=""/>
        <p:cNvGrpSpPr/>
        <p:nvPr/>
      </p:nvGrpSpPr>
      <p:grpSpPr>
        <a:xfrm>
          <a:off x="0" y="0"/>
          <a:ext cx="0" cy="0"/>
          <a:chOff x="0" y="0"/>
          <a:chExt cx="0" cy="0"/>
        </a:xfrm>
      </p:grpSpPr>
      <p:sp>
        <p:nvSpPr>
          <p:cNvPr id="14" name="Marcador de texto 19">
            <a:extLst>
              <a:ext uri="{FF2B5EF4-FFF2-40B4-BE49-F238E27FC236}">
                <a16:creationId xmlns:a16="http://schemas.microsoft.com/office/drawing/2014/main" id="{F0A5F956-78D9-483E-8513-18F922BFD069}"/>
              </a:ext>
            </a:extLst>
          </p:cNvPr>
          <p:cNvSpPr>
            <a:spLocks noGrp="1"/>
          </p:cNvSpPr>
          <p:nvPr>
            <p:ph type="body" sz="quarter" idx="10" hasCustomPrompt="1"/>
          </p:nvPr>
        </p:nvSpPr>
        <p:spPr>
          <a:xfrm>
            <a:off x="17185412" y="389504"/>
            <a:ext cx="2985439" cy="250572"/>
          </a:xfrm>
          <a:noFill/>
        </p:spPr>
        <p:txBody>
          <a:bodyPr wrap="square" lIns="0" tIns="0" rIns="0" bIns="0" rtlCol="0" anchor="ctr">
            <a:noAutofit/>
          </a:bodyPr>
          <a:lstStyle>
            <a:lvl1pPr marL="0" indent="0">
              <a:buNone/>
              <a:defRPr lang="es-ES" sz="1319" b="0" smtClean="0">
                <a:solidFill>
                  <a:schemeClr val="bg1"/>
                </a:solidFill>
              </a:defRPr>
            </a:lvl1pPr>
            <a:lvl2pPr marL="376961" indent="0">
              <a:buNone/>
              <a:defRPr lang="es-ES" sz="2968" smtClean="0"/>
            </a:lvl2pPr>
            <a:lvl3pPr marL="1130884" indent="0">
              <a:buNone/>
              <a:defRPr lang="es-ES" sz="2968" smtClean="0"/>
            </a:lvl3pPr>
            <a:lvl4pPr marL="1790567" indent="0">
              <a:buFont typeface="Arial" panose="020B0604020202020204" pitchFamily="34" charset="0"/>
              <a:buNone/>
              <a:defRPr lang="es-ES" smtClean="0"/>
            </a:lvl4pPr>
            <a:lvl5pPr marL="2638730" indent="0">
              <a:buNone/>
              <a:defRPr lang="es-ES"/>
            </a:lvl5pPr>
          </a:lstStyle>
          <a:p>
            <a:pPr marL="0" lvl="0"/>
            <a:r>
              <a:rPr lang="es-ES" noProof="0" dirty="0"/>
              <a:t>D</a:t>
            </a:r>
            <a:r>
              <a:rPr lang="en-GB" noProof="0" dirty="0" err="1"/>
              <a:t>ocument</a:t>
            </a:r>
            <a:r>
              <a:rPr lang="en-GB" noProof="0" dirty="0"/>
              <a:t> Title</a:t>
            </a:r>
          </a:p>
        </p:txBody>
      </p:sp>
      <p:sp>
        <p:nvSpPr>
          <p:cNvPr id="11" name="Title 10">
            <a:extLst>
              <a:ext uri="{FF2B5EF4-FFF2-40B4-BE49-F238E27FC236}">
                <a16:creationId xmlns:a16="http://schemas.microsoft.com/office/drawing/2014/main" id="{B384F1BB-96E7-4D3C-AEA6-2038C6C940A2}"/>
              </a:ext>
            </a:extLst>
          </p:cNvPr>
          <p:cNvSpPr>
            <a:spLocks noGrp="1"/>
          </p:cNvSpPr>
          <p:nvPr>
            <p:ph type="title" hasCustomPrompt="1"/>
          </p:nvPr>
        </p:nvSpPr>
        <p:spPr>
          <a:xfrm>
            <a:off x="615163" y="396486"/>
            <a:ext cx="8682983" cy="1258031"/>
          </a:xfrm>
        </p:spPr>
        <p:txBody>
          <a:bodyPr anchor="t">
            <a:normAutofit/>
          </a:bodyPr>
          <a:lstStyle>
            <a:lvl1pPr>
              <a:lnSpc>
                <a:spcPct val="100000"/>
              </a:lnSpc>
              <a:defRPr sz="2968">
                <a:solidFill>
                  <a:schemeClr val="bg1"/>
                </a:solidFill>
              </a:defRPr>
            </a:lvl1pPr>
          </a:lstStyle>
          <a:p>
            <a:r>
              <a:rPr lang="en-GB" noProof="0" dirty="0"/>
              <a:t>Index</a:t>
            </a:r>
          </a:p>
        </p:txBody>
      </p:sp>
      <p:pic>
        <p:nvPicPr>
          <p:cNvPr id="5" name="Imagen 18">
            <a:extLst>
              <a:ext uri="{FF2B5EF4-FFF2-40B4-BE49-F238E27FC236}">
                <a16:creationId xmlns:a16="http://schemas.microsoft.com/office/drawing/2014/main" id="{0210973B-74F8-4A55-A1EE-70AA8DC58AD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206379" y="10190981"/>
            <a:ext cx="1167349" cy="583716"/>
          </a:xfrm>
          <a:prstGeom prst="rect">
            <a:avLst/>
          </a:prstGeom>
        </p:spPr>
      </p:pic>
    </p:spTree>
    <p:extLst>
      <p:ext uri="{BB962C8B-B14F-4D97-AF65-F5344CB8AC3E}">
        <p14:creationId xmlns:p14="http://schemas.microsoft.com/office/powerpoint/2010/main" val="38324707"/>
      </p:ext>
    </p:extLst>
  </p:cSld>
  <p:clrMapOvr>
    <a:overrideClrMapping bg1="lt1" tx1="dk1" bg2="lt2" tx2="dk2" accent1="accent1" accent2="accent2" accent3="accent3" accent4="accent4" accent5="accent5" accent6="accent6" hlink="hlink" folHlink="folHlink"/>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Index 1 - white bakground">
    <p:bg>
      <p:bgRef idx="1001">
        <a:schemeClr val="bg1"/>
      </p:bgRef>
    </p:bg>
    <p:spTree>
      <p:nvGrpSpPr>
        <p:cNvPr id="1" name=""/>
        <p:cNvGrpSpPr/>
        <p:nvPr/>
      </p:nvGrpSpPr>
      <p:grpSpPr>
        <a:xfrm>
          <a:off x="0" y="0"/>
          <a:ext cx="0" cy="0"/>
          <a:chOff x="0" y="0"/>
          <a:chExt cx="0" cy="0"/>
        </a:xfrm>
      </p:grpSpPr>
      <p:sp>
        <p:nvSpPr>
          <p:cNvPr id="14" name="Marcador de texto 19">
            <a:extLst>
              <a:ext uri="{FF2B5EF4-FFF2-40B4-BE49-F238E27FC236}">
                <a16:creationId xmlns:a16="http://schemas.microsoft.com/office/drawing/2014/main" id="{F0A5F956-78D9-483E-8513-18F922BFD069}"/>
              </a:ext>
            </a:extLst>
          </p:cNvPr>
          <p:cNvSpPr>
            <a:spLocks noGrp="1"/>
          </p:cNvSpPr>
          <p:nvPr>
            <p:ph type="body" sz="quarter" idx="10" hasCustomPrompt="1"/>
          </p:nvPr>
        </p:nvSpPr>
        <p:spPr>
          <a:xfrm>
            <a:off x="17185412" y="389504"/>
            <a:ext cx="2985439" cy="250572"/>
          </a:xfrm>
          <a:noFill/>
        </p:spPr>
        <p:txBody>
          <a:bodyPr wrap="square" lIns="0" tIns="0" rIns="0" bIns="0" rtlCol="0" anchor="ctr">
            <a:noAutofit/>
          </a:bodyPr>
          <a:lstStyle>
            <a:lvl1pPr marL="0" indent="0">
              <a:buNone/>
              <a:defRPr lang="es-ES" sz="1319" b="0" smtClean="0">
                <a:solidFill>
                  <a:schemeClr val="tx2"/>
                </a:solidFill>
              </a:defRPr>
            </a:lvl1pPr>
            <a:lvl2pPr marL="376961" indent="0">
              <a:buNone/>
              <a:defRPr lang="es-ES" sz="2968" smtClean="0"/>
            </a:lvl2pPr>
            <a:lvl3pPr marL="1130884" indent="0">
              <a:buNone/>
              <a:defRPr lang="es-ES" sz="2968" smtClean="0"/>
            </a:lvl3pPr>
            <a:lvl4pPr marL="1790567" indent="0">
              <a:buFont typeface="Arial" panose="020B0604020202020204" pitchFamily="34" charset="0"/>
              <a:buNone/>
              <a:defRPr lang="es-ES" smtClean="0"/>
            </a:lvl4pPr>
            <a:lvl5pPr marL="2638730" indent="0">
              <a:buNone/>
              <a:defRPr lang="es-ES"/>
            </a:lvl5pPr>
          </a:lstStyle>
          <a:p>
            <a:pPr marL="0" lvl="0"/>
            <a:r>
              <a:rPr lang="es-ES" noProof="0" dirty="0"/>
              <a:t>D</a:t>
            </a:r>
            <a:r>
              <a:rPr lang="en-GB" noProof="0" dirty="0" err="1"/>
              <a:t>ocument</a:t>
            </a:r>
            <a:r>
              <a:rPr lang="en-GB" noProof="0" dirty="0"/>
              <a:t> Title</a:t>
            </a:r>
          </a:p>
        </p:txBody>
      </p:sp>
      <p:sp>
        <p:nvSpPr>
          <p:cNvPr id="11" name="Title 10">
            <a:extLst>
              <a:ext uri="{FF2B5EF4-FFF2-40B4-BE49-F238E27FC236}">
                <a16:creationId xmlns:a16="http://schemas.microsoft.com/office/drawing/2014/main" id="{B384F1BB-96E7-4D3C-AEA6-2038C6C940A2}"/>
              </a:ext>
            </a:extLst>
          </p:cNvPr>
          <p:cNvSpPr>
            <a:spLocks noGrp="1"/>
          </p:cNvSpPr>
          <p:nvPr>
            <p:ph type="title" hasCustomPrompt="1"/>
          </p:nvPr>
        </p:nvSpPr>
        <p:spPr>
          <a:xfrm>
            <a:off x="615163" y="396486"/>
            <a:ext cx="8682983" cy="1258031"/>
          </a:xfrm>
        </p:spPr>
        <p:txBody>
          <a:bodyPr anchor="t">
            <a:normAutofit/>
          </a:bodyPr>
          <a:lstStyle>
            <a:lvl1pPr>
              <a:lnSpc>
                <a:spcPct val="100000"/>
              </a:lnSpc>
              <a:defRPr sz="2968">
                <a:solidFill>
                  <a:schemeClr val="tx2"/>
                </a:solidFill>
              </a:defRPr>
            </a:lvl1pPr>
          </a:lstStyle>
          <a:p>
            <a:r>
              <a:rPr lang="en-GB" noProof="0" dirty="0"/>
              <a:t>Index</a:t>
            </a:r>
          </a:p>
        </p:txBody>
      </p:sp>
      <p:pic>
        <p:nvPicPr>
          <p:cNvPr id="6" name="Imagen 15">
            <a:extLst>
              <a:ext uri="{FF2B5EF4-FFF2-40B4-BE49-F238E27FC236}">
                <a16:creationId xmlns:a16="http://schemas.microsoft.com/office/drawing/2014/main" id="{453EB7C4-31D5-474A-8970-1E387CA1C2DF}"/>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206627" y="10175274"/>
            <a:ext cx="1170610" cy="607079"/>
          </a:xfrm>
          <a:prstGeom prst="rect">
            <a:avLst/>
          </a:prstGeom>
        </p:spPr>
      </p:pic>
    </p:spTree>
    <p:extLst>
      <p:ext uri="{BB962C8B-B14F-4D97-AF65-F5344CB8AC3E}">
        <p14:creationId xmlns:p14="http://schemas.microsoft.com/office/powerpoint/2010/main" val="358240665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pic>
        <p:nvPicPr>
          <p:cNvPr id="3" name="Picture 2"/>
          <p:cNvPicPr>
            <a:picLocks noChangeAspect="1" noChangeArrowheads="1"/>
          </p:cNvPicPr>
          <p:nvPr/>
        </p:nvPicPr>
        <p:blipFill>
          <a:blip r:embed="rId2" cstate="print"/>
          <a:srcRect l="3940" t="14776" r="36950"/>
          <a:stretch>
            <a:fillRect/>
          </a:stretch>
        </p:blipFill>
        <p:spPr bwMode="auto">
          <a:xfrm>
            <a:off x="2" y="753956"/>
            <a:ext cx="1897534" cy="2136211"/>
          </a:xfrm>
          <a:prstGeom prst="rect">
            <a:avLst/>
          </a:prstGeom>
          <a:noFill/>
          <a:ln w="9525">
            <a:noFill/>
            <a:miter lim="800000"/>
            <a:headEnd/>
            <a:tailEnd/>
          </a:ln>
          <a:effectLst/>
        </p:spPr>
      </p:pic>
      <p:pic>
        <p:nvPicPr>
          <p:cNvPr id="4" name="Picture 3" descr="D:\STC Running\2011 Projects\New CI Migration &amp; Guardianship Projects\Corporate Related\PPT Templates\STC Logo Option 2.jpg"/>
          <p:cNvPicPr>
            <a:picLocks noChangeAspect="1" noChangeArrowheads="1"/>
          </p:cNvPicPr>
          <p:nvPr userDrawn="1"/>
        </p:nvPicPr>
        <p:blipFill>
          <a:blip r:embed="rId3" cstate="print"/>
          <a:srcRect t="18155" b="21764"/>
          <a:stretch>
            <a:fillRect/>
          </a:stretch>
        </p:blipFill>
        <p:spPr bwMode="auto">
          <a:xfrm>
            <a:off x="17961076" y="10531121"/>
            <a:ext cx="2056474" cy="713218"/>
          </a:xfrm>
          <a:prstGeom prst="rect">
            <a:avLst/>
          </a:prstGeom>
          <a:noFill/>
        </p:spPr>
      </p:pic>
      <p:sp>
        <p:nvSpPr>
          <p:cNvPr id="5" name="Title 4"/>
          <p:cNvSpPr>
            <a:spLocks noGrp="1"/>
          </p:cNvSpPr>
          <p:nvPr>
            <p:ph type="title"/>
          </p:nvPr>
        </p:nvSpPr>
        <p:spPr>
          <a:xfrm>
            <a:off x="4" y="0"/>
            <a:ext cx="20017545" cy="971766"/>
          </a:xfrm>
        </p:spPr>
        <p:txBody>
          <a:bodyPr>
            <a:normAutofit/>
          </a:bodyPr>
          <a:lstStyle>
            <a:lvl1pPr algn="l">
              <a:defRPr sz="5277" b="1">
                <a:solidFill>
                  <a:srgbClr val="4B2884"/>
                </a:solidFill>
              </a:defRPr>
            </a:lvl1pPr>
          </a:lstStyle>
          <a:p>
            <a:r>
              <a:rPr lang="en-US"/>
              <a:t>Click to edit Master title style</a:t>
            </a:r>
          </a:p>
        </p:txBody>
      </p:sp>
      <p:sp>
        <p:nvSpPr>
          <p:cNvPr id="13" name="Content Placeholder 12"/>
          <p:cNvSpPr>
            <a:spLocks noGrp="1"/>
          </p:cNvSpPr>
          <p:nvPr>
            <p:ph sz="quarter" idx="10"/>
          </p:nvPr>
        </p:nvSpPr>
        <p:spPr>
          <a:xfrm>
            <a:off x="1405890" y="1676159"/>
            <a:ext cx="18111143" cy="8628615"/>
          </a:xfrm>
        </p:spPr>
        <p:txBody>
          <a:bodyPr>
            <a:normAutofit/>
          </a:bodyPr>
          <a:lstStyle>
            <a:lvl1pPr>
              <a:defRPr sz="5277">
                <a:latin typeface="+mj-lt"/>
                <a:cs typeface="Arial" panose="020B0604020202020204" pitchFamily="34" charset="0"/>
              </a:defRPr>
            </a:lvl1pPr>
            <a:lvl2pPr>
              <a:defRPr sz="4398">
                <a:latin typeface="+mj-lt"/>
                <a:cs typeface="Arial" panose="020B0604020202020204" pitchFamily="34" charset="0"/>
              </a:defRPr>
            </a:lvl2pPr>
            <a:lvl3pPr>
              <a:defRPr sz="3958">
                <a:latin typeface="+mj-lt"/>
                <a:cs typeface="Arial" panose="020B0604020202020204" pitchFamily="34" charset="0"/>
              </a:defRPr>
            </a:lvl3pPr>
            <a:lvl4pPr>
              <a:defRPr sz="3079">
                <a:latin typeface="+mj-lt"/>
                <a:cs typeface="Arial" panose="020B0604020202020204" pitchFamily="34" charset="0"/>
              </a:defRPr>
            </a:lvl4pPr>
            <a:lvl5pPr>
              <a:defRPr sz="3079">
                <a:latin typeface="+mj-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2695653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Contents-3 numbering-white background">
    <p:bg>
      <p:bgRef idx="1001">
        <a:schemeClr val="bg1"/>
      </p:bgRef>
    </p:bg>
    <p:spTree>
      <p:nvGrpSpPr>
        <p:cNvPr id="1" name=""/>
        <p:cNvGrpSpPr/>
        <p:nvPr/>
      </p:nvGrpSpPr>
      <p:grpSpPr>
        <a:xfrm>
          <a:off x="0" y="0"/>
          <a:ext cx="0" cy="0"/>
          <a:chOff x="0" y="0"/>
          <a:chExt cx="0" cy="0"/>
        </a:xfrm>
      </p:grpSpPr>
      <p:pic>
        <p:nvPicPr>
          <p:cNvPr id="19" name="Imagen 18">
            <a:extLst>
              <a:ext uri="{FF2B5EF4-FFF2-40B4-BE49-F238E27FC236}">
                <a16:creationId xmlns:a16="http://schemas.microsoft.com/office/drawing/2014/main" id="{CDE873E3-468F-41C9-A3D5-AE1CFF571F4A}"/>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206379" y="10190981"/>
            <a:ext cx="1167349" cy="583716"/>
          </a:xfrm>
          <a:prstGeom prst="rect">
            <a:avLst/>
          </a:prstGeom>
        </p:spPr>
      </p:pic>
      <p:sp>
        <p:nvSpPr>
          <p:cNvPr id="14" name="Marcador de texto 19">
            <a:extLst>
              <a:ext uri="{FF2B5EF4-FFF2-40B4-BE49-F238E27FC236}">
                <a16:creationId xmlns:a16="http://schemas.microsoft.com/office/drawing/2014/main" id="{F0A5F956-78D9-483E-8513-18F922BFD069}"/>
              </a:ext>
            </a:extLst>
          </p:cNvPr>
          <p:cNvSpPr>
            <a:spLocks noGrp="1"/>
          </p:cNvSpPr>
          <p:nvPr>
            <p:ph type="body" sz="quarter" idx="10" hasCustomPrompt="1"/>
          </p:nvPr>
        </p:nvSpPr>
        <p:spPr>
          <a:xfrm>
            <a:off x="17185412" y="389504"/>
            <a:ext cx="2985439" cy="250572"/>
          </a:xfrm>
          <a:noFill/>
        </p:spPr>
        <p:txBody>
          <a:bodyPr wrap="square" lIns="0" tIns="0" rIns="0" bIns="0" rtlCol="0" anchor="ctr">
            <a:noAutofit/>
          </a:bodyPr>
          <a:lstStyle>
            <a:lvl1pPr marL="0" indent="0">
              <a:buNone/>
              <a:defRPr lang="es-ES" sz="1319" b="0" smtClean="0">
                <a:solidFill>
                  <a:schemeClr val="tx2"/>
                </a:solidFill>
              </a:defRPr>
            </a:lvl1pPr>
            <a:lvl2pPr marL="376961" indent="0">
              <a:buNone/>
              <a:defRPr lang="es-ES" sz="2968" smtClean="0"/>
            </a:lvl2pPr>
            <a:lvl3pPr marL="1130884" indent="0">
              <a:buNone/>
              <a:defRPr lang="es-ES" sz="2968" smtClean="0"/>
            </a:lvl3pPr>
            <a:lvl4pPr marL="1790567" indent="0">
              <a:buFont typeface="Arial" panose="020B0604020202020204" pitchFamily="34" charset="0"/>
              <a:buNone/>
              <a:defRPr lang="es-ES" smtClean="0"/>
            </a:lvl4pPr>
            <a:lvl5pPr marL="2638730" indent="0">
              <a:buNone/>
              <a:defRPr lang="es-ES"/>
            </a:lvl5pPr>
          </a:lstStyle>
          <a:p>
            <a:pPr marL="0" lvl="0"/>
            <a:r>
              <a:rPr lang="es-ES" noProof="0" dirty="0"/>
              <a:t>D</a:t>
            </a:r>
            <a:r>
              <a:rPr lang="en-GB" noProof="0" dirty="0" err="1"/>
              <a:t>ocument</a:t>
            </a:r>
            <a:r>
              <a:rPr lang="en-GB" noProof="0" dirty="0"/>
              <a:t> Title</a:t>
            </a:r>
          </a:p>
        </p:txBody>
      </p:sp>
      <p:pic>
        <p:nvPicPr>
          <p:cNvPr id="8" name="Imagen 15">
            <a:extLst>
              <a:ext uri="{FF2B5EF4-FFF2-40B4-BE49-F238E27FC236}">
                <a16:creationId xmlns:a16="http://schemas.microsoft.com/office/drawing/2014/main" id="{B065F7FD-B3E1-43A0-BA90-5D534CBEF16D}"/>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8206627" y="10175274"/>
            <a:ext cx="1170610" cy="607079"/>
          </a:xfrm>
          <a:prstGeom prst="rect">
            <a:avLst/>
          </a:prstGeom>
        </p:spPr>
      </p:pic>
      <p:sp>
        <p:nvSpPr>
          <p:cNvPr id="6" name="Text Placeholder 5">
            <a:extLst>
              <a:ext uri="{FF2B5EF4-FFF2-40B4-BE49-F238E27FC236}">
                <a16:creationId xmlns:a16="http://schemas.microsoft.com/office/drawing/2014/main" id="{96451491-55DA-494C-AE67-A7AA6F9EE7DA}"/>
              </a:ext>
            </a:extLst>
          </p:cNvPr>
          <p:cNvSpPr>
            <a:spLocks noGrp="1"/>
          </p:cNvSpPr>
          <p:nvPr>
            <p:ph type="body" sz="quarter" idx="11" hasCustomPrompt="1"/>
          </p:nvPr>
        </p:nvSpPr>
        <p:spPr>
          <a:xfrm>
            <a:off x="615165" y="3996419"/>
            <a:ext cx="1591576" cy="1055017"/>
          </a:xfrm>
        </p:spPr>
        <p:txBody>
          <a:bodyPr>
            <a:noAutofit/>
          </a:bodyPr>
          <a:lstStyle>
            <a:lvl1pPr marL="0" indent="0">
              <a:buNone/>
              <a:defRPr sz="7915">
                <a:solidFill>
                  <a:schemeClr val="tx2"/>
                </a:solidFill>
              </a:defRPr>
            </a:lvl1pPr>
            <a:lvl2pPr marL="753923" indent="0">
              <a:buNone/>
              <a:defRPr/>
            </a:lvl2pPr>
            <a:lvl3pPr marL="1507846" indent="0">
              <a:buNone/>
              <a:defRPr/>
            </a:lvl3pPr>
            <a:lvl4pPr marL="2261768" indent="0">
              <a:buNone/>
              <a:defRPr/>
            </a:lvl4pPr>
            <a:lvl5pPr marL="3015691" indent="0">
              <a:buNone/>
              <a:defRPr/>
            </a:lvl5pPr>
          </a:lstStyle>
          <a:p>
            <a:pPr lvl="0"/>
            <a:r>
              <a:rPr lang="en-US" dirty="0"/>
              <a:t>Nº</a:t>
            </a:r>
            <a:endParaRPr lang="en-GB" dirty="0"/>
          </a:p>
        </p:txBody>
      </p:sp>
      <p:sp>
        <p:nvSpPr>
          <p:cNvPr id="10" name="Text Placeholder 9">
            <a:extLst>
              <a:ext uri="{FF2B5EF4-FFF2-40B4-BE49-F238E27FC236}">
                <a16:creationId xmlns:a16="http://schemas.microsoft.com/office/drawing/2014/main" id="{ECD08C52-C62A-483D-AEB9-8ECE7A332507}"/>
              </a:ext>
            </a:extLst>
          </p:cNvPr>
          <p:cNvSpPr>
            <a:spLocks noGrp="1"/>
          </p:cNvSpPr>
          <p:nvPr>
            <p:ph type="body" sz="quarter" idx="12" hasCustomPrompt="1"/>
          </p:nvPr>
        </p:nvSpPr>
        <p:spPr>
          <a:xfrm>
            <a:off x="615164" y="5145682"/>
            <a:ext cx="3287858" cy="356200"/>
          </a:xfrm>
        </p:spPr>
        <p:txBody>
          <a:bodyPr>
            <a:normAutofit/>
          </a:bodyPr>
          <a:lstStyle>
            <a:lvl1pPr marL="0" indent="0" algn="l">
              <a:buFont typeface="Arial" panose="020B0604020202020204" pitchFamily="34" charset="0"/>
              <a:buNone/>
              <a:defRPr sz="1731" b="1"/>
            </a:lvl1pPr>
          </a:lstStyle>
          <a:p>
            <a:pPr lvl="0"/>
            <a:r>
              <a:rPr lang="en-US" dirty="0"/>
              <a:t>TITLE</a:t>
            </a:r>
            <a:endParaRPr lang="en-GB" dirty="0"/>
          </a:p>
        </p:txBody>
      </p:sp>
      <p:sp>
        <p:nvSpPr>
          <p:cNvPr id="13" name="Text Placeholder 9">
            <a:extLst>
              <a:ext uri="{FF2B5EF4-FFF2-40B4-BE49-F238E27FC236}">
                <a16:creationId xmlns:a16="http://schemas.microsoft.com/office/drawing/2014/main" id="{75D0857F-ADC8-4CFD-8864-141069A38FC9}"/>
              </a:ext>
            </a:extLst>
          </p:cNvPr>
          <p:cNvSpPr>
            <a:spLocks noGrp="1"/>
          </p:cNvSpPr>
          <p:nvPr>
            <p:ph type="body" sz="quarter" idx="13" hasCustomPrompt="1"/>
          </p:nvPr>
        </p:nvSpPr>
        <p:spPr>
          <a:xfrm>
            <a:off x="615163" y="5569772"/>
            <a:ext cx="5122882" cy="2546035"/>
          </a:xfrm>
        </p:spPr>
        <p:txBody>
          <a:bodyPr>
            <a:normAutofit/>
          </a:bodyPr>
          <a:lstStyle>
            <a:lvl1pPr marL="0" indent="0">
              <a:buNone/>
              <a:defRPr sz="1649" b="0"/>
            </a:lvl1pPr>
          </a:lstStyle>
          <a:p>
            <a:pPr lvl="0"/>
            <a:r>
              <a:rPr lang="en-US" dirty="0"/>
              <a:t>Lorem</a:t>
            </a:r>
            <a:endParaRPr lang="en-GB" dirty="0"/>
          </a:p>
        </p:txBody>
      </p:sp>
      <p:sp>
        <p:nvSpPr>
          <p:cNvPr id="11" name="Title 10">
            <a:extLst>
              <a:ext uri="{FF2B5EF4-FFF2-40B4-BE49-F238E27FC236}">
                <a16:creationId xmlns:a16="http://schemas.microsoft.com/office/drawing/2014/main" id="{B384F1BB-96E7-4D3C-AEA6-2038C6C940A2}"/>
              </a:ext>
            </a:extLst>
          </p:cNvPr>
          <p:cNvSpPr>
            <a:spLocks noGrp="1"/>
          </p:cNvSpPr>
          <p:nvPr>
            <p:ph type="title" hasCustomPrompt="1"/>
          </p:nvPr>
        </p:nvSpPr>
        <p:spPr>
          <a:xfrm>
            <a:off x="615163" y="396486"/>
            <a:ext cx="8682983" cy="2546037"/>
          </a:xfrm>
        </p:spPr>
        <p:txBody>
          <a:bodyPr anchor="t">
            <a:normAutofit/>
          </a:bodyPr>
          <a:lstStyle>
            <a:lvl1pPr>
              <a:lnSpc>
                <a:spcPts val="9234"/>
              </a:lnSpc>
              <a:defRPr sz="9564">
                <a:solidFill>
                  <a:schemeClr val="tx2"/>
                </a:solidFill>
              </a:defRPr>
            </a:lvl1pPr>
          </a:lstStyle>
          <a:p>
            <a:r>
              <a:rPr lang="en-US" dirty="0"/>
              <a:t>Title</a:t>
            </a:r>
            <a:endParaRPr lang="en-GB" dirty="0"/>
          </a:p>
        </p:txBody>
      </p:sp>
      <p:sp>
        <p:nvSpPr>
          <p:cNvPr id="44" name="Text Placeholder 5">
            <a:extLst>
              <a:ext uri="{FF2B5EF4-FFF2-40B4-BE49-F238E27FC236}">
                <a16:creationId xmlns:a16="http://schemas.microsoft.com/office/drawing/2014/main" id="{821A2FA3-9D43-4A92-BB53-C7698B6C03CB}"/>
              </a:ext>
            </a:extLst>
          </p:cNvPr>
          <p:cNvSpPr>
            <a:spLocks noGrp="1"/>
          </p:cNvSpPr>
          <p:nvPr>
            <p:ph type="body" sz="quarter" idx="14" hasCustomPrompt="1"/>
          </p:nvPr>
        </p:nvSpPr>
        <p:spPr>
          <a:xfrm>
            <a:off x="7079395" y="3996419"/>
            <a:ext cx="1591576" cy="1055017"/>
          </a:xfrm>
        </p:spPr>
        <p:txBody>
          <a:bodyPr>
            <a:noAutofit/>
          </a:bodyPr>
          <a:lstStyle>
            <a:lvl1pPr marL="0" indent="0">
              <a:buNone/>
              <a:defRPr sz="7915">
                <a:solidFill>
                  <a:schemeClr val="tx2"/>
                </a:solidFill>
              </a:defRPr>
            </a:lvl1pPr>
            <a:lvl2pPr marL="753923" indent="0">
              <a:buNone/>
              <a:defRPr/>
            </a:lvl2pPr>
            <a:lvl3pPr marL="1507846" indent="0">
              <a:buNone/>
              <a:defRPr/>
            </a:lvl3pPr>
            <a:lvl4pPr marL="2261768" indent="0">
              <a:buNone/>
              <a:defRPr/>
            </a:lvl4pPr>
            <a:lvl5pPr marL="3015691" indent="0">
              <a:buNone/>
              <a:defRPr/>
            </a:lvl5pPr>
          </a:lstStyle>
          <a:p>
            <a:pPr lvl="0"/>
            <a:r>
              <a:rPr lang="en-US" dirty="0"/>
              <a:t>Nº</a:t>
            </a:r>
            <a:endParaRPr lang="en-GB" dirty="0"/>
          </a:p>
        </p:txBody>
      </p:sp>
      <p:sp>
        <p:nvSpPr>
          <p:cNvPr id="45" name="Text Placeholder 9">
            <a:extLst>
              <a:ext uri="{FF2B5EF4-FFF2-40B4-BE49-F238E27FC236}">
                <a16:creationId xmlns:a16="http://schemas.microsoft.com/office/drawing/2014/main" id="{1516BF46-331E-4EE6-9EA1-9358501A2309}"/>
              </a:ext>
            </a:extLst>
          </p:cNvPr>
          <p:cNvSpPr>
            <a:spLocks noGrp="1"/>
          </p:cNvSpPr>
          <p:nvPr>
            <p:ph type="body" sz="quarter" idx="15" hasCustomPrompt="1"/>
          </p:nvPr>
        </p:nvSpPr>
        <p:spPr>
          <a:xfrm>
            <a:off x="7079394" y="5145682"/>
            <a:ext cx="3287858" cy="356200"/>
          </a:xfrm>
        </p:spPr>
        <p:txBody>
          <a:bodyPr>
            <a:normAutofit/>
          </a:bodyPr>
          <a:lstStyle>
            <a:lvl1pPr marL="0" indent="0" algn="l">
              <a:buFont typeface="Arial" panose="020B0604020202020204" pitchFamily="34" charset="0"/>
              <a:buNone/>
              <a:defRPr sz="1731" b="1"/>
            </a:lvl1pPr>
          </a:lstStyle>
          <a:p>
            <a:pPr lvl="0"/>
            <a:r>
              <a:rPr lang="en-US" dirty="0"/>
              <a:t>TITLE</a:t>
            </a:r>
            <a:endParaRPr lang="en-GB" dirty="0"/>
          </a:p>
        </p:txBody>
      </p:sp>
      <p:sp>
        <p:nvSpPr>
          <p:cNvPr id="46" name="Text Placeholder 9">
            <a:extLst>
              <a:ext uri="{FF2B5EF4-FFF2-40B4-BE49-F238E27FC236}">
                <a16:creationId xmlns:a16="http://schemas.microsoft.com/office/drawing/2014/main" id="{A01B0FD0-AFAC-4AA1-88C2-4345601D732A}"/>
              </a:ext>
            </a:extLst>
          </p:cNvPr>
          <p:cNvSpPr>
            <a:spLocks noGrp="1"/>
          </p:cNvSpPr>
          <p:nvPr>
            <p:ph type="body" sz="quarter" idx="16" hasCustomPrompt="1"/>
          </p:nvPr>
        </p:nvSpPr>
        <p:spPr>
          <a:xfrm>
            <a:off x="7079393" y="5569772"/>
            <a:ext cx="5122882" cy="2546035"/>
          </a:xfrm>
        </p:spPr>
        <p:txBody>
          <a:bodyPr>
            <a:normAutofit/>
          </a:bodyPr>
          <a:lstStyle>
            <a:lvl1pPr marL="0" indent="0">
              <a:buNone/>
              <a:defRPr sz="1649" b="0"/>
            </a:lvl1pPr>
          </a:lstStyle>
          <a:p>
            <a:pPr lvl="0"/>
            <a:r>
              <a:rPr lang="en-US" dirty="0"/>
              <a:t>Lorem</a:t>
            </a:r>
            <a:endParaRPr lang="en-GB" dirty="0"/>
          </a:p>
        </p:txBody>
      </p:sp>
      <p:sp>
        <p:nvSpPr>
          <p:cNvPr id="47" name="Text Placeholder 5">
            <a:extLst>
              <a:ext uri="{FF2B5EF4-FFF2-40B4-BE49-F238E27FC236}">
                <a16:creationId xmlns:a16="http://schemas.microsoft.com/office/drawing/2014/main" id="{33748874-45FF-4B3C-AB09-363ED1440965}"/>
              </a:ext>
            </a:extLst>
          </p:cNvPr>
          <p:cNvSpPr>
            <a:spLocks noGrp="1"/>
          </p:cNvSpPr>
          <p:nvPr>
            <p:ph type="body" sz="quarter" idx="17" hasCustomPrompt="1"/>
          </p:nvPr>
        </p:nvSpPr>
        <p:spPr>
          <a:xfrm>
            <a:off x="13543625" y="3996419"/>
            <a:ext cx="1591576" cy="1055017"/>
          </a:xfrm>
        </p:spPr>
        <p:txBody>
          <a:bodyPr>
            <a:noAutofit/>
          </a:bodyPr>
          <a:lstStyle>
            <a:lvl1pPr marL="0" indent="0">
              <a:buNone/>
              <a:defRPr sz="7915">
                <a:solidFill>
                  <a:schemeClr val="tx2"/>
                </a:solidFill>
              </a:defRPr>
            </a:lvl1pPr>
            <a:lvl2pPr marL="753923" indent="0">
              <a:buNone/>
              <a:defRPr/>
            </a:lvl2pPr>
            <a:lvl3pPr marL="1507846" indent="0">
              <a:buNone/>
              <a:defRPr/>
            </a:lvl3pPr>
            <a:lvl4pPr marL="2261768" indent="0">
              <a:buNone/>
              <a:defRPr/>
            </a:lvl4pPr>
            <a:lvl5pPr marL="3015691" indent="0">
              <a:buNone/>
              <a:defRPr/>
            </a:lvl5pPr>
          </a:lstStyle>
          <a:p>
            <a:pPr lvl="0"/>
            <a:r>
              <a:rPr lang="en-US" dirty="0"/>
              <a:t>Nº</a:t>
            </a:r>
            <a:endParaRPr lang="en-GB" dirty="0"/>
          </a:p>
        </p:txBody>
      </p:sp>
      <p:sp>
        <p:nvSpPr>
          <p:cNvPr id="48" name="Text Placeholder 9">
            <a:extLst>
              <a:ext uri="{FF2B5EF4-FFF2-40B4-BE49-F238E27FC236}">
                <a16:creationId xmlns:a16="http://schemas.microsoft.com/office/drawing/2014/main" id="{0D897AB2-43AD-4AB6-A6A7-B46BC19FD312}"/>
              </a:ext>
            </a:extLst>
          </p:cNvPr>
          <p:cNvSpPr>
            <a:spLocks noGrp="1"/>
          </p:cNvSpPr>
          <p:nvPr>
            <p:ph type="body" sz="quarter" idx="18" hasCustomPrompt="1"/>
          </p:nvPr>
        </p:nvSpPr>
        <p:spPr>
          <a:xfrm>
            <a:off x="13543624" y="5145682"/>
            <a:ext cx="3287858" cy="356200"/>
          </a:xfrm>
        </p:spPr>
        <p:txBody>
          <a:bodyPr>
            <a:normAutofit/>
          </a:bodyPr>
          <a:lstStyle>
            <a:lvl1pPr marL="0" indent="0" algn="l">
              <a:buFont typeface="Arial" panose="020B0604020202020204" pitchFamily="34" charset="0"/>
              <a:buNone/>
              <a:defRPr sz="1731" b="1"/>
            </a:lvl1pPr>
          </a:lstStyle>
          <a:p>
            <a:pPr lvl="0"/>
            <a:r>
              <a:rPr lang="en-US" dirty="0"/>
              <a:t>TITLE</a:t>
            </a:r>
            <a:endParaRPr lang="en-GB" dirty="0"/>
          </a:p>
        </p:txBody>
      </p:sp>
      <p:sp>
        <p:nvSpPr>
          <p:cNvPr id="49" name="Text Placeholder 9">
            <a:extLst>
              <a:ext uri="{FF2B5EF4-FFF2-40B4-BE49-F238E27FC236}">
                <a16:creationId xmlns:a16="http://schemas.microsoft.com/office/drawing/2014/main" id="{36A414C0-5AF1-4821-AB84-E5622E6E40B0}"/>
              </a:ext>
            </a:extLst>
          </p:cNvPr>
          <p:cNvSpPr>
            <a:spLocks noGrp="1"/>
          </p:cNvSpPr>
          <p:nvPr>
            <p:ph type="body" sz="quarter" idx="19" hasCustomPrompt="1"/>
          </p:nvPr>
        </p:nvSpPr>
        <p:spPr>
          <a:xfrm>
            <a:off x="13543623" y="5569772"/>
            <a:ext cx="5122882" cy="2546035"/>
          </a:xfrm>
        </p:spPr>
        <p:txBody>
          <a:bodyPr>
            <a:normAutofit/>
          </a:bodyPr>
          <a:lstStyle>
            <a:lvl1pPr marL="0" indent="0">
              <a:buNone/>
              <a:defRPr sz="1649" b="0"/>
            </a:lvl1pPr>
          </a:lstStyle>
          <a:p>
            <a:pPr lvl="0"/>
            <a:r>
              <a:rPr lang="en-US" dirty="0"/>
              <a:t>Lorem</a:t>
            </a:r>
            <a:endParaRPr lang="en-GB" dirty="0"/>
          </a:p>
        </p:txBody>
      </p:sp>
    </p:spTree>
    <p:extLst>
      <p:ext uri="{BB962C8B-B14F-4D97-AF65-F5344CB8AC3E}">
        <p14:creationId xmlns:p14="http://schemas.microsoft.com/office/powerpoint/2010/main" val="1792421402"/>
      </p:ext>
    </p:extLst>
  </p:cSld>
  <p:clrMapOvr>
    <a:overrideClrMapping bg1="lt1" tx1="dk1" bg2="lt2" tx2="dk2" accent1="accent1" accent2="accent2" accent3="accent3" accent4="accent4" accent5="accent5" accent6="accent6" hlink="hlink" folHlink="folHlink"/>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Contents-10 numbering-white purple">
    <p:bg>
      <p:bgPr>
        <a:solidFill>
          <a:schemeClr val="tx2"/>
        </a:solidFill>
        <a:effectLst/>
      </p:bgPr>
    </p:bg>
    <p:spTree>
      <p:nvGrpSpPr>
        <p:cNvPr id="1" name=""/>
        <p:cNvGrpSpPr/>
        <p:nvPr/>
      </p:nvGrpSpPr>
      <p:grpSpPr>
        <a:xfrm>
          <a:off x="0" y="0"/>
          <a:ext cx="0" cy="0"/>
          <a:chOff x="0" y="0"/>
          <a:chExt cx="0" cy="0"/>
        </a:xfrm>
      </p:grpSpPr>
      <p:sp>
        <p:nvSpPr>
          <p:cNvPr id="14" name="Marcador de texto 19">
            <a:extLst>
              <a:ext uri="{FF2B5EF4-FFF2-40B4-BE49-F238E27FC236}">
                <a16:creationId xmlns:a16="http://schemas.microsoft.com/office/drawing/2014/main" id="{F0A5F956-78D9-483E-8513-18F922BFD069}"/>
              </a:ext>
            </a:extLst>
          </p:cNvPr>
          <p:cNvSpPr>
            <a:spLocks noGrp="1"/>
          </p:cNvSpPr>
          <p:nvPr>
            <p:ph type="body" sz="quarter" idx="10" hasCustomPrompt="1"/>
          </p:nvPr>
        </p:nvSpPr>
        <p:spPr>
          <a:xfrm>
            <a:off x="17185412" y="389504"/>
            <a:ext cx="2985439" cy="250572"/>
          </a:xfrm>
          <a:noFill/>
        </p:spPr>
        <p:txBody>
          <a:bodyPr wrap="square" lIns="0" tIns="0" rIns="0" bIns="0" rtlCol="0" anchor="ctr">
            <a:noAutofit/>
          </a:bodyPr>
          <a:lstStyle>
            <a:lvl1pPr marL="0" indent="0">
              <a:buNone/>
              <a:defRPr lang="es-ES" sz="1319" b="0" smtClean="0">
                <a:solidFill>
                  <a:schemeClr val="bg1"/>
                </a:solidFill>
              </a:defRPr>
            </a:lvl1pPr>
            <a:lvl2pPr marL="376961" indent="0">
              <a:buNone/>
              <a:defRPr lang="es-ES" sz="2968" smtClean="0"/>
            </a:lvl2pPr>
            <a:lvl3pPr marL="1130884" indent="0">
              <a:buNone/>
              <a:defRPr lang="es-ES" sz="2968" smtClean="0"/>
            </a:lvl3pPr>
            <a:lvl4pPr marL="1790567" indent="0">
              <a:buFont typeface="Arial" panose="020B0604020202020204" pitchFamily="34" charset="0"/>
              <a:buNone/>
              <a:defRPr lang="es-ES" smtClean="0"/>
            </a:lvl4pPr>
            <a:lvl5pPr marL="2638730" indent="0">
              <a:buNone/>
              <a:defRPr lang="es-ES"/>
            </a:lvl5pPr>
          </a:lstStyle>
          <a:p>
            <a:pPr marL="0" lvl="0"/>
            <a:r>
              <a:rPr lang="es-ES" noProof="0" dirty="0"/>
              <a:t>D</a:t>
            </a:r>
            <a:r>
              <a:rPr lang="en-GB" noProof="0" dirty="0" err="1"/>
              <a:t>ocument</a:t>
            </a:r>
            <a:r>
              <a:rPr lang="en-GB" noProof="0" dirty="0"/>
              <a:t> Title</a:t>
            </a:r>
          </a:p>
        </p:txBody>
      </p:sp>
      <p:sp>
        <p:nvSpPr>
          <p:cNvPr id="6" name="Text Placeholder 5">
            <a:extLst>
              <a:ext uri="{FF2B5EF4-FFF2-40B4-BE49-F238E27FC236}">
                <a16:creationId xmlns:a16="http://schemas.microsoft.com/office/drawing/2014/main" id="{96451491-55DA-494C-AE67-A7AA6F9EE7DA}"/>
              </a:ext>
            </a:extLst>
          </p:cNvPr>
          <p:cNvSpPr>
            <a:spLocks noGrp="1"/>
          </p:cNvSpPr>
          <p:nvPr>
            <p:ph type="body" sz="quarter" idx="11" hasCustomPrompt="1"/>
          </p:nvPr>
        </p:nvSpPr>
        <p:spPr>
          <a:xfrm>
            <a:off x="615165" y="3036771"/>
            <a:ext cx="1591576" cy="1055017"/>
          </a:xfrm>
        </p:spPr>
        <p:txBody>
          <a:bodyPr>
            <a:noAutofit/>
          </a:bodyPr>
          <a:lstStyle>
            <a:lvl1pPr marL="0" indent="0">
              <a:buNone/>
              <a:defRPr sz="7915">
                <a:solidFill>
                  <a:schemeClr val="bg1"/>
                </a:solidFill>
              </a:defRPr>
            </a:lvl1pPr>
            <a:lvl2pPr marL="753923" indent="0">
              <a:buNone/>
              <a:defRPr/>
            </a:lvl2pPr>
            <a:lvl3pPr marL="1507846" indent="0">
              <a:buNone/>
              <a:defRPr/>
            </a:lvl3pPr>
            <a:lvl4pPr marL="2261768" indent="0">
              <a:buNone/>
              <a:defRPr/>
            </a:lvl4pPr>
            <a:lvl5pPr marL="3015691" indent="0">
              <a:buNone/>
              <a:defRPr/>
            </a:lvl5pPr>
          </a:lstStyle>
          <a:p>
            <a:pPr lvl="0"/>
            <a:r>
              <a:rPr lang="en-US" dirty="0"/>
              <a:t>Nº</a:t>
            </a:r>
            <a:endParaRPr lang="en-GB" dirty="0"/>
          </a:p>
        </p:txBody>
      </p:sp>
      <p:sp>
        <p:nvSpPr>
          <p:cNvPr id="10" name="Text Placeholder 9">
            <a:extLst>
              <a:ext uri="{FF2B5EF4-FFF2-40B4-BE49-F238E27FC236}">
                <a16:creationId xmlns:a16="http://schemas.microsoft.com/office/drawing/2014/main" id="{ECD08C52-C62A-483D-AEB9-8ECE7A332507}"/>
              </a:ext>
            </a:extLst>
          </p:cNvPr>
          <p:cNvSpPr>
            <a:spLocks noGrp="1"/>
          </p:cNvSpPr>
          <p:nvPr>
            <p:ph type="body" sz="quarter" idx="12" hasCustomPrompt="1"/>
          </p:nvPr>
        </p:nvSpPr>
        <p:spPr>
          <a:xfrm>
            <a:off x="615164" y="4186033"/>
            <a:ext cx="3287858" cy="356200"/>
          </a:xfrm>
        </p:spPr>
        <p:txBody>
          <a:bodyPr>
            <a:normAutofit/>
          </a:bodyPr>
          <a:lstStyle>
            <a:lvl1pPr marL="0" indent="0" algn="l">
              <a:buFont typeface="Arial" panose="020B0604020202020204" pitchFamily="34" charset="0"/>
              <a:buNone/>
              <a:defRPr sz="1731" b="1">
                <a:solidFill>
                  <a:schemeClr val="bg1"/>
                </a:solidFill>
              </a:defRPr>
            </a:lvl1pPr>
          </a:lstStyle>
          <a:p>
            <a:pPr lvl="0"/>
            <a:r>
              <a:rPr lang="en-US" dirty="0"/>
              <a:t>TITLE</a:t>
            </a:r>
            <a:endParaRPr lang="en-GB" dirty="0"/>
          </a:p>
        </p:txBody>
      </p:sp>
      <p:sp>
        <p:nvSpPr>
          <p:cNvPr id="13" name="Text Placeholder 9">
            <a:extLst>
              <a:ext uri="{FF2B5EF4-FFF2-40B4-BE49-F238E27FC236}">
                <a16:creationId xmlns:a16="http://schemas.microsoft.com/office/drawing/2014/main" id="{75D0857F-ADC8-4CFD-8864-141069A38FC9}"/>
              </a:ext>
            </a:extLst>
          </p:cNvPr>
          <p:cNvSpPr>
            <a:spLocks noGrp="1"/>
          </p:cNvSpPr>
          <p:nvPr>
            <p:ph type="body" sz="quarter" idx="13" hasCustomPrompt="1"/>
          </p:nvPr>
        </p:nvSpPr>
        <p:spPr>
          <a:xfrm>
            <a:off x="615164" y="4610123"/>
            <a:ext cx="3287858" cy="1602900"/>
          </a:xfrm>
        </p:spPr>
        <p:txBody>
          <a:bodyPr>
            <a:normAutofit/>
          </a:bodyPr>
          <a:lstStyle>
            <a:lvl1pPr marL="0" indent="0">
              <a:buNone/>
              <a:defRPr sz="1649" b="0">
                <a:solidFill>
                  <a:schemeClr val="bg1"/>
                </a:solidFill>
              </a:defRPr>
            </a:lvl1pPr>
          </a:lstStyle>
          <a:p>
            <a:pPr lvl="0"/>
            <a:r>
              <a:rPr lang="en-US" dirty="0"/>
              <a:t>Lorem</a:t>
            </a:r>
            <a:endParaRPr lang="en-GB" dirty="0"/>
          </a:p>
        </p:txBody>
      </p:sp>
      <p:sp>
        <p:nvSpPr>
          <p:cNvPr id="15" name="Text Placeholder 5">
            <a:extLst>
              <a:ext uri="{FF2B5EF4-FFF2-40B4-BE49-F238E27FC236}">
                <a16:creationId xmlns:a16="http://schemas.microsoft.com/office/drawing/2014/main" id="{EA47D272-5350-465D-812F-44D6935CF029}"/>
              </a:ext>
            </a:extLst>
          </p:cNvPr>
          <p:cNvSpPr>
            <a:spLocks noGrp="1"/>
          </p:cNvSpPr>
          <p:nvPr>
            <p:ph type="body" sz="quarter" idx="14" hasCustomPrompt="1"/>
          </p:nvPr>
        </p:nvSpPr>
        <p:spPr>
          <a:xfrm>
            <a:off x="4409814" y="3036771"/>
            <a:ext cx="1591576" cy="1055017"/>
          </a:xfrm>
        </p:spPr>
        <p:txBody>
          <a:bodyPr>
            <a:noAutofit/>
          </a:bodyPr>
          <a:lstStyle>
            <a:lvl1pPr marL="0" indent="0">
              <a:buNone/>
              <a:defRPr sz="7915">
                <a:solidFill>
                  <a:schemeClr val="bg1"/>
                </a:solidFill>
              </a:defRPr>
            </a:lvl1pPr>
            <a:lvl2pPr marL="753923" indent="0">
              <a:buNone/>
              <a:defRPr/>
            </a:lvl2pPr>
            <a:lvl3pPr marL="1507846" indent="0">
              <a:buNone/>
              <a:defRPr/>
            </a:lvl3pPr>
            <a:lvl4pPr marL="2261768" indent="0">
              <a:buNone/>
              <a:defRPr/>
            </a:lvl4pPr>
            <a:lvl5pPr marL="3015691" indent="0">
              <a:buNone/>
              <a:defRPr/>
            </a:lvl5pPr>
          </a:lstStyle>
          <a:p>
            <a:pPr lvl="0"/>
            <a:r>
              <a:rPr lang="en-US" dirty="0"/>
              <a:t>Nº</a:t>
            </a:r>
            <a:endParaRPr lang="en-GB" dirty="0"/>
          </a:p>
        </p:txBody>
      </p:sp>
      <p:sp>
        <p:nvSpPr>
          <p:cNvPr id="16" name="Text Placeholder 9">
            <a:extLst>
              <a:ext uri="{FF2B5EF4-FFF2-40B4-BE49-F238E27FC236}">
                <a16:creationId xmlns:a16="http://schemas.microsoft.com/office/drawing/2014/main" id="{A74D1E6A-C29F-40C3-A21F-64983EE009B5}"/>
              </a:ext>
            </a:extLst>
          </p:cNvPr>
          <p:cNvSpPr>
            <a:spLocks noGrp="1"/>
          </p:cNvSpPr>
          <p:nvPr>
            <p:ph type="body" sz="quarter" idx="15" hasCustomPrompt="1"/>
          </p:nvPr>
        </p:nvSpPr>
        <p:spPr>
          <a:xfrm>
            <a:off x="4409813" y="4186033"/>
            <a:ext cx="3287858" cy="356200"/>
          </a:xfrm>
        </p:spPr>
        <p:txBody>
          <a:bodyPr>
            <a:normAutofit/>
          </a:bodyPr>
          <a:lstStyle>
            <a:lvl1pPr marL="0" indent="0" algn="l">
              <a:buNone/>
              <a:defRPr sz="1731" b="1">
                <a:solidFill>
                  <a:schemeClr val="bg1"/>
                </a:solidFill>
              </a:defRPr>
            </a:lvl1pPr>
          </a:lstStyle>
          <a:p>
            <a:pPr lvl="0"/>
            <a:r>
              <a:rPr lang="en-US" dirty="0"/>
              <a:t>TITLE</a:t>
            </a:r>
            <a:endParaRPr lang="en-GB" dirty="0"/>
          </a:p>
        </p:txBody>
      </p:sp>
      <p:sp>
        <p:nvSpPr>
          <p:cNvPr id="17" name="Text Placeholder 9">
            <a:extLst>
              <a:ext uri="{FF2B5EF4-FFF2-40B4-BE49-F238E27FC236}">
                <a16:creationId xmlns:a16="http://schemas.microsoft.com/office/drawing/2014/main" id="{CB5F5ED8-32CC-43AE-95F2-320422A4B6F2}"/>
              </a:ext>
            </a:extLst>
          </p:cNvPr>
          <p:cNvSpPr>
            <a:spLocks noGrp="1"/>
          </p:cNvSpPr>
          <p:nvPr>
            <p:ph type="body" sz="quarter" idx="16" hasCustomPrompt="1"/>
          </p:nvPr>
        </p:nvSpPr>
        <p:spPr>
          <a:xfrm>
            <a:off x="4409813" y="4610123"/>
            <a:ext cx="3287858" cy="1602900"/>
          </a:xfrm>
        </p:spPr>
        <p:txBody>
          <a:bodyPr>
            <a:normAutofit/>
          </a:bodyPr>
          <a:lstStyle>
            <a:lvl1pPr marL="0" indent="0">
              <a:buNone/>
              <a:defRPr sz="1649" b="0">
                <a:solidFill>
                  <a:schemeClr val="bg1"/>
                </a:solidFill>
              </a:defRPr>
            </a:lvl1pPr>
          </a:lstStyle>
          <a:p>
            <a:pPr lvl="0"/>
            <a:r>
              <a:rPr lang="en-US" dirty="0"/>
              <a:t>Lorem</a:t>
            </a:r>
            <a:endParaRPr lang="en-GB" dirty="0"/>
          </a:p>
        </p:txBody>
      </p:sp>
      <p:sp>
        <p:nvSpPr>
          <p:cNvPr id="18" name="Text Placeholder 5">
            <a:extLst>
              <a:ext uri="{FF2B5EF4-FFF2-40B4-BE49-F238E27FC236}">
                <a16:creationId xmlns:a16="http://schemas.microsoft.com/office/drawing/2014/main" id="{25A3565A-C592-4597-8606-88B88195191D}"/>
              </a:ext>
            </a:extLst>
          </p:cNvPr>
          <p:cNvSpPr>
            <a:spLocks noGrp="1"/>
          </p:cNvSpPr>
          <p:nvPr>
            <p:ph type="body" sz="quarter" idx="17" hasCustomPrompt="1"/>
          </p:nvPr>
        </p:nvSpPr>
        <p:spPr>
          <a:xfrm>
            <a:off x="8166767" y="3036771"/>
            <a:ext cx="1591576" cy="1055017"/>
          </a:xfrm>
        </p:spPr>
        <p:txBody>
          <a:bodyPr>
            <a:noAutofit/>
          </a:bodyPr>
          <a:lstStyle>
            <a:lvl1pPr marL="0" indent="0">
              <a:buNone/>
              <a:defRPr sz="7915">
                <a:solidFill>
                  <a:schemeClr val="bg1"/>
                </a:solidFill>
              </a:defRPr>
            </a:lvl1pPr>
            <a:lvl2pPr marL="753923" indent="0">
              <a:buNone/>
              <a:defRPr/>
            </a:lvl2pPr>
            <a:lvl3pPr marL="1507846" indent="0">
              <a:buNone/>
              <a:defRPr/>
            </a:lvl3pPr>
            <a:lvl4pPr marL="2261768" indent="0">
              <a:buNone/>
              <a:defRPr/>
            </a:lvl4pPr>
            <a:lvl5pPr marL="3015691" indent="0">
              <a:buNone/>
              <a:defRPr/>
            </a:lvl5pPr>
          </a:lstStyle>
          <a:p>
            <a:pPr lvl="0"/>
            <a:r>
              <a:rPr lang="en-US" dirty="0"/>
              <a:t>Nº</a:t>
            </a:r>
            <a:endParaRPr lang="en-GB" dirty="0"/>
          </a:p>
        </p:txBody>
      </p:sp>
      <p:sp>
        <p:nvSpPr>
          <p:cNvPr id="20" name="Text Placeholder 9">
            <a:extLst>
              <a:ext uri="{FF2B5EF4-FFF2-40B4-BE49-F238E27FC236}">
                <a16:creationId xmlns:a16="http://schemas.microsoft.com/office/drawing/2014/main" id="{E8ABFFFD-3581-4836-8C68-837FF6D9DD00}"/>
              </a:ext>
            </a:extLst>
          </p:cNvPr>
          <p:cNvSpPr>
            <a:spLocks noGrp="1"/>
          </p:cNvSpPr>
          <p:nvPr>
            <p:ph type="body" sz="quarter" idx="18" hasCustomPrompt="1"/>
          </p:nvPr>
        </p:nvSpPr>
        <p:spPr>
          <a:xfrm>
            <a:off x="8166766" y="4186033"/>
            <a:ext cx="3287858" cy="356200"/>
          </a:xfrm>
        </p:spPr>
        <p:txBody>
          <a:bodyPr>
            <a:normAutofit/>
          </a:bodyPr>
          <a:lstStyle>
            <a:lvl1pPr marL="0" indent="0" algn="l">
              <a:buNone/>
              <a:defRPr sz="1731" b="1">
                <a:solidFill>
                  <a:schemeClr val="bg1"/>
                </a:solidFill>
              </a:defRPr>
            </a:lvl1pPr>
          </a:lstStyle>
          <a:p>
            <a:pPr lvl="0"/>
            <a:r>
              <a:rPr lang="en-US" dirty="0"/>
              <a:t>TITLE</a:t>
            </a:r>
            <a:endParaRPr lang="en-GB" dirty="0"/>
          </a:p>
        </p:txBody>
      </p:sp>
      <p:sp>
        <p:nvSpPr>
          <p:cNvPr id="21" name="Text Placeholder 9">
            <a:extLst>
              <a:ext uri="{FF2B5EF4-FFF2-40B4-BE49-F238E27FC236}">
                <a16:creationId xmlns:a16="http://schemas.microsoft.com/office/drawing/2014/main" id="{F1ECF6A5-EB6E-4BB8-871F-744ED5F47273}"/>
              </a:ext>
            </a:extLst>
          </p:cNvPr>
          <p:cNvSpPr>
            <a:spLocks noGrp="1"/>
          </p:cNvSpPr>
          <p:nvPr>
            <p:ph type="body" sz="quarter" idx="19" hasCustomPrompt="1"/>
          </p:nvPr>
        </p:nvSpPr>
        <p:spPr>
          <a:xfrm>
            <a:off x="8166766" y="4610123"/>
            <a:ext cx="3287858" cy="1602900"/>
          </a:xfrm>
        </p:spPr>
        <p:txBody>
          <a:bodyPr>
            <a:normAutofit/>
          </a:bodyPr>
          <a:lstStyle>
            <a:lvl1pPr marL="0" indent="0">
              <a:buNone/>
              <a:defRPr sz="1649" b="0">
                <a:solidFill>
                  <a:schemeClr val="bg1"/>
                </a:solidFill>
              </a:defRPr>
            </a:lvl1pPr>
          </a:lstStyle>
          <a:p>
            <a:pPr lvl="0"/>
            <a:r>
              <a:rPr lang="en-US" dirty="0"/>
              <a:t>Lorem</a:t>
            </a:r>
            <a:endParaRPr lang="en-GB" dirty="0"/>
          </a:p>
        </p:txBody>
      </p:sp>
      <p:sp>
        <p:nvSpPr>
          <p:cNvPr id="22" name="Text Placeholder 5">
            <a:extLst>
              <a:ext uri="{FF2B5EF4-FFF2-40B4-BE49-F238E27FC236}">
                <a16:creationId xmlns:a16="http://schemas.microsoft.com/office/drawing/2014/main" id="{D14F4ACA-C450-4930-99A8-2FB7AB8A3E87}"/>
              </a:ext>
            </a:extLst>
          </p:cNvPr>
          <p:cNvSpPr>
            <a:spLocks noGrp="1"/>
          </p:cNvSpPr>
          <p:nvPr>
            <p:ph type="body" sz="quarter" idx="20" hasCustomPrompt="1"/>
          </p:nvPr>
        </p:nvSpPr>
        <p:spPr>
          <a:xfrm>
            <a:off x="11961416" y="3036771"/>
            <a:ext cx="1591576" cy="1055017"/>
          </a:xfrm>
        </p:spPr>
        <p:txBody>
          <a:bodyPr>
            <a:noAutofit/>
          </a:bodyPr>
          <a:lstStyle>
            <a:lvl1pPr marL="0" indent="0">
              <a:buNone/>
              <a:defRPr sz="7915">
                <a:solidFill>
                  <a:schemeClr val="bg1"/>
                </a:solidFill>
              </a:defRPr>
            </a:lvl1pPr>
            <a:lvl2pPr marL="753923" indent="0">
              <a:buNone/>
              <a:defRPr/>
            </a:lvl2pPr>
            <a:lvl3pPr marL="1507846" indent="0">
              <a:buNone/>
              <a:defRPr/>
            </a:lvl3pPr>
            <a:lvl4pPr marL="2261768" indent="0">
              <a:buNone/>
              <a:defRPr/>
            </a:lvl4pPr>
            <a:lvl5pPr marL="3015691" indent="0">
              <a:buNone/>
              <a:defRPr/>
            </a:lvl5pPr>
          </a:lstStyle>
          <a:p>
            <a:pPr lvl="0"/>
            <a:r>
              <a:rPr lang="en-US" dirty="0"/>
              <a:t>Nº</a:t>
            </a:r>
            <a:endParaRPr lang="en-GB" dirty="0"/>
          </a:p>
        </p:txBody>
      </p:sp>
      <p:sp>
        <p:nvSpPr>
          <p:cNvPr id="23" name="Text Placeholder 9">
            <a:extLst>
              <a:ext uri="{FF2B5EF4-FFF2-40B4-BE49-F238E27FC236}">
                <a16:creationId xmlns:a16="http://schemas.microsoft.com/office/drawing/2014/main" id="{452EFDD8-F731-4DE7-9CB9-F51D16D142E9}"/>
              </a:ext>
            </a:extLst>
          </p:cNvPr>
          <p:cNvSpPr>
            <a:spLocks noGrp="1"/>
          </p:cNvSpPr>
          <p:nvPr>
            <p:ph type="body" sz="quarter" idx="21" hasCustomPrompt="1"/>
          </p:nvPr>
        </p:nvSpPr>
        <p:spPr>
          <a:xfrm>
            <a:off x="11961415" y="4186033"/>
            <a:ext cx="3287858" cy="356200"/>
          </a:xfrm>
        </p:spPr>
        <p:txBody>
          <a:bodyPr>
            <a:normAutofit/>
          </a:bodyPr>
          <a:lstStyle>
            <a:lvl1pPr marL="0" indent="0" algn="l">
              <a:buNone/>
              <a:defRPr sz="1731" b="1">
                <a:solidFill>
                  <a:schemeClr val="bg1"/>
                </a:solidFill>
              </a:defRPr>
            </a:lvl1pPr>
          </a:lstStyle>
          <a:p>
            <a:pPr lvl="0"/>
            <a:r>
              <a:rPr lang="en-US" dirty="0"/>
              <a:t>TITLE</a:t>
            </a:r>
            <a:endParaRPr lang="en-GB" dirty="0"/>
          </a:p>
        </p:txBody>
      </p:sp>
      <p:sp>
        <p:nvSpPr>
          <p:cNvPr id="24" name="Text Placeholder 9">
            <a:extLst>
              <a:ext uri="{FF2B5EF4-FFF2-40B4-BE49-F238E27FC236}">
                <a16:creationId xmlns:a16="http://schemas.microsoft.com/office/drawing/2014/main" id="{DC8EA6EF-76A1-4606-8285-B29DC6370529}"/>
              </a:ext>
            </a:extLst>
          </p:cNvPr>
          <p:cNvSpPr>
            <a:spLocks noGrp="1"/>
          </p:cNvSpPr>
          <p:nvPr>
            <p:ph type="body" sz="quarter" idx="22" hasCustomPrompt="1"/>
          </p:nvPr>
        </p:nvSpPr>
        <p:spPr>
          <a:xfrm>
            <a:off x="11961415" y="4610123"/>
            <a:ext cx="3287858" cy="1602900"/>
          </a:xfrm>
        </p:spPr>
        <p:txBody>
          <a:bodyPr>
            <a:normAutofit/>
          </a:bodyPr>
          <a:lstStyle>
            <a:lvl1pPr marL="0" indent="0">
              <a:buNone/>
              <a:defRPr sz="1649" b="0">
                <a:solidFill>
                  <a:schemeClr val="bg1"/>
                </a:solidFill>
              </a:defRPr>
            </a:lvl1pPr>
          </a:lstStyle>
          <a:p>
            <a:pPr lvl="0"/>
            <a:r>
              <a:rPr lang="en-US" dirty="0"/>
              <a:t>Lorem</a:t>
            </a:r>
            <a:endParaRPr lang="en-GB" dirty="0"/>
          </a:p>
        </p:txBody>
      </p:sp>
      <p:sp>
        <p:nvSpPr>
          <p:cNvPr id="26" name="Text Placeholder 5">
            <a:extLst>
              <a:ext uri="{FF2B5EF4-FFF2-40B4-BE49-F238E27FC236}">
                <a16:creationId xmlns:a16="http://schemas.microsoft.com/office/drawing/2014/main" id="{4029AB7C-C9FD-4FF0-8840-1E9FEB163290}"/>
              </a:ext>
            </a:extLst>
          </p:cNvPr>
          <p:cNvSpPr>
            <a:spLocks noGrp="1"/>
          </p:cNvSpPr>
          <p:nvPr>
            <p:ph type="body" sz="quarter" idx="23" hasCustomPrompt="1"/>
          </p:nvPr>
        </p:nvSpPr>
        <p:spPr>
          <a:xfrm>
            <a:off x="15864438" y="3036771"/>
            <a:ext cx="1591576" cy="1055017"/>
          </a:xfrm>
        </p:spPr>
        <p:txBody>
          <a:bodyPr>
            <a:noAutofit/>
          </a:bodyPr>
          <a:lstStyle>
            <a:lvl1pPr marL="0" indent="0">
              <a:buNone/>
              <a:defRPr sz="7915">
                <a:solidFill>
                  <a:schemeClr val="bg1"/>
                </a:solidFill>
              </a:defRPr>
            </a:lvl1pPr>
            <a:lvl2pPr marL="753923" indent="0">
              <a:buNone/>
              <a:defRPr/>
            </a:lvl2pPr>
            <a:lvl3pPr marL="1507846" indent="0">
              <a:buNone/>
              <a:defRPr/>
            </a:lvl3pPr>
            <a:lvl4pPr marL="2261768" indent="0">
              <a:buNone/>
              <a:defRPr/>
            </a:lvl4pPr>
            <a:lvl5pPr marL="3015691" indent="0">
              <a:buNone/>
              <a:defRPr/>
            </a:lvl5pPr>
          </a:lstStyle>
          <a:p>
            <a:pPr lvl="0"/>
            <a:r>
              <a:rPr lang="en-US" dirty="0"/>
              <a:t>Nº</a:t>
            </a:r>
            <a:endParaRPr lang="en-GB" dirty="0"/>
          </a:p>
        </p:txBody>
      </p:sp>
      <p:sp>
        <p:nvSpPr>
          <p:cNvPr id="27" name="Text Placeholder 9">
            <a:extLst>
              <a:ext uri="{FF2B5EF4-FFF2-40B4-BE49-F238E27FC236}">
                <a16:creationId xmlns:a16="http://schemas.microsoft.com/office/drawing/2014/main" id="{2B7D9975-B0DF-400E-9270-5AE6A16D39B9}"/>
              </a:ext>
            </a:extLst>
          </p:cNvPr>
          <p:cNvSpPr>
            <a:spLocks noGrp="1"/>
          </p:cNvSpPr>
          <p:nvPr>
            <p:ph type="body" sz="quarter" idx="24" hasCustomPrompt="1"/>
          </p:nvPr>
        </p:nvSpPr>
        <p:spPr>
          <a:xfrm>
            <a:off x="15864437" y="4186033"/>
            <a:ext cx="3287858" cy="356200"/>
          </a:xfrm>
        </p:spPr>
        <p:txBody>
          <a:bodyPr>
            <a:normAutofit/>
          </a:bodyPr>
          <a:lstStyle>
            <a:lvl1pPr marL="0" indent="0" algn="l">
              <a:buNone/>
              <a:defRPr sz="1731" b="1">
                <a:solidFill>
                  <a:schemeClr val="bg1"/>
                </a:solidFill>
              </a:defRPr>
            </a:lvl1pPr>
          </a:lstStyle>
          <a:p>
            <a:pPr lvl="0"/>
            <a:r>
              <a:rPr lang="en-US" dirty="0"/>
              <a:t>TITLE</a:t>
            </a:r>
            <a:endParaRPr lang="en-GB" dirty="0"/>
          </a:p>
        </p:txBody>
      </p:sp>
      <p:sp>
        <p:nvSpPr>
          <p:cNvPr id="28" name="Text Placeholder 9">
            <a:extLst>
              <a:ext uri="{FF2B5EF4-FFF2-40B4-BE49-F238E27FC236}">
                <a16:creationId xmlns:a16="http://schemas.microsoft.com/office/drawing/2014/main" id="{6044989C-0A51-44C3-8048-FBC92AD92945}"/>
              </a:ext>
            </a:extLst>
          </p:cNvPr>
          <p:cNvSpPr>
            <a:spLocks noGrp="1"/>
          </p:cNvSpPr>
          <p:nvPr>
            <p:ph type="body" sz="quarter" idx="25" hasCustomPrompt="1"/>
          </p:nvPr>
        </p:nvSpPr>
        <p:spPr>
          <a:xfrm>
            <a:off x="15864437" y="4610123"/>
            <a:ext cx="3287858" cy="1602900"/>
          </a:xfrm>
        </p:spPr>
        <p:txBody>
          <a:bodyPr>
            <a:normAutofit/>
          </a:bodyPr>
          <a:lstStyle>
            <a:lvl1pPr marL="0" indent="0">
              <a:buNone/>
              <a:defRPr sz="1649" b="0">
                <a:solidFill>
                  <a:schemeClr val="bg1"/>
                </a:solidFill>
              </a:defRPr>
            </a:lvl1pPr>
          </a:lstStyle>
          <a:p>
            <a:pPr lvl="0"/>
            <a:r>
              <a:rPr lang="en-US" dirty="0"/>
              <a:t>Lorem</a:t>
            </a:r>
            <a:endParaRPr lang="en-GB" dirty="0"/>
          </a:p>
        </p:txBody>
      </p:sp>
      <p:sp>
        <p:nvSpPr>
          <p:cNvPr id="29" name="Text Placeholder 5">
            <a:extLst>
              <a:ext uri="{FF2B5EF4-FFF2-40B4-BE49-F238E27FC236}">
                <a16:creationId xmlns:a16="http://schemas.microsoft.com/office/drawing/2014/main" id="{EBEE3F2E-37F1-4BCA-9F54-FFD13786F096}"/>
              </a:ext>
            </a:extLst>
          </p:cNvPr>
          <p:cNvSpPr>
            <a:spLocks noGrp="1"/>
          </p:cNvSpPr>
          <p:nvPr>
            <p:ph type="body" sz="quarter" idx="26" hasCustomPrompt="1"/>
          </p:nvPr>
        </p:nvSpPr>
        <p:spPr>
          <a:xfrm>
            <a:off x="615165" y="6640560"/>
            <a:ext cx="1591576" cy="1055017"/>
          </a:xfrm>
        </p:spPr>
        <p:txBody>
          <a:bodyPr>
            <a:noAutofit/>
          </a:bodyPr>
          <a:lstStyle>
            <a:lvl1pPr marL="0" indent="0">
              <a:buNone/>
              <a:defRPr sz="7915">
                <a:solidFill>
                  <a:schemeClr val="bg1"/>
                </a:solidFill>
              </a:defRPr>
            </a:lvl1pPr>
            <a:lvl2pPr marL="753923" indent="0">
              <a:buNone/>
              <a:defRPr/>
            </a:lvl2pPr>
            <a:lvl3pPr marL="1507846" indent="0">
              <a:buNone/>
              <a:defRPr/>
            </a:lvl3pPr>
            <a:lvl4pPr marL="2261768" indent="0">
              <a:buNone/>
              <a:defRPr/>
            </a:lvl4pPr>
            <a:lvl5pPr marL="3015691" indent="0">
              <a:buNone/>
              <a:defRPr/>
            </a:lvl5pPr>
          </a:lstStyle>
          <a:p>
            <a:pPr lvl="0"/>
            <a:r>
              <a:rPr lang="en-US" dirty="0"/>
              <a:t>Nº</a:t>
            </a:r>
            <a:endParaRPr lang="en-GB" dirty="0"/>
          </a:p>
        </p:txBody>
      </p:sp>
      <p:sp>
        <p:nvSpPr>
          <p:cNvPr id="30" name="Text Placeholder 9">
            <a:extLst>
              <a:ext uri="{FF2B5EF4-FFF2-40B4-BE49-F238E27FC236}">
                <a16:creationId xmlns:a16="http://schemas.microsoft.com/office/drawing/2014/main" id="{81DEBFA4-5978-4578-8F0C-7C39ED73E2A1}"/>
              </a:ext>
            </a:extLst>
          </p:cNvPr>
          <p:cNvSpPr>
            <a:spLocks noGrp="1"/>
          </p:cNvSpPr>
          <p:nvPr>
            <p:ph type="body" sz="quarter" idx="27" hasCustomPrompt="1"/>
          </p:nvPr>
        </p:nvSpPr>
        <p:spPr>
          <a:xfrm>
            <a:off x="615164" y="7789822"/>
            <a:ext cx="3287858" cy="356200"/>
          </a:xfrm>
        </p:spPr>
        <p:txBody>
          <a:bodyPr>
            <a:normAutofit/>
          </a:bodyPr>
          <a:lstStyle>
            <a:lvl1pPr marL="0" indent="0" algn="l">
              <a:buNone/>
              <a:defRPr sz="1731" b="1">
                <a:solidFill>
                  <a:schemeClr val="bg1"/>
                </a:solidFill>
              </a:defRPr>
            </a:lvl1pPr>
          </a:lstStyle>
          <a:p>
            <a:pPr lvl="0"/>
            <a:r>
              <a:rPr lang="en-US" dirty="0"/>
              <a:t>TITLE</a:t>
            </a:r>
            <a:endParaRPr lang="en-GB" dirty="0"/>
          </a:p>
        </p:txBody>
      </p:sp>
      <p:sp>
        <p:nvSpPr>
          <p:cNvPr id="31" name="Text Placeholder 9">
            <a:extLst>
              <a:ext uri="{FF2B5EF4-FFF2-40B4-BE49-F238E27FC236}">
                <a16:creationId xmlns:a16="http://schemas.microsoft.com/office/drawing/2014/main" id="{3281B3E2-E048-4F9F-96F2-EB4AC60190AA}"/>
              </a:ext>
            </a:extLst>
          </p:cNvPr>
          <p:cNvSpPr>
            <a:spLocks noGrp="1"/>
          </p:cNvSpPr>
          <p:nvPr>
            <p:ph type="body" sz="quarter" idx="28" hasCustomPrompt="1"/>
          </p:nvPr>
        </p:nvSpPr>
        <p:spPr>
          <a:xfrm>
            <a:off x="615164" y="8213913"/>
            <a:ext cx="3287858" cy="1602900"/>
          </a:xfrm>
        </p:spPr>
        <p:txBody>
          <a:bodyPr>
            <a:normAutofit/>
          </a:bodyPr>
          <a:lstStyle>
            <a:lvl1pPr marL="0" indent="0">
              <a:buNone/>
              <a:defRPr sz="1649" b="0">
                <a:solidFill>
                  <a:schemeClr val="bg1"/>
                </a:solidFill>
              </a:defRPr>
            </a:lvl1pPr>
          </a:lstStyle>
          <a:p>
            <a:pPr lvl="0"/>
            <a:r>
              <a:rPr lang="en-US" dirty="0"/>
              <a:t>Lorem</a:t>
            </a:r>
            <a:endParaRPr lang="en-GB" dirty="0"/>
          </a:p>
        </p:txBody>
      </p:sp>
      <p:sp>
        <p:nvSpPr>
          <p:cNvPr id="32" name="Text Placeholder 5">
            <a:extLst>
              <a:ext uri="{FF2B5EF4-FFF2-40B4-BE49-F238E27FC236}">
                <a16:creationId xmlns:a16="http://schemas.microsoft.com/office/drawing/2014/main" id="{E89F656C-88AB-46B0-92BA-1E0F98BA0B30}"/>
              </a:ext>
            </a:extLst>
          </p:cNvPr>
          <p:cNvSpPr>
            <a:spLocks noGrp="1"/>
          </p:cNvSpPr>
          <p:nvPr>
            <p:ph type="body" sz="quarter" idx="29" hasCustomPrompt="1"/>
          </p:nvPr>
        </p:nvSpPr>
        <p:spPr>
          <a:xfrm>
            <a:off x="4409814" y="6640560"/>
            <a:ext cx="1591576" cy="1055017"/>
          </a:xfrm>
        </p:spPr>
        <p:txBody>
          <a:bodyPr>
            <a:noAutofit/>
          </a:bodyPr>
          <a:lstStyle>
            <a:lvl1pPr marL="0" indent="0">
              <a:buNone/>
              <a:defRPr sz="7915">
                <a:solidFill>
                  <a:schemeClr val="bg1"/>
                </a:solidFill>
              </a:defRPr>
            </a:lvl1pPr>
            <a:lvl2pPr marL="753923" indent="0">
              <a:buNone/>
              <a:defRPr/>
            </a:lvl2pPr>
            <a:lvl3pPr marL="1507846" indent="0">
              <a:buNone/>
              <a:defRPr/>
            </a:lvl3pPr>
            <a:lvl4pPr marL="2261768" indent="0">
              <a:buNone/>
              <a:defRPr/>
            </a:lvl4pPr>
            <a:lvl5pPr marL="3015691" indent="0">
              <a:buNone/>
              <a:defRPr/>
            </a:lvl5pPr>
          </a:lstStyle>
          <a:p>
            <a:pPr lvl="0"/>
            <a:r>
              <a:rPr lang="en-US" dirty="0"/>
              <a:t>Nº</a:t>
            </a:r>
            <a:endParaRPr lang="en-GB" dirty="0"/>
          </a:p>
        </p:txBody>
      </p:sp>
      <p:sp>
        <p:nvSpPr>
          <p:cNvPr id="33" name="Text Placeholder 9">
            <a:extLst>
              <a:ext uri="{FF2B5EF4-FFF2-40B4-BE49-F238E27FC236}">
                <a16:creationId xmlns:a16="http://schemas.microsoft.com/office/drawing/2014/main" id="{BEC4AD53-A8EE-4A8B-A8A9-AF7C00B8DF7C}"/>
              </a:ext>
            </a:extLst>
          </p:cNvPr>
          <p:cNvSpPr>
            <a:spLocks noGrp="1"/>
          </p:cNvSpPr>
          <p:nvPr>
            <p:ph type="body" sz="quarter" idx="30" hasCustomPrompt="1"/>
          </p:nvPr>
        </p:nvSpPr>
        <p:spPr>
          <a:xfrm>
            <a:off x="4409813" y="7789822"/>
            <a:ext cx="3287858" cy="356200"/>
          </a:xfrm>
        </p:spPr>
        <p:txBody>
          <a:bodyPr>
            <a:normAutofit/>
          </a:bodyPr>
          <a:lstStyle>
            <a:lvl1pPr marL="0" indent="0" algn="l">
              <a:buNone/>
              <a:defRPr sz="1731" b="1">
                <a:solidFill>
                  <a:schemeClr val="bg1"/>
                </a:solidFill>
              </a:defRPr>
            </a:lvl1pPr>
          </a:lstStyle>
          <a:p>
            <a:pPr lvl="0"/>
            <a:r>
              <a:rPr lang="en-US" dirty="0"/>
              <a:t>TITLE</a:t>
            </a:r>
            <a:endParaRPr lang="en-GB" dirty="0"/>
          </a:p>
        </p:txBody>
      </p:sp>
      <p:sp>
        <p:nvSpPr>
          <p:cNvPr id="34" name="Text Placeholder 9">
            <a:extLst>
              <a:ext uri="{FF2B5EF4-FFF2-40B4-BE49-F238E27FC236}">
                <a16:creationId xmlns:a16="http://schemas.microsoft.com/office/drawing/2014/main" id="{5A282DFE-7C74-46C9-8D2C-83D7184D6220}"/>
              </a:ext>
            </a:extLst>
          </p:cNvPr>
          <p:cNvSpPr>
            <a:spLocks noGrp="1"/>
          </p:cNvSpPr>
          <p:nvPr>
            <p:ph type="body" sz="quarter" idx="31" hasCustomPrompt="1"/>
          </p:nvPr>
        </p:nvSpPr>
        <p:spPr>
          <a:xfrm>
            <a:off x="4409813" y="8213913"/>
            <a:ext cx="3287858" cy="1602900"/>
          </a:xfrm>
        </p:spPr>
        <p:txBody>
          <a:bodyPr>
            <a:normAutofit/>
          </a:bodyPr>
          <a:lstStyle>
            <a:lvl1pPr marL="0" indent="0">
              <a:buNone/>
              <a:defRPr sz="1649" b="0">
                <a:solidFill>
                  <a:schemeClr val="bg1"/>
                </a:solidFill>
              </a:defRPr>
            </a:lvl1pPr>
          </a:lstStyle>
          <a:p>
            <a:pPr lvl="0"/>
            <a:r>
              <a:rPr lang="en-US" dirty="0"/>
              <a:t>Lorem</a:t>
            </a:r>
            <a:endParaRPr lang="en-GB" dirty="0"/>
          </a:p>
        </p:txBody>
      </p:sp>
      <p:sp>
        <p:nvSpPr>
          <p:cNvPr id="35" name="Text Placeholder 5">
            <a:extLst>
              <a:ext uri="{FF2B5EF4-FFF2-40B4-BE49-F238E27FC236}">
                <a16:creationId xmlns:a16="http://schemas.microsoft.com/office/drawing/2014/main" id="{E02076EF-85B9-4278-AB82-23384D605D48}"/>
              </a:ext>
            </a:extLst>
          </p:cNvPr>
          <p:cNvSpPr>
            <a:spLocks noGrp="1"/>
          </p:cNvSpPr>
          <p:nvPr>
            <p:ph type="body" sz="quarter" idx="32" hasCustomPrompt="1"/>
          </p:nvPr>
        </p:nvSpPr>
        <p:spPr>
          <a:xfrm>
            <a:off x="8166767" y="6640560"/>
            <a:ext cx="1591576" cy="1055017"/>
          </a:xfrm>
        </p:spPr>
        <p:txBody>
          <a:bodyPr>
            <a:noAutofit/>
          </a:bodyPr>
          <a:lstStyle>
            <a:lvl1pPr marL="0" indent="0">
              <a:buNone/>
              <a:defRPr sz="7915">
                <a:solidFill>
                  <a:schemeClr val="bg1"/>
                </a:solidFill>
              </a:defRPr>
            </a:lvl1pPr>
            <a:lvl2pPr marL="753923" indent="0">
              <a:buNone/>
              <a:defRPr/>
            </a:lvl2pPr>
            <a:lvl3pPr marL="1507846" indent="0">
              <a:buNone/>
              <a:defRPr/>
            </a:lvl3pPr>
            <a:lvl4pPr marL="2261768" indent="0">
              <a:buNone/>
              <a:defRPr/>
            </a:lvl4pPr>
            <a:lvl5pPr marL="3015691" indent="0">
              <a:buNone/>
              <a:defRPr/>
            </a:lvl5pPr>
          </a:lstStyle>
          <a:p>
            <a:pPr lvl="0"/>
            <a:r>
              <a:rPr lang="en-US" dirty="0"/>
              <a:t>Nº</a:t>
            </a:r>
            <a:endParaRPr lang="en-GB" dirty="0"/>
          </a:p>
        </p:txBody>
      </p:sp>
      <p:sp>
        <p:nvSpPr>
          <p:cNvPr id="36" name="Text Placeholder 9">
            <a:extLst>
              <a:ext uri="{FF2B5EF4-FFF2-40B4-BE49-F238E27FC236}">
                <a16:creationId xmlns:a16="http://schemas.microsoft.com/office/drawing/2014/main" id="{E4437FC0-3723-4401-BC4E-7D0A28F732AF}"/>
              </a:ext>
            </a:extLst>
          </p:cNvPr>
          <p:cNvSpPr>
            <a:spLocks noGrp="1"/>
          </p:cNvSpPr>
          <p:nvPr>
            <p:ph type="body" sz="quarter" idx="33" hasCustomPrompt="1"/>
          </p:nvPr>
        </p:nvSpPr>
        <p:spPr>
          <a:xfrm>
            <a:off x="8166766" y="7789822"/>
            <a:ext cx="3287858" cy="356200"/>
          </a:xfrm>
        </p:spPr>
        <p:txBody>
          <a:bodyPr>
            <a:normAutofit/>
          </a:bodyPr>
          <a:lstStyle>
            <a:lvl1pPr marL="0" indent="0" algn="l">
              <a:buNone/>
              <a:defRPr sz="1731" b="1">
                <a:solidFill>
                  <a:schemeClr val="bg1"/>
                </a:solidFill>
              </a:defRPr>
            </a:lvl1pPr>
          </a:lstStyle>
          <a:p>
            <a:pPr lvl="0"/>
            <a:r>
              <a:rPr lang="en-US" dirty="0"/>
              <a:t>TITLE</a:t>
            </a:r>
            <a:endParaRPr lang="en-GB" dirty="0"/>
          </a:p>
        </p:txBody>
      </p:sp>
      <p:sp>
        <p:nvSpPr>
          <p:cNvPr id="37" name="Text Placeholder 9">
            <a:extLst>
              <a:ext uri="{FF2B5EF4-FFF2-40B4-BE49-F238E27FC236}">
                <a16:creationId xmlns:a16="http://schemas.microsoft.com/office/drawing/2014/main" id="{8883DC26-E441-464E-B954-44D6FF0981BA}"/>
              </a:ext>
            </a:extLst>
          </p:cNvPr>
          <p:cNvSpPr>
            <a:spLocks noGrp="1"/>
          </p:cNvSpPr>
          <p:nvPr>
            <p:ph type="body" sz="quarter" idx="34" hasCustomPrompt="1"/>
          </p:nvPr>
        </p:nvSpPr>
        <p:spPr>
          <a:xfrm>
            <a:off x="8166766" y="8213913"/>
            <a:ext cx="3287858" cy="1602900"/>
          </a:xfrm>
        </p:spPr>
        <p:txBody>
          <a:bodyPr>
            <a:normAutofit/>
          </a:bodyPr>
          <a:lstStyle>
            <a:lvl1pPr marL="0" indent="0">
              <a:buNone/>
              <a:defRPr sz="1649" b="0">
                <a:solidFill>
                  <a:schemeClr val="bg1"/>
                </a:solidFill>
              </a:defRPr>
            </a:lvl1pPr>
          </a:lstStyle>
          <a:p>
            <a:pPr lvl="0"/>
            <a:r>
              <a:rPr lang="en-US" dirty="0"/>
              <a:t>Lorem</a:t>
            </a:r>
            <a:endParaRPr lang="en-GB" dirty="0"/>
          </a:p>
        </p:txBody>
      </p:sp>
      <p:sp>
        <p:nvSpPr>
          <p:cNvPr id="38" name="Text Placeholder 5">
            <a:extLst>
              <a:ext uri="{FF2B5EF4-FFF2-40B4-BE49-F238E27FC236}">
                <a16:creationId xmlns:a16="http://schemas.microsoft.com/office/drawing/2014/main" id="{968A70C8-EE78-46BE-9F38-09E41463BB9F}"/>
              </a:ext>
            </a:extLst>
          </p:cNvPr>
          <p:cNvSpPr>
            <a:spLocks noGrp="1"/>
          </p:cNvSpPr>
          <p:nvPr>
            <p:ph type="body" sz="quarter" idx="35" hasCustomPrompt="1"/>
          </p:nvPr>
        </p:nvSpPr>
        <p:spPr>
          <a:xfrm>
            <a:off x="11961416" y="6640560"/>
            <a:ext cx="1591576" cy="1055017"/>
          </a:xfrm>
        </p:spPr>
        <p:txBody>
          <a:bodyPr>
            <a:noAutofit/>
          </a:bodyPr>
          <a:lstStyle>
            <a:lvl1pPr marL="0" indent="0">
              <a:buNone/>
              <a:defRPr sz="7915">
                <a:solidFill>
                  <a:schemeClr val="bg1"/>
                </a:solidFill>
              </a:defRPr>
            </a:lvl1pPr>
            <a:lvl2pPr marL="753923" indent="0">
              <a:buNone/>
              <a:defRPr/>
            </a:lvl2pPr>
            <a:lvl3pPr marL="1507846" indent="0">
              <a:buNone/>
              <a:defRPr/>
            </a:lvl3pPr>
            <a:lvl4pPr marL="2261768" indent="0">
              <a:buNone/>
              <a:defRPr/>
            </a:lvl4pPr>
            <a:lvl5pPr marL="3015691" indent="0">
              <a:buNone/>
              <a:defRPr/>
            </a:lvl5pPr>
          </a:lstStyle>
          <a:p>
            <a:pPr lvl="0"/>
            <a:r>
              <a:rPr lang="en-US" dirty="0"/>
              <a:t>Nº</a:t>
            </a:r>
            <a:endParaRPr lang="en-GB" dirty="0"/>
          </a:p>
        </p:txBody>
      </p:sp>
      <p:sp>
        <p:nvSpPr>
          <p:cNvPr id="39" name="Text Placeholder 9">
            <a:extLst>
              <a:ext uri="{FF2B5EF4-FFF2-40B4-BE49-F238E27FC236}">
                <a16:creationId xmlns:a16="http://schemas.microsoft.com/office/drawing/2014/main" id="{DCFA9B7E-C954-4371-A0B4-6839A16D66D3}"/>
              </a:ext>
            </a:extLst>
          </p:cNvPr>
          <p:cNvSpPr>
            <a:spLocks noGrp="1"/>
          </p:cNvSpPr>
          <p:nvPr>
            <p:ph type="body" sz="quarter" idx="36" hasCustomPrompt="1"/>
          </p:nvPr>
        </p:nvSpPr>
        <p:spPr>
          <a:xfrm>
            <a:off x="11961415" y="7789822"/>
            <a:ext cx="3287858" cy="356200"/>
          </a:xfrm>
        </p:spPr>
        <p:txBody>
          <a:bodyPr>
            <a:normAutofit/>
          </a:bodyPr>
          <a:lstStyle>
            <a:lvl1pPr marL="0" indent="0" algn="l">
              <a:buNone/>
              <a:defRPr sz="1731" b="1">
                <a:solidFill>
                  <a:schemeClr val="bg1"/>
                </a:solidFill>
              </a:defRPr>
            </a:lvl1pPr>
          </a:lstStyle>
          <a:p>
            <a:pPr lvl="0"/>
            <a:r>
              <a:rPr lang="en-US" dirty="0"/>
              <a:t>TITLE</a:t>
            </a:r>
            <a:endParaRPr lang="en-GB" dirty="0"/>
          </a:p>
        </p:txBody>
      </p:sp>
      <p:sp>
        <p:nvSpPr>
          <p:cNvPr id="40" name="Text Placeholder 9">
            <a:extLst>
              <a:ext uri="{FF2B5EF4-FFF2-40B4-BE49-F238E27FC236}">
                <a16:creationId xmlns:a16="http://schemas.microsoft.com/office/drawing/2014/main" id="{6D71BA04-AABC-45E5-9656-45E0BB19D42F}"/>
              </a:ext>
            </a:extLst>
          </p:cNvPr>
          <p:cNvSpPr>
            <a:spLocks noGrp="1"/>
          </p:cNvSpPr>
          <p:nvPr>
            <p:ph type="body" sz="quarter" idx="37" hasCustomPrompt="1"/>
          </p:nvPr>
        </p:nvSpPr>
        <p:spPr>
          <a:xfrm>
            <a:off x="11961415" y="8213913"/>
            <a:ext cx="3287858" cy="1602900"/>
          </a:xfrm>
        </p:spPr>
        <p:txBody>
          <a:bodyPr>
            <a:normAutofit/>
          </a:bodyPr>
          <a:lstStyle>
            <a:lvl1pPr marL="0" indent="0">
              <a:buNone/>
              <a:defRPr sz="1649" b="0">
                <a:solidFill>
                  <a:schemeClr val="bg1"/>
                </a:solidFill>
              </a:defRPr>
            </a:lvl1pPr>
          </a:lstStyle>
          <a:p>
            <a:pPr lvl="0"/>
            <a:r>
              <a:rPr lang="en-US" dirty="0"/>
              <a:t>Lorem</a:t>
            </a:r>
            <a:endParaRPr lang="en-GB" dirty="0"/>
          </a:p>
        </p:txBody>
      </p:sp>
      <p:sp>
        <p:nvSpPr>
          <p:cNvPr id="41" name="Text Placeholder 5">
            <a:extLst>
              <a:ext uri="{FF2B5EF4-FFF2-40B4-BE49-F238E27FC236}">
                <a16:creationId xmlns:a16="http://schemas.microsoft.com/office/drawing/2014/main" id="{2A0135A2-338E-4337-8F7D-C89BCB301081}"/>
              </a:ext>
            </a:extLst>
          </p:cNvPr>
          <p:cNvSpPr>
            <a:spLocks noGrp="1"/>
          </p:cNvSpPr>
          <p:nvPr>
            <p:ph type="body" sz="quarter" idx="38" hasCustomPrompt="1"/>
          </p:nvPr>
        </p:nvSpPr>
        <p:spPr>
          <a:xfrm>
            <a:off x="15864438" y="6640560"/>
            <a:ext cx="1591576" cy="1055017"/>
          </a:xfrm>
        </p:spPr>
        <p:txBody>
          <a:bodyPr>
            <a:noAutofit/>
          </a:bodyPr>
          <a:lstStyle>
            <a:lvl1pPr marL="0" indent="0">
              <a:buNone/>
              <a:defRPr sz="7915">
                <a:solidFill>
                  <a:schemeClr val="bg1"/>
                </a:solidFill>
              </a:defRPr>
            </a:lvl1pPr>
            <a:lvl2pPr marL="753923" indent="0">
              <a:buNone/>
              <a:defRPr/>
            </a:lvl2pPr>
            <a:lvl3pPr marL="1507846" indent="0">
              <a:buNone/>
              <a:defRPr/>
            </a:lvl3pPr>
            <a:lvl4pPr marL="2261768" indent="0">
              <a:buNone/>
              <a:defRPr/>
            </a:lvl4pPr>
            <a:lvl5pPr marL="3015691" indent="0">
              <a:buNone/>
              <a:defRPr/>
            </a:lvl5pPr>
          </a:lstStyle>
          <a:p>
            <a:pPr lvl="0"/>
            <a:r>
              <a:rPr lang="en-US" dirty="0"/>
              <a:t>Nº</a:t>
            </a:r>
            <a:endParaRPr lang="en-GB" dirty="0"/>
          </a:p>
        </p:txBody>
      </p:sp>
      <p:sp>
        <p:nvSpPr>
          <p:cNvPr id="42" name="Text Placeholder 9">
            <a:extLst>
              <a:ext uri="{FF2B5EF4-FFF2-40B4-BE49-F238E27FC236}">
                <a16:creationId xmlns:a16="http://schemas.microsoft.com/office/drawing/2014/main" id="{B47283B0-869D-4FF5-8A79-618919C330BE}"/>
              </a:ext>
            </a:extLst>
          </p:cNvPr>
          <p:cNvSpPr>
            <a:spLocks noGrp="1"/>
          </p:cNvSpPr>
          <p:nvPr>
            <p:ph type="body" sz="quarter" idx="39" hasCustomPrompt="1"/>
          </p:nvPr>
        </p:nvSpPr>
        <p:spPr>
          <a:xfrm>
            <a:off x="15864437" y="7789822"/>
            <a:ext cx="3287858" cy="356200"/>
          </a:xfrm>
        </p:spPr>
        <p:txBody>
          <a:bodyPr>
            <a:normAutofit/>
          </a:bodyPr>
          <a:lstStyle>
            <a:lvl1pPr marL="0" indent="0" algn="l">
              <a:buNone/>
              <a:defRPr sz="1731" b="1">
                <a:solidFill>
                  <a:schemeClr val="bg1"/>
                </a:solidFill>
              </a:defRPr>
            </a:lvl1pPr>
          </a:lstStyle>
          <a:p>
            <a:pPr lvl="0"/>
            <a:r>
              <a:rPr lang="en-US" dirty="0"/>
              <a:t>TITLE</a:t>
            </a:r>
            <a:endParaRPr lang="en-GB" dirty="0"/>
          </a:p>
        </p:txBody>
      </p:sp>
      <p:sp>
        <p:nvSpPr>
          <p:cNvPr id="43" name="Text Placeholder 9">
            <a:extLst>
              <a:ext uri="{FF2B5EF4-FFF2-40B4-BE49-F238E27FC236}">
                <a16:creationId xmlns:a16="http://schemas.microsoft.com/office/drawing/2014/main" id="{E7254A4F-5904-4BFE-B81D-AE8C682CE01E}"/>
              </a:ext>
            </a:extLst>
          </p:cNvPr>
          <p:cNvSpPr>
            <a:spLocks noGrp="1"/>
          </p:cNvSpPr>
          <p:nvPr>
            <p:ph type="body" sz="quarter" idx="40" hasCustomPrompt="1"/>
          </p:nvPr>
        </p:nvSpPr>
        <p:spPr>
          <a:xfrm>
            <a:off x="15864437" y="8213913"/>
            <a:ext cx="3287858" cy="1602900"/>
          </a:xfrm>
        </p:spPr>
        <p:txBody>
          <a:bodyPr>
            <a:normAutofit/>
          </a:bodyPr>
          <a:lstStyle>
            <a:lvl1pPr marL="0" indent="0">
              <a:buNone/>
              <a:defRPr sz="1649" b="0">
                <a:solidFill>
                  <a:schemeClr val="bg1"/>
                </a:solidFill>
              </a:defRPr>
            </a:lvl1pPr>
          </a:lstStyle>
          <a:p>
            <a:pPr lvl="0"/>
            <a:r>
              <a:rPr lang="en-US" dirty="0"/>
              <a:t>Lorem</a:t>
            </a:r>
            <a:endParaRPr lang="en-GB" dirty="0"/>
          </a:p>
        </p:txBody>
      </p:sp>
      <p:sp>
        <p:nvSpPr>
          <p:cNvPr id="11" name="Title 10">
            <a:extLst>
              <a:ext uri="{FF2B5EF4-FFF2-40B4-BE49-F238E27FC236}">
                <a16:creationId xmlns:a16="http://schemas.microsoft.com/office/drawing/2014/main" id="{B384F1BB-96E7-4D3C-AEA6-2038C6C940A2}"/>
              </a:ext>
            </a:extLst>
          </p:cNvPr>
          <p:cNvSpPr>
            <a:spLocks noGrp="1"/>
          </p:cNvSpPr>
          <p:nvPr>
            <p:ph type="title" hasCustomPrompt="1"/>
          </p:nvPr>
        </p:nvSpPr>
        <p:spPr>
          <a:xfrm>
            <a:off x="615163" y="396486"/>
            <a:ext cx="8682983" cy="2546037"/>
          </a:xfrm>
        </p:spPr>
        <p:txBody>
          <a:bodyPr anchor="t">
            <a:normAutofit/>
          </a:bodyPr>
          <a:lstStyle>
            <a:lvl1pPr>
              <a:lnSpc>
                <a:spcPts val="9234"/>
              </a:lnSpc>
              <a:defRPr sz="9564">
                <a:solidFill>
                  <a:schemeClr val="bg1"/>
                </a:solidFill>
              </a:defRPr>
            </a:lvl1pPr>
          </a:lstStyle>
          <a:p>
            <a:r>
              <a:rPr lang="en-US" dirty="0"/>
              <a:t>Title</a:t>
            </a:r>
            <a:endParaRPr lang="en-GB" dirty="0"/>
          </a:p>
        </p:txBody>
      </p:sp>
      <p:pic>
        <p:nvPicPr>
          <p:cNvPr id="44" name="Imagen 18">
            <a:extLst>
              <a:ext uri="{FF2B5EF4-FFF2-40B4-BE49-F238E27FC236}">
                <a16:creationId xmlns:a16="http://schemas.microsoft.com/office/drawing/2014/main" id="{32BD26A1-9AA8-4EBA-8DF9-36D7C057FFA6}"/>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206379" y="10190981"/>
            <a:ext cx="1167349" cy="583716"/>
          </a:xfrm>
          <a:prstGeom prst="rect">
            <a:avLst/>
          </a:prstGeom>
        </p:spPr>
      </p:pic>
    </p:spTree>
    <p:extLst>
      <p:ext uri="{BB962C8B-B14F-4D97-AF65-F5344CB8AC3E}">
        <p14:creationId xmlns:p14="http://schemas.microsoft.com/office/powerpoint/2010/main" val="3823565769"/>
      </p:ext>
    </p:extLst>
  </p:cSld>
  <p:clrMapOvr>
    <a:overrideClrMapping bg1="lt1" tx1="dk1" bg2="lt2" tx2="dk2" accent1="accent1" accent2="accent2" accent3="accent3" accent4="accent4" accent5="accent5" accent6="accent6" hlink="hlink" folHlink="folHlink"/>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Title Sllide 28px">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2651B967-5412-4F9E-949F-4173106E63EA}"/>
              </a:ext>
            </a:extLst>
          </p:cNvPr>
          <p:cNvSpPr>
            <a:spLocks noGrp="1"/>
          </p:cNvSpPr>
          <p:nvPr>
            <p:ph type="pic" sz="quarter" idx="11"/>
          </p:nvPr>
        </p:nvSpPr>
        <p:spPr>
          <a:xfrm>
            <a:off x="0" y="0"/>
            <a:ext cx="20104100" cy="11309350"/>
          </a:xfrm>
        </p:spPr>
        <p:txBody>
          <a:bodyPr anchor="ctr"/>
          <a:lstStyle>
            <a:lvl1pPr marL="0" indent="0" algn="ctr">
              <a:buNone/>
              <a:defRPr/>
            </a:lvl1pPr>
          </a:lstStyle>
          <a:p>
            <a:endParaRPr lang="en-GB"/>
          </a:p>
        </p:txBody>
      </p:sp>
      <p:pic>
        <p:nvPicPr>
          <p:cNvPr id="19" name="Imagen 18">
            <a:extLst>
              <a:ext uri="{FF2B5EF4-FFF2-40B4-BE49-F238E27FC236}">
                <a16:creationId xmlns:a16="http://schemas.microsoft.com/office/drawing/2014/main" id="{CDE873E3-468F-41C9-A3D5-AE1CFF571F4A}"/>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206379" y="10190981"/>
            <a:ext cx="1167349" cy="583716"/>
          </a:xfrm>
          <a:prstGeom prst="rect">
            <a:avLst/>
          </a:prstGeom>
        </p:spPr>
      </p:pic>
      <p:sp>
        <p:nvSpPr>
          <p:cNvPr id="2" name="Title 1">
            <a:extLst>
              <a:ext uri="{FF2B5EF4-FFF2-40B4-BE49-F238E27FC236}">
                <a16:creationId xmlns:a16="http://schemas.microsoft.com/office/drawing/2014/main" id="{1D616A16-5F6F-4F25-88DA-B5D1E5C6D6A9}"/>
              </a:ext>
            </a:extLst>
          </p:cNvPr>
          <p:cNvSpPr>
            <a:spLocks noGrp="1"/>
          </p:cNvSpPr>
          <p:nvPr>
            <p:ph type="title" hasCustomPrompt="1"/>
          </p:nvPr>
        </p:nvSpPr>
        <p:spPr>
          <a:xfrm>
            <a:off x="496617" y="314895"/>
            <a:ext cx="8693826" cy="896005"/>
          </a:xfrm>
        </p:spPr>
        <p:txBody>
          <a:bodyPr vert="horz" lIns="0" tIns="0" rIns="0" bIns="0" rtlCol="0" anchor="t">
            <a:noAutofit/>
          </a:bodyPr>
          <a:lstStyle>
            <a:lvl1pPr>
              <a:defRPr lang="en-GB" sz="4617" dirty="0">
                <a:solidFill>
                  <a:schemeClr val="bg1"/>
                </a:solidFill>
              </a:defRPr>
            </a:lvl1pPr>
          </a:lstStyle>
          <a:p>
            <a:pPr lvl="0">
              <a:lnSpc>
                <a:spcPts val="5772"/>
              </a:lnSpc>
            </a:pPr>
            <a:r>
              <a:rPr lang="en-US" dirty="0"/>
              <a:t>Title</a:t>
            </a:r>
            <a:endParaRPr lang="en-GB" dirty="0"/>
          </a:p>
        </p:txBody>
      </p:sp>
      <p:sp>
        <p:nvSpPr>
          <p:cNvPr id="14" name="Marcador de texto 19">
            <a:extLst>
              <a:ext uri="{FF2B5EF4-FFF2-40B4-BE49-F238E27FC236}">
                <a16:creationId xmlns:a16="http://schemas.microsoft.com/office/drawing/2014/main" id="{F0A5F956-78D9-483E-8513-18F922BFD069}"/>
              </a:ext>
            </a:extLst>
          </p:cNvPr>
          <p:cNvSpPr>
            <a:spLocks noGrp="1"/>
          </p:cNvSpPr>
          <p:nvPr>
            <p:ph type="body" sz="quarter" idx="10" hasCustomPrompt="1"/>
          </p:nvPr>
        </p:nvSpPr>
        <p:spPr>
          <a:xfrm>
            <a:off x="17185412" y="389504"/>
            <a:ext cx="2985439" cy="250572"/>
          </a:xfrm>
          <a:noFill/>
        </p:spPr>
        <p:txBody>
          <a:bodyPr wrap="square" lIns="0" tIns="0" rIns="0" bIns="0" rtlCol="0" anchor="ctr">
            <a:noAutofit/>
          </a:bodyPr>
          <a:lstStyle>
            <a:lvl1pPr marL="0" indent="0">
              <a:buNone/>
              <a:defRPr lang="es-ES" sz="1319" b="0" smtClean="0">
                <a:solidFill>
                  <a:schemeClr val="bg1"/>
                </a:solidFill>
              </a:defRPr>
            </a:lvl1pPr>
            <a:lvl2pPr marL="376961" indent="0">
              <a:buNone/>
              <a:defRPr lang="es-ES" sz="2968" smtClean="0"/>
            </a:lvl2pPr>
            <a:lvl3pPr marL="1130884" indent="0">
              <a:buNone/>
              <a:defRPr lang="es-ES" sz="2968" smtClean="0"/>
            </a:lvl3pPr>
            <a:lvl4pPr marL="1790567" indent="0">
              <a:buFont typeface="Arial" panose="020B0604020202020204" pitchFamily="34" charset="0"/>
              <a:buNone/>
              <a:defRPr lang="es-ES" smtClean="0"/>
            </a:lvl4pPr>
            <a:lvl5pPr marL="2638730" indent="0">
              <a:buNone/>
              <a:defRPr lang="es-ES"/>
            </a:lvl5pPr>
          </a:lstStyle>
          <a:p>
            <a:pPr marL="0" lvl="0"/>
            <a:r>
              <a:rPr lang="es-ES" noProof="0" dirty="0"/>
              <a:t>D</a:t>
            </a:r>
            <a:r>
              <a:rPr lang="en-GB" noProof="0" dirty="0" err="1"/>
              <a:t>ocument</a:t>
            </a:r>
            <a:r>
              <a:rPr lang="en-GB" noProof="0" dirty="0"/>
              <a:t> Title</a:t>
            </a:r>
          </a:p>
        </p:txBody>
      </p:sp>
    </p:spTree>
    <p:extLst>
      <p:ext uri="{BB962C8B-B14F-4D97-AF65-F5344CB8AC3E}">
        <p14:creationId xmlns:p14="http://schemas.microsoft.com/office/powerpoint/2010/main" val="1365525370"/>
      </p:ext>
    </p:extLst>
  </p:cSld>
  <p:clrMapOvr>
    <a:overrideClrMapping bg1="lt1" tx1="dk1" bg2="lt2" tx2="dk2" accent1="accent1" accent2="accent2" accent3="accent3" accent4="accent4" accent5="accent5" accent6="accent6" hlink="hlink" folHlink="folHlink"/>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Title Sllide">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2651B967-5412-4F9E-949F-4173106E63EA}"/>
              </a:ext>
            </a:extLst>
          </p:cNvPr>
          <p:cNvSpPr>
            <a:spLocks noGrp="1"/>
          </p:cNvSpPr>
          <p:nvPr>
            <p:ph type="pic" sz="quarter" idx="11"/>
          </p:nvPr>
        </p:nvSpPr>
        <p:spPr>
          <a:xfrm>
            <a:off x="0" y="0"/>
            <a:ext cx="20104100" cy="11309350"/>
          </a:xfrm>
        </p:spPr>
        <p:txBody>
          <a:bodyPr anchor="ctr"/>
          <a:lstStyle>
            <a:lvl1pPr marL="0" indent="0" algn="ctr">
              <a:buNone/>
              <a:defRPr/>
            </a:lvl1pPr>
          </a:lstStyle>
          <a:p>
            <a:endParaRPr lang="en-GB"/>
          </a:p>
        </p:txBody>
      </p:sp>
      <p:pic>
        <p:nvPicPr>
          <p:cNvPr id="19" name="Imagen 18">
            <a:extLst>
              <a:ext uri="{FF2B5EF4-FFF2-40B4-BE49-F238E27FC236}">
                <a16:creationId xmlns:a16="http://schemas.microsoft.com/office/drawing/2014/main" id="{CDE873E3-468F-41C9-A3D5-AE1CFF571F4A}"/>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206379" y="10190981"/>
            <a:ext cx="1167349" cy="583716"/>
          </a:xfrm>
          <a:prstGeom prst="rect">
            <a:avLst/>
          </a:prstGeom>
        </p:spPr>
      </p:pic>
      <p:sp>
        <p:nvSpPr>
          <p:cNvPr id="14" name="Marcador de texto 19">
            <a:extLst>
              <a:ext uri="{FF2B5EF4-FFF2-40B4-BE49-F238E27FC236}">
                <a16:creationId xmlns:a16="http://schemas.microsoft.com/office/drawing/2014/main" id="{F0A5F956-78D9-483E-8513-18F922BFD069}"/>
              </a:ext>
            </a:extLst>
          </p:cNvPr>
          <p:cNvSpPr>
            <a:spLocks noGrp="1"/>
          </p:cNvSpPr>
          <p:nvPr>
            <p:ph type="body" sz="quarter" idx="10" hasCustomPrompt="1"/>
          </p:nvPr>
        </p:nvSpPr>
        <p:spPr>
          <a:xfrm>
            <a:off x="17185412" y="389504"/>
            <a:ext cx="2985439" cy="250572"/>
          </a:xfrm>
          <a:noFill/>
        </p:spPr>
        <p:txBody>
          <a:bodyPr wrap="square" lIns="0" tIns="0" rIns="0" bIns="0" rtlCol="0" anchor="ctr">
            <a:noAutofit/>
          </a:bodyPr>
          <a:lstStyle>
            <a:lvl1pPr marL="0" indent="0">
              <a:buNone/>
              <a:defRPr lang="es-ES" sz="1319" b="0" smtClean="0">
                <a:solidFill>
                  <a:schemeClr val="bg1"/>
                </a:solidFill>
              </a:defRPr>
            </a:lvl1pPr>
            <a:lvl2pPr marL="376961" indent="0">
              <a:buNone/>
              <a:defRPr lang="es-ES" sz="2968" smtClean="0"/>
            </a:lvl2pPr>
            <a:lvl3pPr marL="1130884" indent="0">
              <a:buNone/>
              <a:defRPr lang="es-ES" sz="2968" smtClean="0"/>
            </a:lvl3pPr>
            <a:lvl4pPr marL="1790567" indent="0">
              <a:buFont typeface="Arial" panose="020B0604020202020204" pitchFamily="34" charset="0"/>
              <a:buNone/>
              <a:defRPr lang="es-ES" smtClean="0"/>
            </a:lvl4pPr>
            <a:lvl5pPr marL="2638730" indent="0">
              <a:buNone/>
              <a:defRPr lang="es-ES"/>
            </a:lvl5pPr>
          </a:lstStyle>
          <a:p>
            <a:pPr marL="0" lvl="0"/>
            <a:r>
              <a:rPr lang="es-ES" noProof="0" dirty="0"/>
              <a:t>D</a:t>
            </a:r>
            <a:r>
              <a:rPr lang="en-GB" noProof="0" dirty="0" err="1"/>
              <a:t>ocument</a:t>
            </a:r>
            <a:r>
              <a:rPr lang="en-GB" noProof="0" dirty="0"/>
              <a:t> Title</a:t>
            </a:r>
          </a:p>
        </p:txBody>
      </p:sp>
    </p:spTree>
    <p:extLst>
      <p:ext uri="{BB962C8B-B14F-4D97-AF65-F5344CB8AC3E}">
        <p14:creationId xmlns:p14="http://schemas.microsoft.com/office/powerpoint/2010/main" val="1440254876"/>
      </p:ext>
    </p:extLst>
  </p:cSld>
  <p:clrMapOvr>
    <a:overrideClrMapping bg1="lt1" tx1="dk1" bg2="lt2" tx2="dk2" accent1="accent1" accent2="accent2" accent3="accent3" accent4="accent4" accent5="accent5" accent6="accent6" hlink="hlink" folHlink="folHlink"/>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Picture right">
    <p:bg>
      <p:bgRef idx="1001">
        <a:schemeClr val="bg1"/>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C677C15-D783-4350-B9E7-52E834A09207}"/>
              </a:ext>
            </a:extLst>
          </p:cNvPr>
          <p:cNvSpPr>
            <a:spLocks noGrp="1"/>
          </p:cNvSpPr>
          <p:nvPr>
            <p:ph type="pic" sz="quarter" idx="11"/>
          </p:nvPr>
        </p:nvSpPr>
        <p:spPr>
          <a:xfrm>
            <a:off x="7874106" y="0"/>
            <a:ext cx="12229994" cy="11309350"/>
          </a:xfrm>
        </p:spPr>
        <p:txBody>
          <a:bodyPr/>
          <a:lstStyle/>
          <a:p>
            <a:endParaRPr lang="en-GB"/>
          </a:p>
        </p:txBody>
      </p:sp>
      <p:sp>
        <p:nvSpPr>
          <p:cNvPr id="14" name="Marcador de texto 19">
            <a:extLst>
              <a:ext uri="{FF2B5EF4-FFF2-40B4-BE49-F238E27FC236}">
                <a16:creationId xmlns:a16="http://schemas.microsoft.com/office/drawing/2014/main" id="{F0A5F956-78D9-483E-8513-18F922BFD069}"/>
              </a:ext>
            </a:extLst>
          </p:cNvPr>
          <p:cNvSpPr>
            <a:spLocks noGrp="1"/>
          </p:cNvSpPr>
          <p:nvPr>
            <p:ph type="body" sz="quarter" idx="10" hasCustomPrompt="1"/>
          </p:nvPr>
        </p:nvSpPr>
        <p:spPr>
          <a:xfrm>
            <a:off x="17185412" y="389504"/>
            <a:ext cx="2985439" cy="250572"/>
          </a:xfrm>
          <a:noFill/>
        </p:spPr>
        <p:txBody>
          <a:bodyPr wrap="square" lIns="0" tIns="0" rIns="0" bIns="0" rtlCol="0" anchor="ctr">
            <a:noAutofit/>
          </a:bodyPr>
          <a:lstStyle>
            <a:lvl1pPr marL="0" indent="0">
              <a:buNone/>
              <a:defRPr lang="es-ES" sz="1319" b="0" smtClean="0">
                <a:solidFill>
                  <a:schemeClr val="bg1"/>
                </a:solidFill>
              </a:defRPr>
            </a:lvl1pPr>
            <a:lvl2pPr marL="376961" indent="0">
              <a:buNone/>
              <a:defRPr lang="es-ES" sz="2968" smtClean="0"/>
            </a:lvl2pPr>
            <a:lvl3pPr marL="1130884" indent="0">
              <a:buNone/>
              <a:defRPr lang="es-ES" sz="2968" smtClean="0"/>
            </a:lvl3pPr>
            <a:lvl4pPr marL="1790567" indent="0">
              <a:buFont typeface="Arial" panose="020B0604020202020204" pitchFamily="34" charset="0"/>
              <a:buNone/>
              <a:defRPr lang="es-ES" smtClean="0"/>
            </a:lvl4pPr>
            <a:lvl5pPr marL="2638730" indent="0">
              <a:buNone/>
              <a:defRPr lang="es-ES"/>
            </a:lvl5pPr>
          </a:lstStyle>
          <a:p>
            <a:pPr marL="0" lvl="0"/>
            <a:r>
              <a:rPr lang="es-ES" noProof="0" dirty="0"/>
              <a:t>D</a:t>
            </a:r>
            <a:r>
              <a:rPr lang="en-GB" noProof="0" dirty="0" err="1"/>
              <a:t>ocument</a:t>
            </a:r>
            <a:r>
              <a:rPr lang="en-GB" noProof="0" dirty="0"/>
              <a:t> Title</a:t>
            </a:r>
          </a:p>
        </p:txBody>
      </p:sp>
      <p:sp>
        <p:nvSpPr>
          <p:cNvPr id="6" name="Text Placeholder 5">
            <a:extLst>
              <a:ext uri="{FF2B5EF4-FFF2-40B4-BE49-F238E27FC236}">
                <a16:creationId xmlns:a16="http://schemas.microsoft.com/office/drawing/2014/main" id="{0E6285A1-3678-4E17-88A4-D3F997A10815}"/>
              </a:ext>
            </a:extLst>
          </p:cNvPr>
          <p:cNvSpPr>
            <a:spLocks noGrp="1"/>
          </p:cNvSpPr>
          <p:nvPr>
            <p:ph type="body" sz="quarter" idx="12" hasCustomPrompt="1"/>
          </p:nvPr>
        </p:nvSpPr>
        <p:spPr>
          <a:xfrm>
            <a:off x="552342" y="291893"/>
            <a:ext cx="4457977" cy="696363"/>
          </a:xfrm>
        </p:spPr>
        <p:txBody>
          <a:bodyPr anchor="ctr">
            <a:normAutofit/>
          </a:bodyPr>
          <a:lstStyle>
            <a:lvl1pPr marL="0" indent="0">
              <a:buNone/>
              <a:defRPr sz="2968"/>
            </a:lvl1pPr>
          </a:lstStyle>
          <a:p>
            <a:pPr lvl="0"/>
            <a:r>
              <a:rPr lang="en-GB" noProof="0"/>
              <a:t>Title</a:t>
            </a:r>
          </a:p>
        </p:txBody>
      </p:sp>
      <p:pic>
        <p:nvPicPr>
          <p:cNvPr id="5" name="Imagen 4">
            <a:extLst>
              <a:ext uri="{FF2B5EF4-FFF2-40B4-BE49-F238E27FC236}">
                <a16:creationId xmlns:a16="http://schemas.microsoft.com/office/drawing/2014/main" id="{89B4CBA2-4A11-D145-9157-6A99F51D78CF}"/>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206379" y="10190981"/>
            <a:ext cx="1167349" cy="583716"/>
          </a:xfrm>
          <a:prstGeom prst="rect">
            <a:avLst/>
          </a:prstGeom>
        </p:spPr>
      </p:pic>
    </p:spTree>
    <p:extLst>
      <p:ext uri="{BB962C8B-B14F-4D97-AF65-F5344CB8AC3E}">
        <p14:creationId xmlns:p14="http://schemas.microsoft.com/office/powerpoint/2010/main" val="1027494492"/>
      </p:ext>
    </p:extLst>
  </p:cSld>
  <p:clrMapOvr>
    <a:overrideClrMapping bg1="lt1" tx1="dk1" bg2="lt2" tx2="dk2" accent1="accent1" accent2="accent2" accent3="accent3" accent4="accent4" accent5="accent5" accent6="accent6" hlink="hlink" folHlink="folHlink"/>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Title + picture">
    <p:bg>
      <p:bgRef idx="1001">
        <a:schemeClr val="bg1"/>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C677C15-D783-4350-B9E7-52E834A09207}"/>
              </a:ext>
            </a:extLst>
          </p:cNvPr>
          <p:cNvSpPr>
            <a:spLocks noGrp="1"/>
          </p:cNvSpPr>
          <p:nvPr>
            <p:ph type="pic" sz="quarter" idx="11"/>
          </p:nvPr>
        </p:nvSpPr>
        <p:spPr>
          <a:xfrm>
            <a:off x="0" y="3494530"/>
            <a:ext cx="20104100" cy="6558226"/>
          </a:xfrm>
        </p:spPr>
        <p:txBody>
          <a:bodyPr/>
          <a:lstStyle/>
          <a:p>
            <a:endParaRPr lang="en-GB"/>
          </a:p>
        </p:txBody>
      </p:sp>
      <p:sp>
        <p:nvSpPr>
          <p:cNvPr id="14" name="Marcador de texto 19">
            <a:extLst>
              <a:ext uri="{FF2B5EF4-FFF2-40B4-BE49-F238E27FC236}">
                <a16:creationId xmlns:a16="http://schemas.microsoft.com/office/drawing/2014/main" id="{F0A5F956-78D9-483E-8513-18F922BFD069}"/>
              </a:ext>
            </a:extLst>
          </p:cNvPr>
          <p:cNvSpPr>
            <a:spLocks noGrp="1"/>
          </p:cNvSpPr>
          <p:nvPr>
            <p:ph type="body" sz="quarter" idx="10" hasCustomPrompt="1"/>
          </p:nvPr>
        </p:nvSpPr>
        <p:spPr>
          <a:xfrm>
            <a:off x="17185412" y="389504"/>
            <a:ext cx="2985439" cy="250572"/>
          </a:xfrm>
          <a:noFill/>
        </p:spPr>
        <p:txBody>
          <a:bodyPr wrap="square" lIns="0" tIns="0" rIns="0" bIns="0" rtlCol="0" anchor="ctr">
            <a:noAutofit/>
          </a:bodyPr>
          <a:lstStyle>
            <a:lvl1pPr marL="0" indent="0">
              <a:buNone/>
              <a:defRPr lang="es-ES" sz="1319" b="0" smtClean="0">
                <a:solidFill>
                  <a:schemeClr val="tx1"/>
                </a:solidFill>
              </a:defRPr>
            </a:lvl1pPr>
            <a:lvl2pPr marL="376961" indent="0">
              <a:buNone/>
              <a:defRPr lang="es-ES" sz="2968" smtClean="0"/>
            </a:lvl2pPr>
            <a:lvl3pPr marL="1130884" indent="0">
              <a:buNone/>
              <a:defRPr lang="es-ES" sz="2968" smtClean="0"/>
            </a:lvl3pPr>
            <a:lvl4pPr marL="1790567" indent="0">
              <a:buFont typeface="Arial" panose="020B0604020202020204" pitchFamily="34" charset="0"/>
              <a:buNone/>
              <a:defRPr lang="es-ES" smtClean="0"/>
            </a:lvl4pPr>
            <a:lvl5pPr marL="2638730" indent="0">
              <a:buNone/>
              <a:defRPr lang="es-ES"/>
            </a:lvl5pPr>
          </a:lstStyle>
          <a:p>
            <a:pPr marL="0" lvl="0"/>
            <a:r>
              <a:rPr lang="es-ES" noProof="0" dirty="0"/>
              <a:t>D</a:t>
            </a:r>
            <a:r>
              <a:rPr lang="en-GB" noProof="0" dirty="0" err="1"/>
              <a:t>ocument</a:t>
            </a:r>
            <a:r>
              <a:rPr lang="en-GB" noProof="0" dirty="0"/>
              <a:t> Title</a:t>
            </a:r>
          </a:p>
        </p:txBody>
      </p:sp>
      <p:sp>
        <p:nvSpPr>
          <p:cNvPr id="6" name="Text Placeholder 5">
            <a:extLst>
              <a:ext uri="{FF2B5EF4-FFF2-40B4-BE49-F238E27FC236}">
                <a16:creationId xmlns:a16="http://schemas.microsoft.com/office/drawing/2014/main" id="{0E6285A1-3678-4E17-88A4-D3F997A10815}"/>
              </a:ext>
            </a:extLst>
          </p:cNvPr>
          <p:cNvSpPr>
            <a:spLocks noGrp="1"/>
          </p:cNvSpPr>
          <p:nvPr>
            <p:ph type="body" sz="quarter" idx="12" hasCustomPrompt="1"/>
          </p:nvPr>
        </p:nvSpPr>
        <p:spPr>
          <a:xfrm>
            <a:off x="552342" y="291893"/>
            <a:ext cx="4457977" cy="696363"/>
          </a:xfrm>
        </p:spPr>
        <p:txBody>
          <a:bodyPr anchor="ctr">
            <a:normAutofit/>
          </a:bodyPr>
          <a:lstStyle>
            <a:lvl1pPr marL="0" indent="0">
              <a:buNone/>
              <a:defRPr sz="2968"/>
            </a:lvl1pPr>
          </a:lstStyle>
          <a:p>
            <a:pPr lvl="0"/>
            <a:r>
              <a:rPr lang="en-GB" noProof="0" dirty="0"/>
              <a:t>Title</a:t>
            </a:r>
          </a:p>
        </p:txBody>
      </p:sp>
      <p:pic>
        <p:nvPicPr>
          <p:cNvPr id="7" name="Imagen 18">
            <a:extLst>
              <a:ext uri="{FF2B5EF4-FFF2-40B4-BE49-F238E27FC236}">
                <a16:creationId xmlns:a16="http://schemas.microsoft.com/office/drawing/2014/main" id="{B6C47EA2-1D4F-4D9E-8577-0F31F00CBCA5}"/>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206379" y="10190981"/>
            <a:ext cx="1167349" cy="583716"/>
          </a:xfrm>
          <a:prstGeom prst="rect">
            <a:avLst/>
          </a:prstGeom>
        </p:spPr>
      </p:pic>
      <p:pic>
        <p:nvPicPr>
          <p:cNvPr id="8" name="Imagen 15">
            <a:extLst>
              <a:ext uri="{FF2B5EF4-FFF2-40B4-BE49-F238E27FC236}">
                <a16:creationId xmlns:a16="http://schemas.microsoft.com/office/drawing/2014/main" id="{57384837-9129-4F3B-92EC-FAFD7429F569}"/>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8206627" y="10175274"/>
            <a:ext cx="1170610" cy="607079"/>
          </a:xfrm>
          <a:prstGeom prst="rect">
            <a:avLst/>
          </a:prstGeom>
        </p:spPr>
      </p:pic>
    </p:spTree>
    <p:extLst>
      <p:ext uri="{BB962C8B-B14F-4D97-AF65-F5344CB8AC3E}">
        <p14:creationId xmlns:p14="http://schemas.microsoft.com/office/powerpoint/2010/main" val="1717566716"/>
      </p:ext>
    </p:extLst>
  </p:cSld>
  <p:clrMapOvr>
    <a:overrideClrMapping bg1="lt1" tx1="dk1" bg2="lt2" tx2="dk2" accent1="accent1" accent2="accent2" accent3="accent3" accent4="accent4" accent5="accent5" accent6="accent6" hlink="hlink" folHlink="folHlink"/>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Title + picture big">
    <p:bg>
      <p:bgRef idx="1001">
        <a:schemeClr val="bg1"/>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C677C15-D783-4350-B9E7-52E834A09207}"/>
              </a:ext>
            </a:extLst>
          </p:cNvPr>
          <p:cNvSpPr>
            <a:spLocks noGrp="1"/>
          </p:cNvSpPr>
          <p:nvPr>
            <p:ph type="pic" sz="quarter" idx="11"/>
          </p:nvPr>
        </p:nvSpPr>
        <p:spPr>
          <a:xfrm>
            <a:off x="0" y="0"/>
            <a:ext cx="20104100" cy="11309350"/>
          </a:xfrm>
        </p:spPr>
        <p:txBody>
          <a:bodyPr/>
          <a:lstStyle/>
          <a:p>
            <a:endParaRPr lang="en-GB"/>
          </a:p>
        </p:txBody>
      </p:sp>
      <p:sp>
        <p:nvSpPr>
          <p:cNvPr id="14" name="Marcador de texto 19">
            <a:extLst>
              <a:ext uri="{FF2B5EF4-FFF2-40B4-BE49-F238E27FC236}">
                <a16:creationId xmlns:a16="http://schemas.microsoft.com/office/drawing/2014/main" id="{F0A5F956-78D9-483E-8513-18F922BFD069}"/>
              </a:ext>
            </a:extLst>
          </p:cNvPr>
          <p:cNvSpPr>
            <a:spLocks noGrp="1"/>
          </p:cNvSpPr>
          <p:nvPr>
            <p:ph type="body" sz="quarter" idx="10" hasCustomPrompt="1"/>
          </p:nvPr>
        </p:nvSpPr>
        <p:spPr>
          <a:xfrm>
            <a:off x="17185412" y="389504"/>
            <a:ext cx="2985439" cy="250572"/>
          </a:xfrm>
          <a:noFill/>
        </p:spPr>
        <p:txBody>
          <a:bodyPr wrap="square" lIns="0" tIns="0" rIns="0" bIns="0" rtlCol="0" anchor="ctr">
            <a:noAutofit/>
          </a:bodyPr>
          <a:lstStyle>
            <a:lvl1pPr marL="0" indent="0">
              <a:buNone/>
              <a:defRPr lang="es-ES" sz="1319" b="0" smtClean="0">
                <a:solidFill>
                  <a:schemeClr val="bg1"/>
                </a:solidFill>
              </a:defRPr>
            </a:lvl1pPr>
            <a:lvl2pPr marL="376961" indent="0">
              <a:buNone/>
              <a:defRPr lang="es-ES" sz="2968" smtClean="0"/>
            </a:lvl2pPr>
            <a:lvl3pPr marL="1130884" indent="0">
              <a:buNone/>
              <a:defRPr lang="es-ES" sz="2968" smtClean="0"/>
            </a:lvl3pPr>
            <a:lvl4pPr marL="1790567" indent="0">
              <a:buFont typeface="Arial" panose="020B0604020202020204" pitchFamily="34" charset="0"/>
              <a:buNone/>
              <a:defRPr lang="es-ES" smtClean="0"/>
            </a:lvl4pPr>
            <a:lvl5pPr marL="2638730" indent="0">
              <a:buNone/>
              <a:defRPr lang="es-ES"/>
            </a:lvl5pPr>
          </a:lstStyle>
          <a:p>
            <a:pPr marL="0" lvl="0"/>
            <a:r>
              <a:rPr lang="es-ES" noProof="0" dirty="0"/>
              <a:t>D</a:t>
            </a:r>
            <a:r>
              <a:rPr lang="en-GB" noProof="0" dirty="0" err="1"/>
              <a:t>ocument</a:t>
            </a:r>
            <a:r>
              <a:rPr lang="en-GB" noProof="0" dirty="0"/>
              <a:t> Title</a:t>
            </a:r>
          </a:p>
        </p:txBody>
      </p:sp>
      <p:sp>
        <p:nvSpPr>
          <p:cNvPr id="6" name="Text Placeholder 5">
            <a:extLst>
              <a:ext uri="{FF2B5EF4-FFF2-40B4-BE49-F238E27FC236}">
                <a16:creationId xmlns:a16="http://schemas.microsoft.com/office/drawing/2014/main" id="{0E6285A1-3678-4E17-88A4-D3F997A10815}"/>
              </a:ext>
            </a:extLst>
          </p:cNvPr>
          <p:cNvSpPr>
            <a:spLocks noGrp="1"/>
          </p:cNvSpPr>
          <p:nvPr>
            <p:ph type="body" sz="quarter" idx="12" hasCustomPrompt="1"/>
          </p:nvPr>
        </p:nvSpPr>
        <p:spPr>
          <a:xfrm>
            <a:off x="552342" y="291893"/>
            <a:ext cx="4457977" cy="696363"/>
          </a:xfrm>
        </p:spPr>
        <p:txBody>
          <a:bodyPr anchor="ctr">
            <a:normAutofit/>
          </a:bodyPr>
          <a:lstStyle>
            <a:lvl1pPr marL="0" indent="0">
              <a:buNone/>
              <a:defRPr sz="2968">
                <a:solidFill>
                  <a:schemeClr val="bg1"/>
                </a:solidFill>
              </a:defRPr>
            </a:lvl1pPr>
          </a:lstStyle>
          <a:p>
            <a:pPr lvl="0"/>
            <a:r>
              <a:rPr lang="en-GB" noProof="0" dirty="0"/>
              <a:t>Title</a:t>
            </a:r>
          </a:p>
        </p:txBody>
      </p:sp>
      <p:pic>
        <p:nvPicPr>
          <p:cNvPr id="7" name="Imagen 18">
            <a:extLst>
              <a:ext uri="{FF2B5EF4-FFF2-40B4-BE49-F238E27FC236}">
                <a16:creationId xmlns:a16="http://schemas.microsoft.com/office/drawing/2014/main" id="{B6C47EA2-1D4F-4D9E-8577-0F31F00CBCA5}"/>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206379" y="10190981"/>
            <a:ext cx="1167349" cy="583716"/>
          </a:xfrm>
          <a:prstGeom prst="rect">
            <a:avLst/>
          </a:prstGeom>
        </p:spPr>
      </p:pic>
      <p:pic>
        <p:nvPicPr>
          <p:cNvPr id="8" name="Imagen 15">
            <a:extLst>
              <a:ext uri="{FF2B5EF4-FFF2-40B4-BE49-F238E27FC236}">
                <a16:creationId xmlns:a16="http://schemas.microsoft.com/office/drawing/2014/main" id="{57384837-9129-4F3B-92EC-FAFD7429F569}"/>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8206627" y="10175274"/>
            <a:ext cx="1170610" cy="607079"/>
          </a:xfrm>
          <a:prstGeom prst="rect">
            <a:avLst/>
          </a:prstGeom>
        </p:spPr>
      </p:pic>
    </p:spTree>
    <p:extLst>
      <p:ext uri="{BB962C8B-B14F-4D97-AF65-F5344CB8AC3E}">
        <p14:creationId xmlns:p14="http://schemas.microsoft.com/office/powerpoint/2010/main" val="3929337614"/>
      </p:ext>
    </p:extLst>
  </p:cSld>
  <p:clrMapOvr>
    <a:overrideClrMapping bg1="lt1" tx1="dk1" bg2="lt2" tx2="dk2" accent1="accent1" accent2="accent2" accent3="accent3" accent4="accent4" accent5="accent5" accent6="accent6" hlink="hlink" folHlink="folHlink"/>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Name + photo right">
    <p:bg>
      <p:bgRef idx="1001">
        <a:schemeClr val="bg1"/>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C677C15-D783-4350-B9E7-52E834A09207}"/>
              </a:ext>
            </a:extLst>
          </p:cNvPr>
          <p:cNvSpPr>
            <a:spLocks noGrp="1"/>
          </p:cNvSpPr>
          <p:nvPr>
            <p:ph type="pic" sz="quarter" idx="11"/>
          </p:nvPr>
        </p:nvSpPr>
        <p:spPr>
          <a:xfrm>
            <a:off x="11811159" y="0"/>
            <a:ext cx="8292941" cy="11309350"/>
          </a:xfrm>
        </p:spPr>
        <p:txBody>
          <a:bodyPr/>
          <a:lstStyle/>
          <a:p>
            <a:endParaRPr lang="en-GB"/>
          </a:p>
        </p:txBody>
      </p:sp>
      <p:sp>
        <p:nvSpPr>
          <p:cNvPr id="6" name="Text Placeholder 5">
            <a:extLst>
              <a:ext uri="{FF2B5EF4-FFF2-40B4-BE49-F238E27FC236}">
                <a16:creationId xmlns:a16="http://schemas.microsoft.com/office/drawing/2014/main" id="{0E6285A1-3678-4E17-88A4-D3F997A10815}"/>
              </a:ext>
            </a:extLst>
          </p:cNvPr>
          <p:cNvSpPr>
            <a:spLocks noGrp="1"/>
          </p:cNvSpPr>
          <p:nvPr>
            <p:ph type="body" sz="quarter" idx="12" hasCustomPrompt="1"/>
          </p:nvPr>
        </p:nvSpPr>
        <p:spPr>
          <a:xfrm>
            <a:off x="824585" y="733013"/>
            <a:ext cx="7273897" cy="2827338"/>
          </a:xfrm>
        </p:spPr>
        <p:txBody>
          <a:bodyPr anchor="t">
            <a:normAutofit/>
          </a:bodyPr>
          <a:lstStyle>
            <a:lvl1pPr marL="0" indent="0">
              <a:buNone/>
              <a:defRPr sz="8905">
                <a:solidFill>
                  <a:schemeClr val="tx2"/>
                </a:solidFill>
              </a:defRPr>
            </a:lvl1pPr>
          </a:lstStyle>
          <a:p>
            <a:pPr lvl="0"/>
            <a:r>
              <a:rPr lang="en-GB" noProof="0" dirty="0"/>
              <a:t>Name</a:t>
            </a:r>
          </a:p>
        </p:txBody>
      </p:sp>
      <p:sp>
        <p:nvSpPr>
          <p:cNvPr id="7" name="Text Placeholder 5">
            <a:extLst>
              <a:ext uri="{FF2B5EF4-FFF2-40B4-BE49-F238E27FC236}">
                <a16:creationId xmlns:a16="http://schemas.microsoft.com/office/drawing/2014/main" id="{A19D4150-7ED4-44E1-9278-A64CF1A07AAE}"/>
              </a:ext>
            </a:extLst>
          </p:cNvPr>
          <p:cNvSpPr>
            <a:spLocks noGrp="1"/>
          </p:cNvSpPr>
          <p:nvPr>
            <p:ph type="body" sz="quarter" idx="13" hasCustomPrompt="1"/>
          </p:nvPr>
        </p:nvSpPr>
        <p:spPr>
          <a:xfrm>
            <a:off x="824587" y="3492286"/>
            <a:ext cx="4012964" cy="1113991"/>
          </a:xfrm>
        </p:spPr>
        <p:txBody>
          <a:bodyPr anchor="t">
            <a:normAutofit/>
          </a:bodyPr>
          <a:lstStyle>
            <a:lvl1pPr marL="0" indent="0">
              <a:lnSpc>
                <a:spcPts val="2968"/>
              </a:lnSpc>
              <a:buNone/>
              <a:defRPr sz="3298">
                <a:solidFill>
                  <a:schemeClr val="tx2"/>
                </a:solidFill>
              </a:defRPr>
            </a:lvl1pPr>
          </a:lstStyle>
          <a:p>
            <a:pPr lvl="0"/>
            <a:r>
              <a:rPr lang="en-GB" noProof="0"/>
              <a:t>Title</a:t>
            </a:r>
          </a:p>
        </p:txBody>
      </p:sp>
      <p:pic>
        <p:nvPicPr>
          <p:cNvPr id="8" name="Imagen 15">
            <a:extLst>
              <a:ext uri="{FF2B5EF4-FFF2-40B4-BE49-F238E27FC236}">
                <a16:creationId xmlns:a16="http://schemas.microsoft.com/office/drawing/2014/main" id="{38F533F4-2B2D-4957-A6B1-BAC7D7475E53}"/>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24586" y="10167619"/>
            <a:ext cx="1170610" cy="607079"/>
          </a:xfrm>
          <a:prstGeom prst="rect">
            <a:avLst/>
          </a:prstGeom>
        </p:spPr>
      </p:pic>
      <p:sp>
        <p:nvSpPr>
          <p:cNvPr id="11" name="Text Placeholder 5">
            <a:extLst>
              <a:ext uri="{FF2B5EF4-FFF2-40B4-BE49-F238E27FC236}">
                <a16:creationId xmlns:a16="http://schemas.microsoft.com/office/drawing/2014/main" id="{F24180B9-A209-426D-85FB-7FBFFC9166DF}"/>
              </a:ext>
            </a:extLst>
          </p:cNvPr>
          <p:cNvSpPr>
            <a:spLocks noGrp="1"/>
          </p:cNvSpPr>
          <p:nvPr>
            <p:ph type="body" sz="quarter" idx="14" hasCustomPrompt="1"/>
          </p:nvPr>
        </p:nvSpPr>
        <p:spPr>
          <a:xfrm>
            <a:off x="824587" y="4779248"/>
            <a:ext cx="4012964" cy="2033780"/>
          </a:xfrm>
        </p:spPr>
        <p:txBody>
          <a:bodyPr anchor="t">
            <a:normAutofit/>
          </a:bodyPr>
          <a:lstStyle>
            <a:lvl1pPr marL="0" indent="0">
              <a:buNone/>
              <a:defRPr sz="1979">
                <a:solidFill>
                  <a:schemeClr val="tx1"/>
                </a:solidFill>
              </a:defRPr>
            </a:lvl1pPr>
          </a:lstStyle>
          <a:p>
            <a:pPr lvl="0"/>
            <a:r>
              <a:rPr lang="en-GB" noProof="0" dirty="0"/>
              <a:t>Lorem</a:t>
            </a:r>
          </a:p>
        </p:txBody>
      </p:sp>
      <p:sp>
        <p:nvSpPr>
          <p:cNvPr id="12" name="Text Placeholder 5">
            <a:extLst>
              <a:ext uri="{FF2B5EF4-FFF2-40B4-BE49-F238E27FC236}">
                <a16:creationId xmlns:a16="http://schemas.microsoft.com/office/drawing/2014/main" id="{75D09A63-14BB-44E9-B249-B4E353124A1F}"/>
              </a:ext>
            </a:extLst>
          </p:cNvPr>
          <p:cNvSpPr>
            <a:spLocks noGrp="1"/>
          </p:cNvSpPr>
          <p:nvPr>
            <p:ph type="body" sz="quarter" idx="15" hasCustomPrompt="1"/>
          </p:nvPr>
        </p:nvSpPr>
        <p:spPr>
          <a:xfrm>
            <a:off x="6962321" y="8133837"/>
            <a:ext cx="4012964" cy="2640859"/>
          </a:xfrm>
        </p:spPr>
        <p:txBody>
          <a:bodyPr anchor="b">
            <a:normAutofit/>
          </a:bodyPr>
          <a:lstStyle>
            <a:lvl1pPr marL="0" indent="0" algn="r">
              <a:buNone/>
              <a:defRPr sz="5277">
                <a:solidFill>
                  <a:schemeClr val="tx2"/>
                </a:solidFill>
                <a:latin typeface="+mj-lt"/>
              </a:defRPr>
            </a:lvl1pPr>
          </a:lstStyle>
          <a:p>
            <a:pPr lvl="0"/>
            <a:r>
              <a:rPr lang="en-GB" noProof="0" dirty="0"/>
              <a:t>Lorem</a:t>
            </a:r>
          </a:p>
        </p:txBody>
      </p:sp>
    </p:spTree>
    <p:extLst>
      <p:ext uri="{BB962C8B-B14F-4D97-AF65-F5344CB8AC3E}">
        <p14:creationId xmlns:p14="http://schemas.microsoft.com/office/powerpoint/2010/main" val="3134038575"/>
      </p:ext>
    </p:extLst>
  </p:cSld>
  <p:clrMapOvr>
    <a:overrideClrMapping bg1="lt1" tx1="dk1" bg2="lt2" tx2="dk2" accent1="accent1" accent2="accent2" accent3="accent3" accent4="accent4" accent5="accent5" accent6="accent6" hlink="hlink" folHlink="folHlink"/>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Name + photo left">
    <p:bg>
      <p:bgRef idx="1001">
        <a:schemeClr val="bg1"/>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C677C15-D783-4350-B9E7-52E834A09207}"/>
              </a:ext>
            </a:extLst>
          </p:cNvPr>
          <p:cNvSpPr>
            <a:spLocks noGrp="1"/>
          </p:cNvSpPr>
          <p:nvPr>
            <p:ph type="pic" sz="quarter" idx="11"/>
          </p:nvPr>
        </p:nvSpPr>
        <p:spPr>
          <a:xfrm>
            <a:off x="0" y="0"/>
            <a:ext cx="8292941" cy="11309350"/>
          </a:xfrm>
        </p:spPr>
        <p:txBody>
          <a:bodyPr/>
          <a:lstStyle/>
          <a:p>
            <a:endParaRPr lang="en-GB"/>
          </a:p>
        </p:txBody>
      </p:sp>
      <p:sp>
        <p:nvSpPr>
          <p:cNvPr id="6" name="Text Placeholder 5">
            <a:extLst>
              <a:ext uri="{FF2B5EF4-FFF2-40B4-BE49-F238E27FC236}">
                <a16:creationId xmlns:a16="http://schemas.microsoft.com/office/drawing/2014/main" id="{0E6285A1-3678-4E17-88A4-D3F997A10815}"/>
              </a:ext>
            </a:extLst>
          </p:cNvPr>
          <p:cNvSpPr>
            <a:spLocks noGrp="1"/>
          </p:cNvSpPr>
          <p:nvPr>
            <p:ph type="body" sz="quarter" idx="12" hasCustomPrompt="1"/>
          </p:nvPr>
        </p:nvSpPr>
        <p:spPr>
          <a:xfrm>
            <a:off x="11928959" y="733013"/>
            <a:ext cx="7273897" cy="2827338"/>
          </a:xfrm>
        </p:spPr>
        <p:txBody>
          <a:bodyPr anchor="t">
            <a:normAutofit/>
          </a:bodyPr>
          <a:lstStyle>
            <a:lvl1pPr marL="0" indent="0" algn="r">
              <a:buNone/>
              <a:defRPr sz="8905">
                <a:solidFill>
                  <a:schemeClr val="tx2"/>
                </a:solidFill>
                <a:latin typeface="Arial Unicode MS" panose="020B0604020202020204" pitchFamily="34" charset="-128"/>
                <a:ea typeface="Arial Unicode MS" panose="020B0604020202020204" pitchFamily="34" charset="-128"/>
                <a:cs typeface="Arial Unicode MS" panose="020B0604020202020204" pitchFamily="34" charset="-128"/>
              </a:defRPr>
            </a:lvl1pPr>
          </a:lstStyle>
          <a:p>
            <a:pPr lvl="0"/>
            <a:r>
              <a:rPr lang="en-GB" noProof="0" dirty="0"/>
              <a:t>Name</a:t>
            </a:r>
          </a:p>
        </p:txBody>
      </p:sp>
      <p:sp>
        <p:nvSpPr>
          <p:cNvPr id="7" name="Text Placeholder 5">
            <a:extLst>
              <a:ext uri="{FF2B5EF4-FFF2-40B4-BE49-F238E27FC236}">
                <a16:creationId xmlns:a16="http://schemas.microsoft.com/office/drawing/2014/main" id="{A19D4150-7ED4-44E1-9278-A64CF1A07AAE}"/>
              </a:ext>
            </a:extLst>
          </p:cNvPr>
          <p:cNvSpPr>
            <a:spLocks noGrp="1"/>
          </p:cNvSpPr>
          <p:nvPr>
            <p:ph type="body" sz="quarter" idx="13" hasCustomPrompt="1"/>
          </p:nvPr>
        </p:nvSpPr>
        <p:spPr>
          <a:xfrm>
            <a:off x="15189891" y="3450878"/>
            <a:ext cx="4012964" cy="1769702"/>
          </a:xfrm>
        </p:spPr>
        <p:txBody>
          <a:bodyPr vert="horz" lIns="0" tIns="0" rIns="0" bIns="0" rtlCol="0" anchor="t">
            <a:normAutofit/>
          </a:bodyPr>
          <a:lstStyle>
            <a:lvl1pPr marL="0" indent="0" algn="r">
              <a:spcBef>
                <a:spcPts val="0"/>
              </a:spcBef>
              <a:buNone/>
              <a:defRPr lang="en-GB" sz="3298" noProof="0" dirty="0">
                <a:solidFill>
                  <a:schemeClr val="tx2"/>
                </a:solidFill>
                <a:latin typeface="Arial Unicode MS" panose="020B0604020202020204" pitchFamily="34" charset="-128"/>
                <a:ea typeface="Arial Unicode MS" panose="020B0604020202020204" pitchFamily="34" charset="-128"/>
                <a:cs typeface="Arial Unicode MS" panose="020B0604020202020204" pitchFamily="34" charset="-128"/>
              </a:defRPr>
            </a:lvl1pPr>
          </a:lstStyle>
          <a:p>
            <a:pPr marL="376961" lvl="0" indent="-376961">
              <a:lnSpc>
                <a:spcPts val="3298"/>
              </a:lnSpc>
            </a:pPr>
            <a:r>
              <a:rPr lang="en-GB" noProof="0" dirty="0"/>
              <a:t>Title</a:t>
            </a:r>
          </a:p>
        </p:txBody>
      </p:sp>
      <p:sp>
        <p:nvSpPr>
          <p:cNvPr id="9" name="Text Placeholder 5">
            <a:extLst>
              <a:ext uri="{FF2B5EF4-FFF2-40B4-BE49-F238E27FC236}">
                <a16:creationId xmlns:a16="http://schemas.microsoft.com/office/drawing/2014/main" id="{F47A2C88-237D-4635-8053-82C5565C3B06}"/>
              </a:ext>
            </a:extLst>
          </p:cNvPr>
          <p:cNvSpPr>
            <a:spLocks noGrp="1"/>
          </p:cNvSpPr>
          <p:nvPr>
            <p:ph type="body" sz="quarter" idx="14" hasCustomPrompt="1"/>
          </p:nvPr>
        </p:nvSpPr>
        <p:spPr>
          <a:xfrm>
            <a:off x="15189891" y="4779248"/>
            <a:ext cx="4012964" cy="2033780"/>
          </a:xfrm>
        </p:spPr>
        <p:txBody>
          <a:bodyPr anchor="t">
            <a:normAutofit/>
          </a:bodyPr>
          <a:lstStyle>
            <a:lvl1pPr marL="0" indent="0" algn="r">
              <a:buNone/>
              <a:defRPr sz="1979">
                <a:solidFill>
                  <a:schemeClr val="tx1"/>
                </a:solidFill>
              </a:defRPr>
            </a:lvl1pPr>
          </a:lstStyle>
          <a:p>
            <a:pPr lvl="0"/>
            <a:r>
              <a:rPr lang="en-GB" noProof="0" dirty="0"/>
              <a:t>Lorem</a:t>
            </a:r>
          </a:p>
        </p:txBody>
      </p:sp>
      <p:pic>
        <p:nvPicPr>
          <p:cNvPr id="10" name="Imagen 15">
            <a:extLst>
              <a:ext uri="{FF2B5EF4-FFF2-40B4-BE49-F238E27FC236}">
                <a16:creationId xmlns:a16="http://schemas.microsoft.com/office/drawing/2014/main" id="{7BDA456C-ED12-4C3A-9249-6A55B1F1DE1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206379" y="10167619"/>
            <a:ext cx="1170610" cy="607079"/>
          </a:xfrm>
          <a:prstGeom prst="rect">
            <a:avLst/>
          </a:prstGeom>
        </p:spPr>
      </p:pic>
      <p:sp>
        <p:nvSpPr>
          <p:cNvPr id="12" name="Text Placeholder 5">
            <a:extLst>
              <a:ext uri="{FF2B5EF4-FFF2-40B4-BE49-F238E27FC236}">
                <a16:creationId xmlns:a16="http://schemas.microsoft.com/office/drawing/2014/main" id="{3534B809-1632-46C4-8015-AE109AA5FE3E}"/>
              </a:ext>
            </a:extLst>
          </p:cNvPr>
          <p:cNvSpPr>
            <a:spLocks noGrp="1"/>
          </p:cNvSpPr>
          <p:nvPr>
            <p:ph type="body" sz="quarter" idx="15" hasCustomPrompt="1"/>
          </p:nvPr>
        </p:nvSpPr>
        <p:spPr>
          <a:xfrm>
            <a:off x="8829701" y="7044349"/>
            <a:ext cx="7273897" cy="2827338"/>
          </a:xfrm>
        </p:spPr>
        <p:txBody>
          <a:bodyPr anchor="b">
            <a:normAutofit/>
          </a:bodyPr>
          <a:lstStyle>
            <a:lvl1pPr marL="0" indent="0">
              <a:lnSpc>
                <a:spcPts val="5277"/>
              </a:lnSpc>
              <a:spcBef>
                <a:spcPts val="0"/>
              </a:spcBef>
              <a:buNone/>
              <a:defRPr sz="5277">
                <a:solidFill>
                  <a:schemeClr val="tx2"/>
                </a:solidFill>
              </a:defRPr>
            </a:lvl1pPr>
          </a:lstStyle>
          <a:p>
            <a:pPr lvl="0"/>
            <a:r>
              <a:rPr lang="en-GB" noProof="0" dirty="0"/>
              <a:t>Name</a:t>
            </a:r>
          </a:p>
        </p:txBody>
      </p:sp>
      <p:sp>
        <p:nvSpPr>
          <p:cNvPr id="13" name="Text Placeholder 5">
            <a:extLst>
              <a:ext uri="{FF2B5EF4-FFF2-40B4-BE49-F238E27FC236}">
                <a16:creationId xmlns:a16="http://schemas.microsoft.com/office/drawing/2014/main" id="{503930B8-96CA-4F99-AF81-00BBECAD7247}"/>
              </a:ext>
            </a:extLst>
          </p:cNvPr>
          <p:cNvSpPr>
            <a:spLocks noGrp="1"/>
          </p:cNvSpPr>
          <p:nvPr>
            <p:ph type="body" sz="quarter" idx="16" hasCustomPrompt="1"/>
          </p:nvPr>
        </p:nvSpPr>
        <p:spPr>
          <a:xfrm>
            <a:off x="8829702" y="9985928"/>
            <a:ext cx="4012964" cy="935973"/>
          </a:xfrm>
        </p:spPr>
        <p:txBody>
          <a:bodyPr anchor="t">
            <a:normAutofit/>
          </a:bodyPr>
          <a:lstStyle>
            <a:lvl1pPr marL="0" indent="0">
              <a:lnSpc>
                <a:spcPts val="3298"/>
              </a:lnSpc>
              <a:buNone/>
              <a:defRPr sz="3298">
                <a:solidFill>
                  <a:schemeClr val="tx2"/>
                </a:solidFill>
              </a:defRPr>
            </a:lvl1pPr>
          </a:lstStyle>
          <a:p>
            <a:pPr lvl="0"/>
            <a:r>
              <a:rPr lang="en-GB" noProof="0" dirty="0"/>
              <a:t>Title</a:t>
            </a:r>
          </a:p>
        </p:txBody>
      </p:sp>
    </p:spTree>
    <p:extLst>
      <p:ext uri="{BB962C8B-B14F-4D97-AF65-F5344CB8AC3E}">
        <p14:creationId xmlns:p14="http://schemas.microsoft.com/office/powerpoint/2010/main" val="931884217"/>
      </p:ext>
    </p:extLst>
  </p:cSld>
  <p:clrMapOvr>
    <a:overrideClrMapping bg1="lt1" tx1="dk1" bg2="lt2" tx2="dk2" accent1="accent1" accent2="accent2" accent3="accent3" accent4="accent4" accent5="accent5" accent6="accent6" hlink="hlink" folHlink="folHlink"/>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Team">
    <p:bg>
      <p:bgRef idx="1001">
        <a:schemeClr val="bg1"/>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C677C15-D783-4350-B9E7-52E834A09207}"/>
              </a:ext>
            </a:extLst>
          </p:cNvPr>
          <p:cNvSpPr>
            <a:spLocks noGrp="1"/>
          </p:cNvSpPr>
          <p:nvPr>
            <p:ph type="pic" sz="quarter" idx="11"/>
          </p:nvPr>
        </p:nvSpPr>
        <p:spPr>
          <a:xfrm>
            <a:off x="552341" y="2169869"/>
            <a:ext cx="4452742" cy="5579129"/>
          </a:xfrm>
        </p:spPr>
        <p:txBody>
          <a:bodyPr/>
          <a:lstStyle/>
          <a:p>
            <a:endParaRPr lang="en-GB"/>
          </a:p>
        </p:txBody>
      </p:sp>
      <p:sp>
        <p:nvSpPr>
          <p:cNvPr id="14" name="Marcador de texto 19">
            <a:extLst>
              <a:ext uri="{FF2B5EF4-FFF2-40B4-BE49-F238E27FC236}">
                <a16:creationId xmlns:a16="http://schemas.microsoft.com/office/drawing/2014/main" id="{F0A5F956-78D9-483E-8513-18F922BFD069}"/>
              </a:ext>
            </a:extLst>
          </p:cNvPr>
          <p:cNvSpPr>
            <a:spLocks noGrp="1"/>
          </p:cNvSpPr>
          <p:nvPr>
            <p:ph type="body" sz="quarter" idx="10" hasCustomPrompt="1"/>
          </p:nvPr>
        </p:nvSpPr>
        <p:spPr>
          <a:xfrm>
            <a:off x="17185412" y="389504"/>
            <a:ext cx="2985439" cy="250572"/>
          </a:xfrm>
          <a:noFill/>
        </p:spPr>
        <p:txBody>
          <a:bodyPr wrap="square" lIns="0" tIns="0" rIns="0" bIns="0" rtlCol="0" anchor="ctr">
            <a:noAutofit/>
          </a:bodyPr>
          <a:lstStyle>
            <a:lvl1pPr marL="0" indent="0">
              <a:buNone/>
              <a:defRPr lang="es-ES" sz="1319" b="0" smtClean="0">
                <a:solidFill>
                  <a:schemeClr val="tx2"/>
                </a:solidFill>
              </a:defRPr>
            </a:lvl1pPr>
            <a:lvl2pPr marL="376961" indent="0">
              <a:buNone/>
              <a:defRPr lang="es-ES" sz="2968" smtClean="0"/>
            </a:lvl2pPr>
            <a:lvl3pPr marL="1130884" indent="0">
              <a:buNone/>
              <a:defRPr lang="es-ES" sz="2968" smtClean="0"/>
            </a:lvl3pPr>
            <a:lvl4pPr marL="1790567" indent="0">
              <a:buFont typeface="Arial" panose="020B0604020202020204" pitchFamily="34" charset="0"/>
              <a:buNone/>
              <a:defRPr lang="es-ES" smtClean="0"/>
            </a:lvl4pPr>
            <a:lvl5pPr marL="2638730" indent="0">
              <a:buNone/>
              <a:defRPr lang="es-ES"/>
            </a:lvl5pPr>
          </a:lstStyle>
          <a:p>
            <a:pPr marL="0" lvl="0"/>
            <a:r>
              <a:rPr lang="es-ES" noProof="0" dirty="0"/>
              <a:t>D</a:t>
            </a:r>
            <a:r>
              <a:rPr lang="en-GB" noProof="0" dirty="0" err="1"/>
              <a:t>ocument</a:t>
            </a:r>
            <a:r>
              <a:rPr lang="en-GB" noProof="0" dirty="0"/>
              <a:t> Title</a:t>
            </a:r>
          </a:p>
        </p:txBody>
      </p:sp>
      <p:sp>
        <p:nvSpPr>
          <p:cNvPr id="6" name="Text Placeholder 5">
            <a:extLst>
              <a:ext uri="{FF2B5EF4-FFF2-40B4-BE49-F238E27FC236}">
                <a16:creationId xmlns:a16="http://schemas.microsoft.com/office/drawing/2014/main" id="{0E6285A1-3678-4E17-88A4-D3F997A10815}"/>
              </a:ext>
            </a:extLst>
          </p:cNvPr>
          <p:cNvSpPr>
            <a:spLocks noGrp="1"/>
          </p:cNvSpPr>
          <p:nvPr>
            <p:ph type="body" sz="quarter" idx="12" hasCustomPrompt="1"/>
          </p:nvPr>
        </p:nvSpPr>
        <p:spPr>
          <a:xfrm>
            <a:off x="552342" y="501326"/>
            <a:ext cx="8444243" cy="696363"/>
          </a:xfrm>
        </p:spPr>
        <p:txBody>
          <a:bodyPr anchor="ctr">
            <a:noAutofit/>
          </a:bodyPr>
          <a:lstStyle>
            <a:lvl1pPr marL="0" indent="0">
              <a:buNone/>
              <a:defRPr sz="8905">
                <a:solidFill>
                  <a:schemeClr val="tx2"/>
                </a:solidFill>
              </a:defRPr>
            </a:lvl1pPr>
          </a:lstStyle>
          <a:p>
            <a:pPr lvl="0"/>
            <a:r>
              <a:rPr lang="en-GB" noProof="0" dirty="0"/>
              <a:t>title</a:t>
            </a:r>
          </a:p>
        </p:txBody>
      </p:sp>
      <p:pic>
        <p:nvPicPr>
          <p:cNvPr id="7" name="Imagen 18">
            <a:extLst>
              <a:ext uri="{FF2B5EF4-FFF2-40B4-BE49-F238E27FC236}">
                <a16:creationId xmlns:a16="http://schemas.microsoft.com/office/drawing/2014/main" id="{B6C47EA2-1D4F-4D9E-8577-0F31F00CBCA5}"/>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206379" y="10190981"/>
            <a:ext cx="1167349" cy="583716"/>
          </a:xfrm>
          <a:prstGeom prst="rect">
            <a:avLst/>
          </a:prstGeom>
        </p:spPr>
      </p:pic>
      <p:pic>
        <p:nvPicPr>
          <p:cNvPr id="8" name="Imagen 15">
            <a:extLst>
              <a:ext uri="{FF2B5EF4-FFF2-40B4-BE49-F238E27FC236}">
                <a16:creationId xmlns:a16="http://schemas.microsoft.com/office/drawing/2014/main" id="{57384837-9129-4F3B-92EC-FAFD7429F569}"/>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8206627" y="10175274"/>
            <a:ext cx="1170610" cy="607079"/>
          </a:xfrm>
          <a:prstGeom prst="rect">
            <a:avLst/>
          </a:prstGeom>
        </p:spPr>
      </p:pic>
      <p:sp>
        <p:nvSpPr>
          <p:cNvPr id="10" name="Picture Placeholder 2">
            <a:extLst>
              <a:ext uri="{FF2B5EF4-FFF2-40B4-BE49-F238E27FC236}">
                <a16:creationId xmlns:a16="http://schemas.microsoft.com/office/drawing/2014/main" id="{9FCB22C4-994A-415D-9E24-05134561595E}"/>
              </a:ext>
            </a:extLst>
          </p:cNvPr>
          <p:cNvSpPr>
            <a:spLocks noGrp="1"/>
          </p:cNvSpPr>
          <p:nvPr>
            <p:ph type="pic" sz="quarter" idx="13"/>
          </p:nvPr>
        </p:nvSpPr>
        <p:spPr>
          <a:xfrm>
            <a:off x="5414376" y="2169869"/>
            <a:ext cx="4452742" cy="5579129"/>
          </a:xfrm>
        </p:spPr>
        <p:txBody>
          <a:bodyPr/>
          <a:lstStyle/>
          <a:p>
            <a:endParaRPr lang="en-GB"/>
          </a:p>
        </p:txBody>
      </p:sp>
      <p:sp>
        <p:nvSpPr>
          <p:cNvPr id="11" name="Picture Placeholder 2">
            <a:extLst>
              <a:ext uri="{FF2B5EF4-FFF2-40B4-BE49-F238E27FC236}">
                <a16:creationId xmlns:a16="http://schemas.microsoft.com/office/drawing/2014/main" id="{332288C5-4ECA-4C24-B3CD-F2F7A3663DF7}"/>
              </a:ext>
            </a:extLst>
          </p:cNvPr>
          <p:cNvSpPr>
            <a:spLocks noGrp="1"/>
          </p:cNvSpPr>
          <p:nvPr>
            <p:ph type="pic" sz="quarter" idx="14"/>
          </p:nvPr>
        </p:nvSpPr>
        <p:spPr>
          <a:xfrm>
            <a:off x="10276410" y="2169869"/>
            <a:ext cx="4452742" cy="5579129"/>
          </a:xfrm>
        </p:spPr>
        <p:txBody>
          <a:bodyPr/>
          <a:lstStyle/>
          <a:p>
            <a:endParaRPr lang="en-GB"/>
          </a:p>
        </p:txBody>
      </p:sp>
      <p:sp>
        <p:nvSpPr>
          <p:cNvPr id="12" name="Picture Placeholder 2">
            <a:extLst>
              <a:ext uri="{FF2B5EF4-FFF2-40B4-BE49-F238E27FC236}">
                <a16:creationId xmlns:a16="http://schemas.microsoft.com/office/drawing/2014/main" id="{8F3BE437-F41A-4ACC-9602-79DCEB955836}"/>
              </a:ext>
            </a:extLst>
          </p:cNvPr>
          <p:cNvSpPr>
            <a:spLocks noGrp="1"/>
          </p:cNvSpPr>
          <p:nvPr>
            <p:ph type="pic" sz="quarter" idx="15"/>
          </p:nvPr>
        </p:nvSpPr>
        <p:spPr>
          <a:xfrm>
            <a:off x="15138446" y="2169869"/>
            <a:ext cx="4452742" cy="5579129"/>
          </a:xfrm>
        </p:spPr>
        <p:txBody>
          <a:bodyPr/>
          <a:lstStyle/>
          <a:p>
            <a:endParaRPr lang="en-GB"/>
          </a:p>
        </p:txBody>
      </p:sp>
      <p:sp>
        <p:nvSpPr>
          <p:cNvPr id="15" name="Text Placeholder 5">
            <a:extLst>
              <a:ext uri="{FF2B5EF4-FFF2-40B4-BE49-F238E27FC236}">
                <a16:creationId xmlns:a16="http://schemas.microsoft.com/office/drawing/2014/main" id="{0BB197D0-4883-48D8-8B67-41F5FC9C1D81}"/>
              </a:ext>
            </a:extLst>
          </p:cNvPr>
          <p:cNvSpPr>
            <a:spLocks noGrp="1"/>
          </p:cNvSpPr>
          <p:nvPr>
            <p:ph type="body" sz="quarter" idx="17" hasCustomPrompt="1"/>
          </p:nvPr>
        </p:nvSpPr>
        <p:spPr>
          <a:xfrm>
            <a:off x="552342" y="7982929"/>
            <a:ext cx="4012964" cy="1769702"/>
          </a:xfrm>
        </p:spPr>
        <p:txBody>
          <a:bodyPr anchor="t">
            <a:normAutofit/>
          </a:bodyPr>
          <a:lstStyle>
            <a:lvl1pPr marL="0" indent="0">
              <a:buNone/>
              <a:defRPr sz="2968">
                <a:solidFill>
                  <a:schemeClr val="tx2"/>
                </a:solidFill>
                <a:latin typeface="+mj-lt"/>
              </a:defRPr>
            </a:lvl1pPr>
          </a:lstStyle>
          <a:p>
            <a:pPr lvl="0"/>
            <a:r>
              <a:rPr lang="en-GB" noProof="0" dirty="0"/>
              <a:t>Name</a:t>
            </a:r>
          </a:p>
        </p:txBody>
      </p:sp>
      <p:sp>
        <p:nvSpPr>
          <p:cNvPr id="16" name="Text Placeholder 5">
            <a:extLst>
              <a:ext uri="{FF2B5EF4-FFF2-40B4-BE49-F238E27FC236}">
                <a16:creationId xmlns:a16="http://schemas.microsoft.com/office/drawing/2014/main" id="{8C4521B7-B4BE-4C69-903F-A9F601328845}"/>
              </a:ext>
            </a:extLst>
          </p:cNvPr>
          <p:cNvSpPr>
            <a:spLocks noGrp="1"/>
          </p:cNvSpPr>
          <p:nvPr>
            <p:ph type="body" sz="quarter" idx="18" hasCustomPrompt="1"/>
          </p:nvPr>
        </p:nvSpPr>
        <p:spPr>
          <a:xfrm>
            <a:off x="5414376" y="7982929"/>
            <a:ext cx="4012964" cy="1769702"/>
          </a:xfrm>
        </p:spPr>
        <p:txBody>
          <a:bodyPr anchor="t">
            <a:normAutofit/>
          </a:bodyPr>
          <a:lstStyle>
            <a:lvl1pPr marL="0" indent="0">
              <a:buNone/>
              <a:defRPr sz="2968">
                <a:solidFill>
                  <a:schemeClr val="tx2"/>
                </a:solidFill>
                <a:latin typeface="+mj-lt"/>
              </a:defRPr>
            </a:lvl1pPr>
          </a:lstStyle>
          <a:p>
            <a:pPr lvl="0"/>
            <a:r>
              <a:rPr lang="en-GB" noProof="0" dirty="0"/>
              <a:t>Name</a:t>
            </a:r>
          </a:p>
        </p:txBody>
      </p:sp>
      <p:sp>
        <p:nvSpPr>
          <p:cNvPr id="17" name="Text Placeholder 5">
            <a:extLst>
              <a:ext uri="{FF2B5EF4-FFF2-40B4-BE49-F238E27FC236}">
                <a16:creationId xmlns:a16="http://schemas.microsoft.com/office/drawing/2014/main" id="{0FEBC72E-D820-4566-BC9D-6D054BB5A4E7}"/>
              </a:ext>
            </a:extLst>
          </p:cNvPr>
          <p:cNvSpPr>
            <a:spLocks noGrp="1"/>
          </p:cNvSpPr>
          <p:nvPr>
            <p:ph type="body" sz="quarter" idx="19" hasCustomPrompt="1"/>
          </p:nvPr>
        </p:nvSpPr>
        <p:spPr>
          <a:xfrm>
            <a:off x="10276411" y="7982929"/>
            <a:ext cx="4012964" cy="1769702"/>
          </a:xfrm>
        </p:spPr>
        <p:txBody>
          <a:bodyPr anchor="t">
            <a:normAutofit/>
          </a:bodyPr>
          <a:lstStyle>
            <a:lvl1pPr marL="0" indent="0">
              <a:buNone/>
              <a:defRPr sz="2968">
                <a:solidFill>
                  <a:schemeClr val="tx2"/>
                </a:solidFill>
                <a:latin typeface="+mj-lt"/>
              </a:defRPr>
            </a:lvl1pPr>
          </a:lstStyle>
          <a:p>
            <a:pPr lvl="0"/>
            <a:r>
              <a:rPr lang="en-GB" noProof="0" dirty="0"/>
              <a:t>Name</a:t>
            </a:r>
          </a:p>
        </p:txBody>
      </p:sp>
      <p:sp>
        <p:nvSpPr>
          <p:cNvPr id="18" name="Text Placeholder 5">
            <a:extLst>
              <a:ext uri="{FF2B5EF4-FFF2-40B4-BE49-F238E27FC236}">
                <a16:creationId xmlns:a16="http://schemas.microsoft.com/office/drawing/2014/main" id="{922EFAA0-B9F2-4CE7-8112-F7593E285219}"/>
              </a:ext>
            </a:extLst>
          </p:cNvPr>
          <p:cNvSpPr>
            <a:spLocks noGrp="1"/>
          </p:cNvSpPr>
          <p:nvPr>
            <p:ph type="body" sz="quarter" idx="20" hasCustomPrompt="1"/>
          </p:nvPr>
        </p:nvSpPr>
        <p:spPr>
          <a:xfrm>
            <a:off x="15138447" y="7982929"/>
            <a:ext cx="4012964" cy="1769702"/>
          </a:xfrm>
        </p:spPr>
        <p:txBody>
          <a:bodyPr anchor="t">
            <a:normAutofit/>
          </a:bodyPr>
          <a:lstStyle>
            <a:lvl1pPr marL="0" indent="0">
              <a:buNone/>
              <a:defRPr sz="2968">
                <a:solidFill>
                  <a:schemeClr val="tx2"/>
                </a:solidFill>
                <a:latin typeface="+mj-lt"/>
              </a:defRPr>
            </a:lvl1pPr>
          </a:lstStyle>
          <a:p>
            <a:pPr lvl="0"/>
            <a:r>
              <a:rPr lang="en-GB" noProof="0" dirty="0"/>
              <a:t>Name</a:t>
            </a:r>
          </a:p>
        </p:txBody>
      </p:sp>
    </p:spTree>
    <p:extLst>
      <p:ext uri="{BB962C8B-B14F-4D97-AF65-F5344CB8AC3E}">
        <p14:creationId xmlns:p14="http://schemas.microsoft.com/office/powerpoint/2010/main" val="688155070"/>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pic>
        <p:nvPicPr>
          <p:cNvPr id="3" name="Picture 2"/>
          <p:cNvPicPr>
            <a:picLocks noChangeAspect="1" noChangeArrowheads="1"/>
          </p:cNvPicPr>
          <p:nvPr/>
        </p:nvPicPr>
        <p:blipFill rotWithShape="1">
          <a:blip r:embed="rId2" cstate="print"/>
          <a:srcRect l="16357" r="72430" b="53533"/>
          <a:stretch/>
        </p:blipFill>
        <p:spPr bwMode="auto">
          <a:xfrm>
            <a:off x="2" y="0"/>
            <a:ext cx="1779371" cy="3520918"/>
          </a:xfrm>
          <a:prstGeom prst="rect">
            <a:avLst/>
          </a:prstGeom>
          <a:noFill/>
          <a:ln w="9525">
            <a:noFill/>
            <a:miter lim="800000"/>
            <a:headEnd/>
            <a:tailEnd/>
          </a:ln>
          <a:effectLst/>
        </p:spPr>
      </p:pic>
      <p:pic>
        <p:nvPicPr>
          <p:cNvPr id="4" name="Picture 3" descr="D:\STC Running\2011 Projects\New CI Migration &amp; Guardianship Projects\Corporate Related\PPT Templates\STC Logo Option 2.jpg"/>
          <p:cNvPicPr>
            <a:picLocks noChangeAspect="1" noChangeArrowheads="1"/>
          </p:cNvPicPr>
          <p:nvPr userDrawn="1"/>
        </p:nvPicPr>
        <p:blipFill>
          <a:blip r:embed="rId3" cstate="print"/>
          <a:srcRect t="18155" b="21764"/>
          <a:stretch>
            <a:fillRect/>
          </a:stretch>
        </p:blipFill>
        <p:spPr bwMode="auto">
          <a:xfrm>
            <a:off x="17961076" y="10531121"/>
            <a:ext cx="2056474" cy="713218"/>
          </a:xfrm>
          <a:prstGeom prst="rect">
            <a:avLst/>
          </a:prstGeom>
          <a:noFill/>
        </p:spPr>
      </p:pic>
      <p:sp>
        <p:nvSpPr>
          <p:cNvPr id="5" name="Title 4"/>
          <p:cNvSpPr>
            <a:spLocks noGrp="1"/>
          </p:cNvSpPr>
          <p:nvPr>
            <p:ph type="title"/>
          </p:nvPr>
        </p:nvSpPr>
        <p:spPr>
          <a:xfrm>
            <a:off x="4" y="0"/>
            <a:ext cx="20017545" cy="971766"/>
          </a:xfrm>
        </p:spPr>
        <p:txBody>
          <a:bodyPr>
            <a:normAutofit/>
          </a:bodyPr>
          <a:lstStyle>
            <a:lvl1pPr algn="l">
              <a:defRPr sz="5277" b="1">
                <a:solidFill>
                  <a:srgbClr val="4B2884"/>
                </a:solidFill>
              </a:defRPr>
            </a:lvl1pPr>
          </a:lstStyle>
          <a:p>
            <a:r>
              <a:rPr lang="en-US"/>
              <a:t>Click to edit Master title style</a:t>
            </a:r>
          </a:p>
        </p:txBody>
      </p:sp>
      <p:sp>
        <p:nvSpPr>
          <p:cNvPr id="6" name="Content Placeholder 12"/>
          <p:cNvSpPr>
            <a:spLocks noGrp="1"/>
          </p:cNvSpPr>
          <p:nvPr>
            <p:ph sz="quarter" idx="10"/>
          </p:nvPr>
        </p:nvSpPr>
        <p:spPr>
          <a:xfrm>
            <a:off x="1405890" y="1676159"/>
            <a:ext cx="18111143" cy="8628615"/>
          </a:xfrm>
        </p:spPr>
        <p:txBody>
          <a:bodyPr>
            <a:normAutofit/>
          </a:bodyPr>
          <a:lstStyle>
            <a:lvl1pPr>
              <a:defRPr sz="5277">
                <a:latin typeface="+mj-lt"/>
                <a:cs typeface="Arial" panose="020B0604020202020204" pitchFamily="34" charset="0"/>
              </a:defRPr>
            </a:lvl1pPr>
            <a:lvl2pPr>
              <a:defRPr sz="4398">
                <a:latin typeface="+mj-lt"/>
                <a:cs typeface="Arial" panose="020B0604020202020204" pitchFamily="34" charset="0"/>
              </a:defRPr>
            </a:lvl2pPr>
            <a:lvl3pPr>
              <a:defRPr sz="3958">
                <a:latin typeface="+mj-lt"/>
                <a:cs typeface="Arial" panose="020B0604020202020204" pitchFamily="34" charset="0"/>
              </a:defRPr>
            </a:lvl3pPr>
            <a:lvl4pPr>
              <a:defRPr sz="3079">
                <a:latin typeface="+mj-lt"/>
                <a:cs typeface="Arial" panose="020B0604020202020204" pitchFamily="34" charset="0"/>
              </a:defRPr>
            </a:lvl4pPr>
            <a:lvl5pPr>
              <a:defRPr sz="3079">
                <a:latin typeface="+mj-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6359173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Team  purple background">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C677C15-D783-4350-B9E7-52E834A09207}"/>
              </a:ext>
            </a:extLst>
          </p:cNvPr>
          <p:cNvSpPr>
            <a:spLocks noGrp="1"/>
          </p:cNvSpPr>
          <p:nvPr>
            <p:ph type="pic" sz="quarter" idx="11"/>
          </p:nvPr>
        </p:nvSpPr>
        <p:spPr>
          <a:xfrm>
            <a:off x="552341" y="2169869"/>
            <a:ext cx="4452742" cy="5579129"/>
          </a:xfrm>
        </p:spPr>
        <p:txBody>
          <a:bodyPr/>
          <a:lstStyle>
            <a:lvl1pPr>
              <a:defRPr>
                <a:solidFill>
                  <a:schemeClr val="bg1"/>
                </a:solidFill>
              </a:defRPr>
            </a:lvl1pPr>
          </a:lstStyle>
          <a:p>
            <a:endParaRPr lang="en-GB"/>
          </a:p>
        </p:txBody>
      </p:sp>
      <p:sp>
        <p:nvSpPr>
          <p:cNvPr id="14" name="Marcador de texto 19">
            <a:extLst>
              <a:ext uri="{FF2B5EF4-FFF2-40B4-BE49-F238E27FC236}">
                <a16:creationId xmlns:a16="http://schemas.microsoft.com/office/drawing/2014/main" id="{F0A5F956-78D9-483E-8513-18F922BFD069}"/>
              </a:ext>
            </a:extLst>
          </p:cNvPr>
          <p:cNvSpPr>
            <a:spLocks noGrp="1"/>
          </p:cNvSpPr>
          <p:nvPr>
            <p:ph type="body" sz="quarter" idx="10" hasCustomPrompt="1"/>
          </p:nvPr>
        </p:nvSpPr>
        <p:spPr>
          <a:xfrm>
            <a:off x="17185412" y="389504"/>
            <a:ext cx="2985439" cy="250572"/>
          </a:xfrm>
          <a:noFill/>
        </p:spPr>
        <p:txBody>
          <a:bodyPr wrap="square" lIns="0" tIns="0" rIns="0" bIns="0" rtlCol="0" anchor="ctr">
            <a:noAutofit/>
          </a:bodyPr>
          <a:lstStyle>
            <a:lvl1pPr marL="0" indent="0">
              <a:buNone/>
              <a:defRPr lang="es-ES" sz="1319" b="0" smtClean="0">
                <a:solidFill>
                  <a:schemeClr val="bg1"/>
                </a:solidFill>
              </a:defRPr>
            </a:lvl1pPr>
            <a:lvl2pPr marL="376961" indent="0">
              <a:buNone/>
              <a:defRPr lang="es-ES" sz="2968" smtClean="0"/>
            </a:lvl2pPr>
            <a:lvl3pPr marL="1130884" indent="0">
              <a:buNone/>
              <a:defRPr lang="es-ES" sz="2968" smtClean="0"/>
            </a:lvl3pPr>
            <a:lvl4pPr marL="1790567" indent="0">
              <a:buFont typeface="Arial" panose="020B0604020202020204" pitchFamily="34" charset="0"/>
              <a:buNone/>
              <a:defRPr lang="es-ES" smtClean="0"/>
            </a:lvl4pPr>
            <a:lvl5pPr marL="2638730" indent="0">
              <a:buNone/>
              <a:defRPr lang="es-ES"/>
            </a:lvl5pPr>
          </a:lstStyle>
          <a:p>
            <a:pPr marL="0" lvl="0"/>
            <a:r>
              <a:rPr lang="es-ES" noProof="0" dirty="0"/>
              <a:t>D</a:t>
            </a:r>
            <a:r>
              <a:rPr lang="en-GB" noProof="0" dirty="0" err="1"/>
              <a:t>ocument</a:t>
            </a:r>
            <a:r>
              <a:rPr lang="en-GB" noProof="0" dirty="0"/>
              <a:t> Title</a:t>
            </a:r>
          </a:p>
        </p:txBody>
      </p:sp>
      <p:sp>
        <p:nvSpPr>
          <p:cNvPr id="6" name="Text Placeholder 5">
            <a:extLst>
              <a:ext uri="{FF2B5EF4-FFF2-40B4-BE49-F238E27FC236}">
                <a16:creationId xmlns:a16="http://schemas.microsoft.com/office/drawing/2014/main" id="{0E6285A1-3678-4E17-88A4-D3F997A10815}"/>
              </a:ext>
            </a:extLst>
          </p:cNvPr>
          <p:cNvSpPr>
            <a:spLocks noGrp="1"/>
          </p:cNvSpPr>
          <p:nvPr>
            <p:ph type="body" sz="quarter" idx="12" hasCustomPrompt="1"/>
          </p:nvPr>
        </p:nvSpPr>
        <p:spPr>
          <a:xfrm>
            <a:off x="552342" y="501326"/>
            <a:ext cx="8444243" cy="696363"/>
          </a:xfrm>
        </p:spPr>
        <p:txBody>
          <a:bodyPr anchor="ctr">
            <a:noAutofit/>
          </a:bodyPr>
          <a:lstStyle>
            <a:lvl1pPr marL="0" indent="0">
              <a:buNone/>
              <a:defRPr sz="8905">
                <a:solidFill>
                  <a:schemeClr val="bg1"/>
                </a:solidFill>
              </a:defRPr>
            </a:lvl1pPr>
          </a:lstStyle>
          <a:p>
            <a:pPr lvl="0"/>
            <a:r>
              <a:rPr lang="en-GB" noProof="0" dirty="0"/>
              <a:t>title</a:t>
            </a:r>
          </a:p>
        </p:txBody>
      </p:sp>
      <p:sp>
        <p:nvSpPr>
          <p:cNvPr id="10" name="Picture Placeholder 2">
            <a:extLst>
              <a:ext uri="{FF2B5EF4-FFF2-40B4-BE49-F238E27FC236}">
                <a16:creationId xmlns:a16="http://schemas.microsoft.com/office/drawing/2014/main" id="{9FCB22C4-994A-415D-9E24-05134561595E}"/>
              </a:ext>
            </a:extLst>
          </p:cNvPr>
          <p:cNvSpPr>
            <a:spLocks noGrp="1"/>
          </p:cNvSpPr>
          <p:nvPr>
            <p:ph type="pic" sz="quarter" idx="13"/>
          </p:nvPr>
        </p:nvSpPr>
        <p:spPr>
          <a:xfrm>
            <a:off x="5414376" y="2169869"/>
            <a:ext cx="4452742" cy="5579129"/>
          </a:xfrm>
        </p:spPr>
        <p:txBody>
          <a:bodyPr/>
          <a:lstStyle>
            <a:lvl1pPr>
              <a:defRPr>
                <a:solidFill>
                  <a:schemeClr val="bg1"/>
                </a:solidFill>
              </a:defRPr>
            </a:lvl1pPr>
          </a:lstStyle>
          <a:p>
            <a:endParaRPr lang="en-GB"/>
          </a:p>
        </p:txBody>
      </p:sp>
      <p:sp>
        <p:nvSpPr>
          <p:cNvPr id="11" name="Picture Placeholder 2">
            <a:extLst>
              <a:ext uri="{FF2B5EF4-FFF2-40B4-BE49-F238E27FC236}">
                <a16:creationId xmlns:a16="http://schemas.microsoft.com/office/drawing/2014/main" id="{332288C5-4ECA-4C24-B3CD-F2F7A3663DF7}"/>
              </a:ext>
            </a:extLst>
          </p:cNvPr>
          <p:cNvSpPr>
            <a:spLocks noGrp="1"/>
          </p:cNvSpPr>
          <p:nvPr>
            <p:ph type="pic" sz="quarter" idx="14"/>
          </p:nvPr>
        </p:nvSpPr>
        <p:spPr>
          <a:xfrm>
            <a:off x="10276410" y="2169869"/>
            <a:ext cx="4452742" cy="5579129"/>
          </a:xfrm>
        </p:spPr>
        <p:txBody>
          <a:bodyPr/>
          <a:lstStyle>
            <a:lvl1pPr>
              <a:defRPr>
                <a:solidFill>
                  <a:schemeClr val="bg1"/>
                </a:solidFill>
              </a:defRPr>
            </a:lvl1pPr>
          </a:lstStyle>
          <a:p>
            <a:endParaRPr lang="en-GB"/>
          </a:p>
        </p:txBody>
      </p:sp>
      <p:sp>
        <p:nvSpPr>
          <p:cNvPr id="12" name="Picture Placeholder 2">
            <a:extLst>
              <a:ext uri="{FF2B5EF4-FFF2-40B4-BE49-F238E27FC236}">
                <a16:creationId xmlns:a16="http://schemas.microsoft.com/office/drawing/2014/main" id="{8F3BE437-F41A-4ACC-9602-79DCEB955836}"/>
              </a:ext>
            </a:extLst>
          </p:cNvPr>
          <p:cNvSpPr>
            <a:spLocks noGrp="1"/>
          </p:cNvSpPr>
          <p:nvPr>
            <p:ph type="pic" sz="quarter" idx="15"/>
          </p:nvPr>
        </p:nvSpPr>
        <p:spPr>
          <a:xfrm>
            <a:off x="15138446" y="2169869"/>
            <a:ext cx="4452742" cy="5579129"/>
          </a:xfrm>
        </p:spPr>
        <p:txBody>
          <a:bodyPr/>
          <a:lstStyle>
            <a:lvl1pPr>
              <a:defRPr>
                <a:solidFill>
                  <a:schemeClr val="bg1"/>
                </a:solidFill>
              </a:defRPr>
            </a:lvl1pPr>
          </a:lstStyle>
          <a:p>
            <a:endParaRPr lang="en-GB"/>
          </a:p>
        </p:txBody>
      </p:sp>
      <p:sp>
        <p:nvSpPr>
          <p:cNvPr id="15" name="Text Placeholder 5">
            <a:extLst>
              <a:ext uri="{FF2B5EF4-FFF2-40B4-BE49-F238E27FC236}">
                <a16:creationId xmlns:a16="http://schemas.microsoft.com/office/drawing/2014/main" id="{0BB197D0-4883-48D8-8B67-41F5FC9C1D81}"/>
              </a:ext>
            </a:extLst>
          </p:cNvPr>
          <p:cNvSpPr>
            <a:spLocks noGrp="1"/>
          </p:cNvSpPr>
          <p:nvPr>
            <p:ph type="body" sz="quarter" idx="17" hasCustomPrompt="1"/>
          </p:nvPr>
        </p:nvSpPr>
        <p:spPr>
          <a:xfrm>
            <a:off x="552342" y="7982929"/>
            <a:ext cx="4012964" cy="1769702"/>
          </a:xfrm>
        </p:spPr>
        <p:txBody>
          <a:bodyPr anchor="t">
            <a:normAutofit/>
          </a:bodyPr>
          <a:lstStyle>
            <a:lvl1pPr marL="0" indent="0">
              <a:buNone/>
              <a:defRPr sz="2968">
                <a:solidFill>
                  <a:schemeClr val="bg2"/>
                </a:solidFill>
                <a:latin typeface="+mj-lt"/>
              </a:defRPr>
            </a:lvl1pPr>
          </a:lstStyle>
          <a:p>
            <a:pPr lvl="0"/>
            <a:r>
              <a:rPr lang="en-GB" noProof="0" dirty="0"/>
              <a:t>Name</a:t>
            </a:r>
          </a:p>
        </p:txBody>
      </p:sp>
      <p:sp>
        <p:nvSpPr>
          <p:cNvPr id="16" name="Text Placeholder 5">
            <a:extLst>
              <a:ext uri="{FF2B5EF4-FFF2-40B4-BE49-F238E27FC236}">
                <a16:creationId xmlns:a16="http://schemas.microsoft.com/office/drawing/2014/main" id="{8C4521B7-B4BE-4C69-903F-A9F601328845}"/>
              </a:ext>
            </a:extLst>
          </p:cNvPr>
          <p:cNvSpPr>
            <a:spLocks noGrp="1"/>
          </p:cNvSpPr>
          <p:nvPr>
            <p:ph type="body" sz="quarter" idx="18" hasCustomPrompt="1"/>
          </p:nvPr>
        </p:nvSpPr>
        <p:spPr>
          <a:xfrm>
            <a:off x="5414376" y="7982929"/>
            <a:ext cx="4012964" cy="1769702"/>
          </a:xfrm>
        </p:spPr>
        <p:txBody>
          <a:bodyPr anchor="t">
            <a:normAutofit/>
          </a:bodyPr>
          <a:lstStyle>
            <a:lvl1pPr marL="0" indent="0">
              <a:buNone/>
              <a:defRPr sz="2968">
                <a:solidFill>
                  <a:schemeClr val="bg2"/>
                </a:solidFill>
                <a:latin typeface="+mj-lt"/>
              </a:defRPr>
            </a:lvl1pPr>
          </a:lstStyle>
          <a:p>
            <a:pPr lvl="0"/>
            <a:r>
              <a:rPr lang="en-GB" noProof="0" dirty="0"/>
              <a:t>Name</a:t>
            </a:r>
          </a:p>
        </p:txBody>
      </p:sp>
      <p:sp>
        <p:nvSpPr>
          <p:cNvPr id="17" name="Text Placeholder 5">
            <a:extLst>
              <a:ext uri="{FF2B5EF4-FFF2-40B4-BE49-F238E27FC236}">
                <a16:creationId xmlns:a16="http://schemas.microsoft.com/office/drawing/2014/main" id="{0FEBC72E-D820-4566-BC9D-6D054BB5A4E7}"/>
              </a:ext>
            </a:extLst>
          </p:cNvPr>
          <p:cNvSpPr>
            <a:spLocks noGrp="1"/>
          </p:cNvSpPr>
          <p:nvPr>
            <p:ph type="body" sz="quarter" idx="19" hasCustomPrompt="1"/>
          </p:nvPr>
        </p:nvSpPr>
        <p:spPr>
          <a:xfrm>
            <a:off x="10276411" y="7982929"/>
            <a:ext cx="4012964" cy="1769702"/>
          </a:xfrm>
        </p:spPr>
        <p:txBody>
          <a:bodyPr anchor="t">
            <a:normAutofit/>
          </a:bodyPr>
          <a:lstStyle>
            <a:lvl1pPr marL="0" indent="0">
              <a:buNone/>
              <a:defRPr sz="2968">
                <a:solidFill>
                  <a:schemeClr val="bg2"/>
                </a:solidFill>
                <a:latin typeface="+mj-lt"/>
              </a:defRPr>
            </a:lvl1pPr>
          </a:lstStyle>
          <a:p>
            <a:pPr lvl="0"/>
            <a:r>
              <a:rPr lang="en-GB" noProof="0" dirty="0"/>
              <a:t>Name</a:t>
            </a:r>
          </a:p>
        </p:txBody>
      </p:sp>
      <p:sp>
        <p:nvSpPr>
          <p:cNvPr id="18" name="Text Placeholder 5">
            <a:extLst>
              <a:ext uri="{FF2B5EF4-FFF2-40B4-BE49-F238E27FC236}">
                <a16:creationId xmlns:a16="http://schemas.microsoft.com/office/drawing/2014/main" id="{922EFAA0-B9F2-4CE7-8112-F7593E285219}"/>
              </a:ext>
            </a:extLst>
          </p:cNvPr>
          <p:cNvSpPr>
            <a:spLocks noGrp="1"/>
          </p:cNvSpPr>
          <p:nvPr>
            <p:ph type="body" sz="quarter" idx="20" hasCustomPrompt="1"/>
          </p:nvPr>
        </p:nvSpPr>
        <p:spPr>
          <a:xfrm>
            <a:off x="15138447" y="7982929"/>
            <a:ext cx="4012964" cy="1769702"/>
          </a:xfrm>
        </p:spPr>
        <p:txBody>
          <a:bodyPr anchor="t">
            <a:normAutofit/>
          </a:bodyPr>
          <a:lstStyle>
            <a:lvl1pPr marL="0" indent="0">
              <a:buNone/>
              <a:defRPr sz="2968">
                <a:solidFill>
                  <a:schemeClr val="bg2"/>
                </a:solidFill>
                <a:latin typeface="+mj-lt"/>
              </a:defRPr>
            </a:lvl1pPr>
          </a:lstStyle>
          <a:p>
            <a:pPr lvl="0"/>
            <a:r>
              <a:rPr lang="en-GB" noProof="0" dirty="0"/>
              <a:t>Name</a:t>
            </a:r>
          </a:p>
        </p:txBody>
      </p:sp>
      <p:pic>
        <p:nvPicPr>
          <p:cNvPr id="19" name="Imagen 18">
            <a:extLst>
              <a:ext uri="{FF2B5EF4-FFF2-40B4-BE49-F238E27FC236}">
                <a16:creationId xmlns:a16="http://schemas.microsoft.com/office/drawing/2014/main" id="{9B04D250-4D43-4B8F-B972-9651FAD31A2E}"/>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206379" y="10190981"/>
            <a:ext cx="1167349" cy="583716"/>
          </a:xfrm>
          <a:prstGeom prst="rect">
            <a:avLst/>
          </a:prstGeom>
        </p:spPr>
      </p:pic>
    </p:spTree>
    <p:extLst>
      <p:ext uri="{BB962C8B-B14F-4D97-AF65-F5344CB8AC3E}">
        <p14:creationId xmlns:p14="http://schemas.microsoft.com/office/powerpoint/2010/main" val="3062585793"/>
      </p:ext>
    </p:extLst>
  </p:cSld>
  <p:clrMapOvr>
    <a:overrideClrMapping bg1="lt1" tx1="dk1" bg2="lt2" tx2="dk2" accent1="accent1" accent2="accent2" accent3="accent3" accent4="accent4" accent5="accent5" accent6="accent6" hlink="hlink" folHlink="folHlink"/>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1_Title Sllide 3">
    <p:bg>
      <p:bgRef idx="1001">
        <a:schemeClr val="bg1"/>
      </p:bgRef>
    </p:bg>
    <p:spTree>
      <p:nvGrpSpPr>
        <p:cNvPr id="1" name=""/>
        <p:cNvGrpSpPr/>
        <p:nvPr/>
      </p:nvGrpSpPr>
      <p:grpSpPr>
        <a:xfrm>
          <a:off x="0" y="0"/>
          <a:ext cx="0" cy="0"/>
          <a:chOff x="0" y="0"/>
          <a:chExt cx="0" cy="0"/>
        </a:xfrm>
      </p:grpSpPr>
      <p:sp>
        <p:nvSpPr>
          <p:cNvPr id="5" name="Marcador de posición de imagen 4">
            <a:extLst>
              <a:ext uri="{FF2B5EF4-FFF2-40B4-BE49-F238E27FC236}">
                <a16:creationId xmlns:a16="http://schemas.microsoft.com/office/drawing/2014/main" id="{FF35A0E0-62D3-4FBD-8D67-26160B8478FC}"/>
              </a:ext>
            </a:extLst>
          </p:cNvPr>
          <p:cNvSpPr>
            <a:spLocks noGrp="1"/>
          </p:cNvSpPr>
          <p:nvPr>
            <p:ph type="pic" sz="quarter" idx="14" hasCustomPrompt="1"/>
          </p:nvPr>
        </p:nvSpPr>
        <p:spPr>
          <a:xfrm>
            <a:off x="-1" y="0"/>
            <a:ext cx="20104102" cy="11309350"/>
          </a:xfrm>
        </p:spPr>
        <p:txBody>
          <a:bodyPr/>
          <a:lstStyle>
            <a:lvl1pPr marL="0" indent="0">
              <a:buNone/>
              <a:defRPr/>
            </a:lvl1pPr>
          </a:lstStyle>
          <a:p>
            <a:r>
              <a:rPr lang="en-GB" noProof="0" dirty="0"/>
              <a:t>Picture</a:t>
            </a:r>
          </a:p>
        </p:txBody>
      </p:sp>
      <p:pic>
        <p:nvPicPr>
          <p:cNvPr id="3" name="Imagen 2">
            <a:extLst>
              <a:ext uri="{FF2B5EF4-FFF2-40B4-BE49-F238E27FC236}">
                <a16:creationId xmlns:a16="http://schemas.microsoft.com/office/drawing/2014/main" id="{83538ECC-FBC7-E648-9124-B790651C4FCF}"/>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206379" y="10190981"/>
            <a:ext cx="1167349" cy="583716"/>
          </a:xfrm>
          <a:prstGeom prst="rect">
            <a:avLst/>
          </a:prstGeom>
        </p:spPr>
      </p:pic>
      <p:pic>
        <p:nvPicPr>
          <p:cNvPr id="4" name="Imagen 15">
            <a:extLst>
              <a:ext uri="{FF2B5EF4-FFF2-40B4-BE49-F238E27FC236}">
                <a16:creationId xmlns:a16="http://schemas.microsoft.com/office/drawing/2014/main" id="{19E85DE4-C4F9-8540-AA9F-F4FC91994E0A}"/>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8206379" y="10167619"/>
            <a:ext cx="1170610" cy="607079"/>
          </a:xfrm>
          <a:prstGeom prst="rect">
            <a:avLst/>
          </a:prstGeom>
        </p:spPr>
      </p:pic>
    </p:spTree>
    <p:extLst>
      <p:ext uri="{BB962C8B-B14F-4D97-AF65-F5344CB8AC3E}">
        <p14:creationId xmlns:p14="http://schemas.microsoft.com/office/powerpoint/2010/main" val="2215875993"/>
      </p:ext>
    </p:extLst>
  </p:cSld>
  <p:clrMapOvr>
    <a:overrideClrMapping bg1="lt1" tx1="dk1" bg2="lt2" tx2="dk2" accent1="accent1" accent2="accent2" accent3="accent3" accent4="accent4" accent5="accent5" accent6="accent6" hlink="hlink" folHlink="folHlink"/>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2B4587-F108-460F-8E5A-DB5D0B2B4EC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9D97A34-08AA-474E-A5F4-CCD35457CCD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20114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04D06F1-11FA-42D5-BA34-BC71D9FB5B44}"/>
              </a:ext>
            </a:extLst>
          </p:cNvPr>
          <p:cNvSpPr>
            <a:spLocks noGrp="1"/>
          </p:cNvSpPr>
          <p:nvPr>
            <p:ph type="dt" sz="half" idx="10"/>
          </p:nvPr>
        </p:nvSpPr>
        <p:spPr/>
        <p:txBody>
          <a:bodyPr/>
          <a:lstStyle/>
          <a:p>
            <a:fld id="{F2536F51-2E97-47B7-92E4-3A64C84148CF}" type="datetimeFigureOut">
              <a:rPr lang="en-US" smtClean="0"/>
              <a:t>10/26/2020</a:t>
            </a:fld>
            <a:endParaRPr lang="en-US"/>
          </a:p>
        </p:txBody>
      </p:sp>
      <p:sp>
        <p:nvSpPr>
          <p:cNvPr id="3" name="Footer Placeholder 2">
            <a:extLst>
              <a:ext uri="{FF2B5EF4-FFF2-40B4-BE49-F238E27FC236}">
                <a16:creationId xmlns:a16="http://schemas.microsoft.com/office/drawing/2014/main" id="{967B6F02-3BC2-468E-A966-83FA1FEE228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6CCA4D43-B7A9-4E55-993B-EF263BE0AE8C}"/>
              </a:ext>
            </a:extLst>
          </p:cNvPr>
          <p:cNvSpPr>
            <a:spLocks noGrp="1"/>
          </p:cNvSpPr>
          <p:nvPr>
            <p:ph type="sldNum" sz="quarter" idx="12"/>
          </p:nvPr>
        </p:nvSpPr>
        <p:spPr/>
        <p:txBody>
          <a:bodyPr/>
          <a:lstStyle/>
          <a:p>
            <a:fld id="{DE8B0321-9275-4E9D-9876-26271982E1C0}" type="slidenum">
              <a:rPr lang="en-US" smtClean="0"/>
              <a:t>‹#›</a:t>
            </a:fld>
            <a:endParaRPr lang="en-US"/>
          </a:p>
        </p:txBody>
      </p:sp>
    </p:spTree>
    <p:extLst>
      <p:ext uri="{BB962C8B-B14F-4D97-AF65-F5344CB8AC3E}">
        <p14:creationId xmlns:p14="http://schemas.microsoft.com/office/powerpoint/2010/main" val="141146204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253624512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2_Title Sllide 1">
    <p:bg>
      <p:bgPr>
        <a:solidFill>
          <a:schemeClr val="tx2"/>
        </a:solidFill>
        <a:effectLst/>
      </p:bgPr>
    </p:bg>
    <p:spTree>
      <p:nvGrpSpPr>
        <p:cNvPr id="1" name=""/>
        <p:cNvGrpSpPr/>
        <p:nvPr/>
      </p:nvGrpSpPr>
      <p:grpSpPr>
        <a:xfrm>
          <a:off x="0" y="0"/>
          <a:ext cx="0" cy="0"/>
          <a:chOff x="0" y="0"/>
          <a:chExt cx="0" cy="0"/>
        </a:xfrm>
      </p:grpSpPr>
      <p:grpSp>
        <p:nvGrpSpPr>
          <p:cNvPr id="13" name="Grupo 12">
            <a:extLst>
              <a:ext uri="{FF2B5EF4-FFF2-40B4-BE49-F238E27FC236}">
                <a16:creationId xmlns:a16="http://schemas.microsoft.com/office/drawing/2014/main" id="{401C62B8-AF7E-4B7D-9538-1418B4BFEBEF}"/>
              </a:ext>
            </a:extLst>
          </p:cNvPr>
          <p:cNvGrpSpPr/>
          <p:nvPr userDrawn="1"/>
        </p:nvGrpSpPr>
        <p:grpSpPr>
          <a:xfrm>
            <a:off x="0" y="4488399"/>
            <a:ext cx="10786786" cy="2319464"/>
            <a:chOff x="0" y="2721769"/>
            <a:chExt cx="6541576" cy="1406525"/>
          </a:xfrm>
        </p:grpSpPr>
        <p:sp>
          <p:nvSpPr>
            <p:cNvPr id="11" name="Rectángulo 10">
              <a:extLst>
                <a:ext uri="{FF2B5EF4-FFF2-40B4-BE49-F238E27FC236}">
                  <a16:creationId xmlns:a16="http://schemas.microsoft.com/office/drawing/2014/main" id="{C8B6B93A-A8F8-4F2B-BC71-4B643F447AE8}"/>
                </a:ext>
              </a:extLst>
            </p:cNvPr>
            <p:cNvSpPr/>
            <p:nvPr userDrawn="1"/>
          </p:nvSpPr>
          <p:spPr>
            <a:xfrm>
              <a:off x="0" y="2721769"/>
              <a:ext cx="5133975" cy="140652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968" dirty="0"/>
            </a:p>
          </p:txBody>
        </p:sp>
        <p:sp>
          <p:nvSpPr>
            <p:cNvPr id="12" name="Rectángulo 11">
              <a:extLst>
                <a:ext uri="{FF2B5EF4-FFF2-40B4-BE49-F238E27FC236}">
                  <a16:creationId xmlns:a16="http://schemas.microsoft.com/office/drawing/2014/main" id="{C75FFB40-3AC2-49EB-8E48-A86BA5920297}"/>
                </a:ext>
              </a:extLst>
            </p:cNvPr>
            <p:cNvSpPr/>
            <p:nvPr userDrawn="1"/>
          </p:nvSpPr>
          <p:spPr>
            <a:xfrm>
              <a:off x="5133976" y="2721769"/>
              <a:ext cx="1407600" cy="1406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968" dirty="0"/>
            </a:p>
          </p:txBody>
        </p:sp>
      </p:grpSp>
      <p:sp>
        <p:nvSpPr>
          <p:cNvPr id="8" name="Marcador de texto 7">
            <a:extLst>
              <a:ext uri="{FF2B5EF4-FFF2-40B4-BE49-F238E27FC236}">
                <a16:creationId xmlns:a16="http://schemas.microsoft.com/office/drawing/2014/main" id="{7D6440B0-FCC9-4D31-ABFB-730764070B93}"/>
              </a:ext>
            </a:extLst>
          </p:cNvPr>
          <p:cNvSpPr>
            <a:spLocks noGrp="1"/>
          </p:cNvSpPr>
          <p:nvPr>
            <p:ph type="body" sz="quarter" idx="13" hasCustomPrompt="1"/>
          </p:nvPr>
        </p:nvSpPr>
        <p:spPr>
          <a:xfrm>
            <a:off x="353294" y="8037259"/>
            <a:ext cx="1808846" cy="691127"/>
          </a:xfrm>
        </p:spPr>
        <p:txBody>
          <a:bodyPr lIns="0" tIns="0" rIns="0" bIns="0" anchor="ctr">
            <a:noAutofit/>
          </a:bodyPr>
          <a:lstStyle>
            <a:lvl1pPr marL="0" indent="0">
              <a:lnSpc>
                <a:spcPct val="100000"/>
              </a:lnSpc>
              <a:spcBef>
                <a:spcPts val="0"/>
              </a:spcBef>
              <a:buNone/>
              <a:defRPr sz="1814">
                <a:solidFill>
                  <a:schemeClr val="bg1"/>
                </a:solidFill>
              </a:defRPr>
            </a:lvl1pPr>
            <a:lvl2pPr marL="753923" indent="0">
              <a:buNone/>
              <a:defRPr sz="1731">
                <a:solidFill>
                  <a:schemeClr val="bg1"/>
                </a:solidFill>
              </a:defRPr>
            </a:lvl2pPr>
            <a:lvl3pPr marL="1507846" indent="0">
              <a:buNone/>
              <a:defRPr sz="1649">
                <a:solidFill>
                  <a:schemeClr val="bg1"/>
                </a:solidFill>
              </a:defRPr>
            </a:lvl3pPr>
            <a:lvl4pPr marL="2261768" indent="0">
              <a:buNone/>
              <a:defRPr sz="1484">
                <a:solidFill>
                  <a:schemeClr val="bg1"/>
                </a:solidFill>
              </a:defRPr>
            </a:lvl4pPr>
            <a:lvl5pPr marL="3015691" indent="0">
              <a:buNone/>
              <a:defRPr sz="1484">
                <a:solidFill>
                  <a:schemeClr val="bg1"/>
                </a:solidFill>
              </a:defRPr>
            </a:lvl5pPr>
          </a:lstStyle>
          <a:p>
            <a:pPr lvl="0"/>
            <a:r>
              <a:rPr lang="en-GB" noProof="0"/>
              <a:t>Text</a:t>
            </a:r>
          </a:p>
          <a:p>
            <a:pPr lvl="0"/>
            <a:r>
              <a:rPr lang="en-GB" noProof="0"/>
              <a:t>Date</a:t>
            </a:r>
          </a:p>
        </p:txBody>
      </p:sp>
      <p:sp>
        <p:nvSpPr>
          <p:cNvPr id="16" name="Marcador de texto 7">
            <a:extLst>
              <a:ext uri="{FF2B5EF4-FFF2-40B4-BE49-F238E27FC236}">
                <a16:creationId xmlns:a16="http://schemas.microsoft.com/office/drawing/2014/main" id="{0FCADBF3-8EA9-40FC-ACDC-5AD02B297BA8}"/>
              </a:ext>
            </a:extLst>
          </p:cNvPr>
          <p:cNvSpPr>
            <a:spLocks noGrp="1"/>
          </p:cNvSpPr>
          <p:nvPr>
            <p:ph type="body" sz="quarter" idx="14" hasCustomPrompt="1"/>
          </p:nvPr>
        </p:nvSpPr>
        <p:spPr>
          <a:xfrm>
            <a:off x="2889965" y="7300215"/>
            <a:ext cx="7896820" cy="2165214"/>
          </a:xfrm>
        </p:spPr>
        <p:txBody>
          <a:bodyPr lIns="0" tIns="0" rIns="0" bIns="0" anchor="ctr">
            <a:noAutofit/>
          </a:bodyPr>
          <a:lstStyle>
            <a:lvl1pPr marL="0" indent="0" algn="r">
              <a:lnSpc>
                <a:spcPct val="100000"/>
              </a:lnSpc>
              <a:spcBef>
                <a:spcPts val="0"/>
              </a:spcBef>
              <a:buNone/>
              <a:defRPr sz="11873">
                <a:solidFill>
                  <a:schemeClr val="bg1"/>
                </a:solidFill>
                <a:latin typeface="Arial Unicode MS" panose="020B0604020202020204" pitchFamily="34" charset="-128"/>
                <a:ea typeface="Arial Unicode MS" panose="020B0604020202020204" pitchFamily="34" charset="-128"/>
                <a:cs typeface="Arial Unicode MS" panose="020B0604020202020204" pitchFamily="34" charset="-128"/>
              </a:defRPr>
            </a:lvl1pPr>
            <a:lvl2pPr marL="753923" indent="0">
              <a:buNone/>
              <a:defRPr sz="1731">
                <a:solidFill>
                  <a:schemeClr val="bg1"/>
                </a:solidFill>
              </a:defRPr>
            </a:lvl2pPr>
            <a:lvl3pPr marL="1507846" indent="0">
              <a:buNone/>
              <a:defRPr sz="1649">
                <a:solidFill>
                  <a:schemeClr val="bg1"/>
                </a:solidFill>
              </a:defRPr>
            </a:lvl3pPr>
            <a:lvl4pPr marL="2261768" indent="0">
              <a:buNone/>
              <a:defRPr sz="1484">
                <a:solidFill>
                  <a:schemeClr val="bg1"/>
                </a:solidFill>
              </a:defRPr>
            </a:lvl4pPr>
            <a:lvl5pPr marL="3015691" indent="0">
              <a:buNone/>
              <a:defRPr sz="1484">
                <a:solidFill>
                  <a:schemeClr val="bg1"/>
                </a:solidFill>
              </a:defRPr>
            </a:lvl5pPr>
          </a:lstStyle>
          <a:p>
            <a:pPr lvl="0"/>
            <a:r>
              <a:rPr lang="ar-AE" dirty="0"/>
              <a:t>انظر للأمام</a:t>
            </a:r>
            <a:endParaRPr lang="es-ES" dirty="0"/>
          </a:p>
        </p:txBody>
      </p:sp>
      <p:sp>
        <p:nvSpPr>
          <p:cNvPr id="18" name="Título 1">
            <a:extLst>
              <a:ext uri="{FF2B5EF4-FFF2-40B4-BE49-F238E27FC236}">
                <a16:creationId xmlns:a16="http://schemas.microsoft.com/office/drawing/2014/main" id="{435E0EAF-5FD4-4865-A795-3F2F13627757}"/>
              </a:ext>
            </a:extLst>
          </p:cNvPr>
          <p:cNvSpPr>
            <a:spLocks noGrp="1"/>
          </p:cNvSpPr>
          <p:nvPr>
            <p:ph type="title" hasCustomPrompt="1"/>
          </p:nvPr>
        </p:nvSpPr>
        <p:spPr>
          <a:xfrm>
            <a:off x="353293" y="4488400"/>
            <a:ext cx="7808014" cy="2319462"/>
          </a:xfrm>
        </p:spPr>
        <p:txBody>
          <a:bodyPr vert="horz" lIns="0" tIns="0" rIns="0" bIns="0" rtlCol="0" anchor="ctr">
            <a:normAutofit/>
          </a:bodyPr>
          <a:lstStyle>
            <a:lvl1pPr>
              <a:defRPr lang="es-ES" sz="9894" dirty="0">
                <a:solidFill>
                  <a:schemeClr val="tx2"/>
                </a:solidFill>
              </a:defRPr>
            </a:lvl1pPr>
          </a:lstStyle>
          <a:p>
            <a:pPr marL="0" lvl="0"/>
            <a:r>
              <a:rPr lang="en-GB" noProof="0"/>
              <a:t>Text</a:t>
            </a:r>
          </a:p>
        </p:txBody>
      </p:sp>
      <p:pic>
        <p:nvPicPr>
          <p:cNvPr id="9" name="Imagen 8">
            <a:extLst>
              <a:ext uri="{FF2B5EF4-FFF2-40B4-BE49-F238E27FC236}">
                <a16:creationId xmlns:a16="http://schemas.microsoft.com/office/drawing/2014/main" id="{34C474B0-EBAA-6149-80E6-73D779A2223A}"/>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206379" y="10190981"/>
            <a:ext cx="1167349" cy="583716"/>
          </a:xfrm>
          <a:prstGeom prst="rect">
            <a:avLst/>
          </a:prstGeom>
        </p:spPr>
      </p:pic>
    </p:spTree>
    <p:extLst>
      <p:ext uri="{BB962C8B-B14F-4D97-AF65-F5344CB8AC3E}">
        <p14:creationId xmlns:p14="http://schemas.microsoft.com/office/powerpoint/2010/main" val="47132847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Title Sllide 1">
    <p:bg>
      <p:bgPr>
        <a:solidFill>
          <a:schemeClr val="tx2"/>
        </a:solidFill>
        <a:effectLst/>
      </p:bgPr>
    </p:bg>
    <p:spTree>
      <p:nvGrpSpPr>
        <p:cNvPr id="1" name=""/>
        <p:cNvGrpSpPr/>
        <p:nvPr/>
      </p:nvGrpSpPr>
      <p:grpSpPr>
        <a:xfrm>
          <a:off x="0" y="0"/>
          <a:ext cx="0" cy="0"/>
          <a:chOff x="0" y="0"/>
          <a:chExt cx="0" cy="0"/>
        </a:xfrm>
      </p:grpSpPr>
      <p:pic>
        <p:nvPicPr>
          <p:cNvPr id="19" name="Imagen 18">
            <a:extLst>
              <a:ext uri="{FF2B5EF4-FFF2-40B4-BE49-F238E27FC236}">
                <a16:creationId xmlns:a16="http://schemas.microsoft.com/office/drawing/2014/main" id="{CDE873E3-468F-41C9-A3D5-AE1CFF571F4A}"/>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206379" y="10190981"/>
            <a:ext cx="1167349" cy="583716"/>
          </a:xfrm>
          <a:prstGeom prst="rect">
            <a:avLst/>
          </a:prstGeom>
        </p:spPr>
      </p:pic>
      <p:sp>
        <p:nvSpPr>
          <p:cNvPr id="2" name="Title 1">
            <a:extLst>
              <a:ext uri="{FF2B5EF4-FFF2-40B4-BE49-F238E27FC236}">
                <a16:creationId xmlns:a16="http://schemas.microsoft.com/office/drawing/2014/main" id="{1D616A16-5F6F-4F25-88DA-B5D1E5C6D6A9}"/>
              </a:ext>
            </a:extLst>
          </p:cNvPr>
          <p:cNvSpPr>
            <a:spLocks noGrp="1"/>
          </p:cNvSpPr>
          <p:nvPr>
            <p:ph type="title" hasCustomPrompt="1"/>
          </p:nvPr>
        </p:nvSpPr>
        <p:spPr>
          <a:xfrm>
            <a:off x="496617" y="314896"/>
            <a:ext cx="8693826" cy="2185952"/>
          </a:xfrm>
        </p:spPr>
        <p:txBody>
          <a:bodyPr anchor="t">
            <a:noAutofit/>
          </a:bodyPr>
          <a:lstStyle>
            <a:lvl1pPr>
              <a:defRPr sz="8905">
                <a:solidFill>
                  <a:schemeClr val="bg1"/>
                </a:solidFill>
              </a:defRPr>
            </a:lvl1pPr>
          </a:lstStyle>
          <a:p>
            <a:r>
              <a:rPr lang="en-GB" noProof="0"/>
              <a:t>Title</a:t>
            </a:r>
          </a:p>
        </p:txBody>
      </p:sp>
      <p:sp>
        <p:nvSpPr>
          <p:cNvPr id="14" name="Marcador de texto 19">
            <a:extLst>
              <a:ext uri="{FF2B5EF4-FFF2-40B4-BE49-F238E27FC236}">
                <a16:creationId xmlns:a16="http://schemas.microsoft.com/office/drawing/2014/main" id="{F0A5F956-78D9-483E-8513-18F922BFD069}"/>
              </a:ext>
            </a:extLst>
          </p:cNvPr>
          <p:cNvSpPr>
            <a:spLocks noGrp="1"/>
          </p:cNvSpPr>
          <p:nvPr>
            <p:ph type="body" sz="quarter" idx="10" hasCustomPrompt="1"/>
          </p:nvPr>
        </p:nvSpPr>
        <p:spPr>
          <a:xfrm>
            <a:off x="17185412" y="389504"/>
            <a:ext cx="2985439" cy="250572"/>
          </a:xfrm>
          <a:noFill/>
        </p:spPr>
        <p:txBody>
          <a:bodyPr wrap="square" lIns="0" tIns="0" rIns="0" bIns="0" rtlCol="0" anchor="ctr">
            <a:noAutofit/>
          </a:bodyPr>
          <a:lstStyle>
            <a:lvl1pPr marL="0" indent="0">
              <a:buNone/>
              <a:defRPr lang="es-ES" sz="1319" b="0" smtClean="0">
                <a:solidFill>
                  <a:schemeClr val="bg1"/>
                </a:solidFill>
              </a:defRPr>
            </a:lvl1pPr>
            <a:lvl2pPr marL="376961" indent="0">
              <a:buNone/>
              <a:defRPr lang="es-ES" sz="2968" smtClean="0"/>
            </a:lvl2pPr>
            <a:lvl3pPr marL="1130884" indent="0">
              <a:buNone/>
              <a:defRPr lang="es-ES" sz="2968" smtClean="0"/>
            </a:lvl3pPr>
            <a:lvl4pPr marL="1790567" indent="0">
              <a:buFont typeface="Arial" panose="020B0604020202020204" pitchFamily="34" charset="0"/>
              <a:buNone/>
              <a:defRPr lang="es-ES" smtClean="0"/>
            </a:lvl4pPr>
            <a:lvl5pPr marL="2638730" indent="0">
              <a:buNone/>
              <a:defRPr lang="es-ES"/>
            </a:lvl5pPr>
          </a:lstStyle>
          <a:p>
            <a:pPr marL="0" lvl="0"/>
            <a:r>
              <a:rPr lang="en-GB" noProof="0" dirty="0"/>
              <a:t>Document Title</a:t>
            </a:r>
          </a:p>
        </p:txBody>
      </p:sp>
    </p:spTree>
    <p:extLst>
      <p:ext uri="{BB962C8B-B14F-4D97-AF65-F5344CB8AC3E}">
        <p14:creationId xmlns:p14="http://schemas.microsoft.com/office/powerpoint/2010/main" val="11249532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Title Sllide 40px">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2651B967-5412-4F9E-949F-4173106E63EA}"/>
              </a:ext>
            </a:extLst>
          </p:cNvPr>
          <p:cNvSpPr>
            <a:spLocks noGrp="1"/>
          </p:cNvSpPr>
          <p:nvPr>
            <p:ph type="pic" sz="quarter" idx="11"/>
          </p:nvPr>
        </p:nvSpPr>
        <p:spPr>
          <a:xfrm>
            <a:off x="0" y="0"/>
            <a:ext cx="20104100" cy="11309350"/>
          </a:xfrm>
        </p:spPr>
        <p:txBody>
          <a:bodyPr anchor="ctr"/>
          <a:lstStyle>
            <a:lvl1pPr marL="0" indent="0" algn="ctr">
              <a:buNone/>
              <a:defRPr/>
            </a:lvl1pPr>
          </a:lstStyle>
          <a:p>
            <a:endParaRPr lang="en-GB"/>
          </a:p>
        </p:txBody>
      </p:sp>
      <p:pic>
        <p:nvPicPr>
          <p:cNvPr id="19" name="Imagen 18">
            <a:extLst>
              <a:ext uri="{FF2B5EF4-FFF2-40B4-BE49-F238E27FC236}">
                <a16:creationId xmlns:a16="http://schemas.microsoft.com/office/drawing/2014/main" id="{CDE873E3-468F-41C9-A3D5-AE1CFF571F4A}"/>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206379" y="10190981"/>
            <a:ext cx="1167349" cy="583716"/>
          </a:xfrm>
          <a:prstGeom prst="rect">
            <a:avLst/>
          </a:prstGeom>
        </p:spPr>
      </p:pic>
      <p:sp>
        <p:nvSpPr>
          <p:cNvPr id="2" name="Title 1">
            <a:extLst>
              <a:ext uri="{FF2B5EF4-FFF2-40B4-BE49-F238E27FC236}">
                <a16:creationId xmlns:a16="http://schemas.microsoft.com/office/drawing/2014/main" id="{1D616A16-5F6F-4F25-88DA-B5D1E5C6D6A9}"/>
              </a:ext>
            </a:extLst>
          </p:cNvPr>
          <p:cNvSpPr>
            <a:spLocks noGrp="1"/>
          </p:cNvSpPr>
          <p:nvPr>
            <p:ph type="title" hasCustomPrompt="1"/>
          </p:nvPr>
        </p:nvSpPr>
        <p:spPr>
          <a:xfrm>
            <a:off x="496617" y="314896"/>
            <a:ext cx="8693826" cy="4615742"/>
          </a:xfrm>
        </p:spPr>
        <p:txBody>
          <a:bodyPr vert="horz" lIns="0" tIns="0" rIns="0" bIns="0" rtlCol="0" anchor="t">
            <a:noAutofit/>
          </a:bodyPr>
          <a:lstStyle>
            <a:lvl1pPr>
              <a:defRPr lang="en-GB" sz="6596" dirty="0">
                <a:solidFill>
                  <a:schemeClr val="bg1"/>
                </a:solidFill>
              </a:defRPr>
            </a:lvl1pPr>
          </a:lstStyle>
          <a:p>
            <a:pPr lvl="0">
              <a:lnSpc>
                <a:spcPts val="5772"/>
              </a:lnSpc>
            </a:pPr>
            <a:r>
              <a:rPr lang="en-GB" noProof="0"/>
              <a:t>Title</a:t>
            </a:r>
          </a:p>
        </p:txBody>
      </p:sp>
      <p:sp>
        <p:nvSpPr>
          <p:cNvPr id="14" name="Marcador de texto 19">
            <a:extLst>
              <a:ext uri="{FF2B5EF4-FFF2-40B4-BE49-F238E27FC236}">
                <a16:creationId xmlns:a16="http://schemas.microsoft.com/office/drawing/2014/main" id="{F0A5F956-78D9-483E-8513-18F922BFD069}"/>
              </a:ext>
            </a:extLst>
          </p:cNvPr>
          <p:cNvSpPr>
            <a:spLocks noGrp="1"/>
          </p:cNvSpPr>
          <p:nvPr>
            <p:ph type="body" sz="quarter" idx="10" hasCustomPrompt="1"/>
          </p:nvPr>
        </p:nvSpPr>
        <p:spPr>
          <a:xfrm>
            <a:off x="17185412" y="389504"/>
            <a:ext cx="2985439" cy="250572"/>
          </a:xfrm>
          <a:noFill/>
        </p:spPr>
        <p:txBody>
          <a:bodyPr wrap="square" lIns="0" tIns="0" rIns="0" bIns="0" rtlCol="0" anchor="ctr">
            <a:noAutofit/>
          </a:bodyPr>
          <a:lstStyle>
            <a:lvl1pPr marL="0" indent="0">
              <a:buNone/>
              <a:defRPr lang="es-ES" sz="1319" b="0" smtClean="0">
                <a:solidFill>
                  <a:schemeClr val="bg1"/>
                </a:solidFill>
              </a:defRPr>
            </a:lvl1pPr>
            <a:lvl2pPr marL="376961" indent="0">
              <a:buNone/>
              <a:defRPr lang="es-ES" sz="2968" smtClean="0"/>
            </a:lvl2pPr>
            <a:lvl3pPr marL="1130884" indent="0">
              <a:buNone/>
              <a:defRPr lang="es-ES" sz="2968" smtClean="0"/>
            </a:lvl3pPr>
            <a:lvl4pPr marL="1790567" indent="0">
              <a:buFont typeface="Arial" panose="020B0604020202020204" pitchFamily="34" charset="0"/>
              <a:buNone/>
              <a:defRPr lang="es-ES" smtClean="0"/>
            </a:lvl4pPr>
            <a:lvl5pPr marL="2638730" indent="0">
              <a:buNone/>
              <a:defRPr lang="es-ES"/>
            </a:lvl5pPr>
          </a:lstStyle>
          <a:p>
            <a:pPr marL="0" lvl="0"/>
            <a:r>
              <a:rPr lang="es-ES" noProof="0" dirty="0"/>
              <a:t>D</a:t>
            </a:r>
            <a:r>
              <a:rPr lang="en-GB" noProof="0" dirty="0" err="1"/>
              <a:t>ocument</a:t>
            </a:r>
            <a:r>
              <a:rPr lang="en-GB" noProof="0" dirty="0"/>
              <a:t> Title</a:t>
            </a:r>
          </a:p>
        </p:txBody>
      </p:sp>
    </p:spTree>
    <p:extLst>
      <p:ext uri="{BB962C8B-B14F-4D97-AF65-F5344CB8AC3E}">
        <p14:creationId xmlns:p14="http://schemas.microsoft.com/office/powerpoint/2010/main" val="3639307030"/>
      </p:ext>
    </p:extLst>
  </p:cSld>
  <p:clrMapOvr>
    <a:overrideClrMapping bg1="lt1" tx1="dk1" bg2="lt2" tx2="dk2" accent1="accent1" accent2="accent2" accent3="accent3" accent4="accent4" accent5="accent5" accent6="accent6" hlink="hlink" folHlink="folHlink"/>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Title Sllide 40px - purple">
    <p:bg>
      <p:bgRef idx="1001">
        <a:schemeClr val="bg1"/>
      </p:bgRef>
    </p:bg>
    <p:spTree>
      <p:nvGrpSpPr>
        <p:cNvPr id="1" name=""/>
        <p:cNvGrpSpPr/>
        <p:nvPr/>
      </p:nvGrpSpPr>
      <p:grpSpPr>
        <a:xfrm>
          <a:off x="0" y="0"/>
          <a:ext cx="0" cy="0"/>
          <a:chOff x="0" y="0"/>
          <a:chExt cx="0" cy="0"/>
        </a:xfrm>
      </p:grpSpPr>
      <p:pic>
        <p:nvPicPr>
          <p:cNvPr id="19" name="Imagen 18">
            <a:extLst>
              <a:ext uri="{FF2B5EF4-FFF2-40B4-BE49-F238E27FC236}">
                <a16:creationId xmlns:a16="http://schemas.microsoft.com/office/drawing/2014/main" id="{CDE873E3-468F-41C9-A3D5-AE1CFF571F4A}"/>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206379" y="10190981"/>
            <a:ext cx="1167349" cy="583716"/>
          </a:xfrm>
          <a:prstGeom prst="rect">
            <a:avLst/>
          </a:prstGeom>
        </p:spPr>
      </p:pic>
      <p:sp>
        <p:nvSpPr>
          <p:cNvPr id="2" name="Title 1">
            <a:extLst>
              <a:ext uri="{FF2B5EF4-FFF2-40B4-BE49-F238E27FC236}">
                <a16:creationId xmlns:a16="http://schemas.microsoft.com/office/drawing/2014/main" id="{1D616A16-5F6F-4F25-88DA-B5D1E5C6D6A9}"/>
              </a:ext>
            </a:extLst>
          </p:cNvPr>
          <p:cNvSpPr>
            <a:spLocks noGrp="1"/>
          </p:cNvSpPr>
          <p:nvPr>
            <p:ph type="title" hasCustomPrompt="1"/>
          </p:nvPr>
        </p:nvSpPr>
        <p:spPr>
          <a:xfrm>
            <a:off x="496617" y="314896"/>
            <a:ext cx="8693826" cy="4615742"/>
          </a:xfrm>
        </p:spPr>
        <p:txBody>
          <a:bodyPr vert="horz" lIns="0" tIns="0" rIns="0" bIns="0" rtlCol="0" anchor="t">
            <a:noAutofit/>
          </a:bodyPr>
          <a:lstStyle>
            <a:lvl1pPr>
              <a:lnSpc>
                <a:spcPct val="100000"/>
              </a:lnSpc>
              <a:defRPr lang="en-GB" sz="6596" dirty="0">
                <a:solidFill>
                  <a:schemeClr val="tx2"/>
                </a:solidFill>
              </a:defRPr>
            </a:lvl1pPr>
          </a:lstStyle>
          <a:p>
            <a:pPr lvl="0">
              <a:lnSpc>
                <a:spcPts val="5772"/>
              </a:lnSpc>
            </a:pPr>
            <a:r>
              <a:rPr lang="en-GB" noProof="0"/>
              <a:t>Title</a:t>
            </a:r>
          </a:p>
        </p:txBody>
      </p:sp>
      <p:sp>
        <p:nvSpPr>
          <p:cNvPr id="14" name="Marcador de texto 19">
            <a:extLst>
              <a:ext uri="{FF2B5EF4-FFF2-40B4-BE49-F238E27FC236}">
                <a16:creationId xmlns:a16="http://schemas.microsoft.com/office/drawing/2014/main" id="{F0A5F956-78D9-483E-8513-18F922BFD069}"/>
              </a:ext>
            </a:extLst>
          </p:cNvPr>
          <p:cNvSpPr>
            <a:spLocks noGrp="1"/>
          </p:cNvSpPr>
          <p:nvPr>
            <p:ph type="body" sz="quarter" idx="10" hasCustomPrompt="1"/>
          </p:nvPr>
        </p:nvSpPr>
        <p:spPr>
          <a:xfrm>
            <a:off x="17185412" y="389504"/>
            <a:ext cx="2985439" cy="250572"/>
          </a:xfrm>
          <a:noFill/>
        </p:spPr>
        <p:txBody>
          <a:bodyPr wrap="square" lIns="0" tIns="0" rIns="0" bIns="0" rtlCol="0" anchor="ctr">
            <a:noAutofit/>
          </a:bodyPr>
          <a:lstStyle>
            <a:lvl1pPr marL="0" indent="0">
              <a:buNone/>
              <a:defRPr lang="es-ES" sz="1319" b="0" smtClean="0">
                <a:solidFill>
                  <a:schemeClr val="tx2"/>
                </a:solidFill>
              </a:defRPr>
            </a:lvl1pPr>
            <a:lvl2pPr marL="376961" indent="0">
              <a:buNone/>
              <a:defRPr lang="es-ES" sz="2968" smtClean="0"/>
            </a:lvl2pPr>
            <a:lvl3pPr marL="1130884" indent="0">
              <a:buNone/>
              <a:defRPr lang="es-ES" sz="2968" smtClean="0"/>
            </a:lvl3pPr>
            <a:lvl4pPr marL="1790567" indent="0">
              <a:buFont typeface="Arial" panose="020B0604020202020204" pitchFamily="34" charset="0"/>
              <a:buNone/>
              <a:defRPr lang="es-ES" smtClean="0"/>
            </a:lvl4pPr>
            <a:lvl5pPr marL="2638730" indent="0">
              <a:buNone/>
              <a:defRPr lang="es-ES"/>
            </a:lvl5pPr>
          </a:lstStyle>
          <a:p>
            <a:pPr marL="0" lvl="0"/>
            <a:r>
              <a:rPr lang="es-ES" noProof="0" dirty="0"/>
              <a:t>D</a:t>
            </a:r>
            <a:r>
              <a:rPr lang="en-GB" noProof="0" dirty="0" err="1"/>
              <a:t>ocument</a:t>
            </a:r>
            <a:r>
              <a:rPr lang="en-GB" noProof="0" dirty="0"/>
              <a:t> Title</a:t>
            </a:r>
          </a:p>
        </p:txBody>
      </p:sp>
      <p:pic>
        <p:nvPicPr>
          <p:cNvPr id="8" name="Imagen 15">
            <a:extLst>
              <a:ext uri="{FF2B5EF4-FFF2-40B4-BE49-F238E27FC236}">
                <a16:creationId xmlns:a16="http://schemas.microsoft.com/office/drawing/2014/main" id="{B065F7FD-B3E1-43A0-BA90-5D534CBEF16D}"/>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8206627" y="10175274"/>
            <a:ext cx="1170610" cy="607079"/>
          </a:xfrm>
          <a:prstGeom prst="rect">
            <a:avLst/>
          </a:prstGeom>
        </p:spPr>
      </p:pic>
    </p:spTree>
    <p:extLst>
      <p:ext uri="{BB962C8B-B14F-4D97-AF65-F5344CB8AC3E}">
        <p14:creationId xmlns:p14="http://schemas.microsoft.com/office/powerpoint/2010/main" val="3885901337"/>
      </p:ext>
    </p:extLst>
  </p:cSld>
  <p:clrMapOvr>
    <a:overrideClrMapping bg1="lt1" tx1="dk1" bg2="lt2" tx2="dk2" accent1="accent1" accent2="accent2" accent3="accent3" accent4="accent4" accent5="accent5" accent6="accent6" hlink="hlink" folHlink="folHlink"/>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Contents-10 numbering-white background">
    <p:bg>
      <p:bgRef idx="1001">
        <a:schemeClr val="bg1"/>
      </p:bgRef>
    </p:bg>
    <p:spTree>
      <p:nvGrpSpPr>
        <p:cNvPr id="1" name=""/>
        <p:cNvGrpSpPr/>
        <p:nvPr/>
      </p:nvGrpSpPr>
      <p:grpSpPr>
        <a:xfrm>
          <a:off x="0" y="0"/>
          <a:ext cx="0" cy="0"/>
          <a:chOff x="0" y="0"/>
          <a:chExt cx="0" cy="0"/>
        </a:xfrm>
      </p:grpSpPr>
      <p:pic>
        <p:nvPicPr>
          <p:cNvPr id="19" name="Imagen 18">
            <a:extLst>
              <a:ext uri="{FF2B5EF4-FFF2-40B4-BE49-F238E27FC236}">
                <a16:creationId xmlns:a16="http://schemas.microsoft.com/office/drawing/2014/main" id="{CDE873E3-468F-41C9-A3D5-AE1CFF571F4A}"/>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206379" y="10190981"/>
            <a:ext cx="1167349" cy="583716"/>
          </a:xfrm>
          <a:prstGeom prst="rect">
            <a:avLst/>
          </a:prstGeom>
        </p:spPr>
      </p:pic>
      <p:sp>
        <p:nvSpPr>
          <p:cNvPr id="14" name="Marcador de texto 19">
            <a:extLst>
              <a:ext uri="{FF2B5EF4-FFF2-40B4-BE49-F238E27FC236}">
                <a16:creationId xmlns:a16="http://schemas.microsoft.com/office/drawing/2014/main" id="{F0A5F956-78D9-483E-8513-18F922BFD069}"/>
              </a:ext>
            </a:extLst>
          </p:cNvPr>
          <p:cNvSpPr>
            <a:spLocks noGrp="1"/>
          </p:cNvSpPr>
          <p:nvPr>
            <p:ph type="body" sz="quarter" idx="10" hasCustomPrompt="1"/>
          </p:nvPr>
        </p:nvSpPr>
        <p:spPr>
          <a:xfrm>
            <a:off x="17185412" y="389504"/>
            <a:ext cx="2985439" cy="250572"/>
          </a:xfrm>
          <a:noFill/>
        </p:spPr>
        <p:txBody>
          <a:bodyPr wrap="square" lIns="0" tIns="0" rIns="0" bIns="0" rtlCol="0" anchor="ctr">
            <a:noAutofit/>
          </a:bodyPr>
          <a:lstStyle>
            <a:lvl1pPr marL="0" indent="0">
              <a:buNone/>
              <a:defRPr lang="es-ES" sz="1319" b="0" smtClean="0">
                <a:solidFill>
                  <a:schemeClr val="tx2"/>
                </a:solidFill>
              </a:defRPr>
            </a:lvl1pPr>
            <a:lvl2pPr marL="376961" indent="0">
              <a:buNone/>
              <a:defRPr lang="es-ES" sz="2968" smtClean="0"/>
            </a:lvl2pPr>
            <a:lvl3pPr marL="1130884" indent="0">
              <a:buNone/>
              <a:defRPr lang="es-ES" sz="2968" smtClean="0"/>
            </a:lvl3pPr>
            <a:lvl4pPr marL="1790567" indent="0">
              <a:buFont typeface="Arial" panose="020B0604020202020204" pitchFamily="34" charset="0"/>
              <a:buNone/>
              <a:defRPr lang="es-ES" smtClean="0"/>
            </a:lvl4pPr>
            <a:lvl5pPr marL="2638730" indent="0">
              <a:buNone/>
              <a:defRPr lang="es-ES"/>
            </a:lvl5pPr>
          </a:lstStyle>
          <a:p>
            <a:pPr marL="0" lvl="0"/>
            <a:r>
              <a:rPr lang="es-ES" noProof="0" dirty="0"/>
              <a:t>D</a:t>
            </a:r>
            <a:r>
              <a:rPr lang="en-GB" noProof="0" dirty="0" err="1"/>
              <a:t>ocument</a:t>
            </a:r>
            <a:r>
              <a:rPr lang="en-GB" noProof="0" dirty="0"/>
              <a:t> Title</a:t>
            </a:r>
          </a:p>
        </p:txBody>
      </p:sp>
      <p:pic>
        <p:nvPicPr>
          <p:cNvPr id="8" name="Imagen 15">
            <a:extLst>
              <a:ext uri="{FF2B5EF4-FFF2-40B4-BE49-F238E27FC236}">
                <a16:creationId xmlns:a16="http://schemas.microsoft.com/office/drawing/2014/main" id="{B065F7FD-B3E1-43A0-BA90-5D534CBEF16D}"/>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8206627" y="10175274"/>
            <a:ext cx="1170610" cy="607079"/>
          </a:xfrm>
          <a:prstGeom prst="rect">
            <a:avLst/>
          </a:prstGeom>
        </p:spPr>
      </p:pic>
      <p:sp>
        <p:nvSpPr>
          <p:cNvPr id="6" name="Text Placeholder 5">
            <a:extLst>
              <a:ext uri="{FF2B5EF4-FFF2-40B4-BE49-F238E27FC236}">
                <a16:creationId xmlns:a16="http://schemas.microsoft.com/office/drawing/2014/main" id="{96451491-55DA-494C-AE67-A7AA6F9EE7DA}"/>
              </a:ext>
            </a:extLst>
          </p:cNvPr>
          <p:cNvSpPr>
            <a:spLocks noGrp="1"/>
          </p:cNvSpPr>
          <p:nvPr>
            <p:ph type="body" sz="quarter" idx="11" hasCustomPrompt="1"/>
          </p:nvPr>
        </p:nvSpPr>
        <p:spPr>
          <a:xfrm>
            <a:off x="615165" y="3036771"/>
            <a:ext cx="1591576" cy="1055017"/>
          </a:xfrm>
        </p:spPr>
        <p:txBody>
          <a:bodyPr>
            <a:noAutofit/>
          </a:bodyPr>
          <a:lstStyle>
            <a:lvl1pPr marL="0" indent="0">
              <a:buNone/>
              <a:defRPr sz="7915">
                <a:solidFill>
                  <a:schemeClr val="tx2"/>
                </a:solidFill>
              </a:defRPr>
            </a:lvl1pPr>
            <a:lvl2pPr marL="753923" indent="0">
              <a:buNone/>
              <a:defRPr/>
            </a:lvl2pPr>
            <a:lvl3pPr marL="1507846" indent="0">
              <a:buNone/>
              <a:defRPr/>
            </a:lvl3pPr>
            <a:lvl4pPr marL="2261768" indent="0">
              <a:buNone/>
              <a:defRPr/>
            </a:lvl4pPr>
            <a:lvl5pPr marL="3015691" indent="0">
              <a:buNone/>
              <a:defRPr/>
            </a:lvl5pPr>
          </a:lstStyle>
          <a:p>
            <a:pPr lvl="0"/>
            <a:r>
              <a:rPr lang="en-GB" noProof="0"/>
              <a:t>Nº</a:t>
            </a:r>
          </a:p>
        </p:txBody>
      </p:sp>
      <p:sp>
        <p:nvSpPr>
          <p:cNvPr id="10" name="Text Placeholder 9">
            <a:extLst>
              <a:ext uri="{FF2B5EF4-FFF2-40B4-BE49-F238E27FC236}">
                <a16:creationId xmlns:a16="http://schemas.microsoft.com/office/drawing/2014/main" id="{ECD08C52-C62A-483D-AEB9-8ECE7A332507}"/>
              </a:ext>
            </a:extLst>
          </p:cNvPr>
          <p:cNvSpPr>
            <a:spLocks noGrp="1"/>
          </p:cNvSpPr>
          <p:nvPr>
            <p:ph type="body" sz="quarter" idx="12" hasCustomPrompt="1"/>
          </p:nvPr>
        </p:nvSpPr>
        <p:spPr>
          <a:xfrm>
            <a:off x="615164" y="4186033"/>
            <a:ext cx="3287858" cy="356200"/>
          </a:xfrm>
        </p:spPr>
        <p:txBody>
          <a:bodyPr>
            <a:normAutofit/>
          </a:bodyPr>
          <a:lstStyle>
            <a:lvl1pPr marL="0" indent="0" algn="l">
              <a:buFont typeface="Arial" panose="020B0604020202020204" pitchFamily="34" charset="0"/>
              <a:buNone/>
              <a:defRPr sz="1731" b="1"/>
            </a:lvl1pPr>
          </a:lstStyle>
          <a:p>
            <a:pPr lvl="0"/>
            <a:r>
              <a:rPr lang="en-GB" noProof="0"/>
              <a:t>TITLE</a:t>
            </a:r>
          </a:p>
        </p:txBody>
      </p:sp>
      <p:sp>
        <p:nvSpPr>
          <p:cNvPr id="13" name="Text Placeholder 9">
            <a:extLst>
              <a:ext uri="{FF2B5EF4-FFF2-40B4-BE49-F238E27FC236}">
                <a16:creationId xmlns:a16="http://schemas.microsoft.com/office/drawing/2014/main" id="{75D0857F-ADC8-4CFD-8864-141069A38FC9}"/>
              </a:ext>
            </a:extLst>
          </p:cNvPr>
          <p:cNvSpPr>
            <a:spLocks noGrp="1"/>
          </p:cNvSpPr>
          <p:nvPr>
            <p:ph type="body" sz="quarter" idx="13" hasCustomPrompt="1"/>
          </p:nvPr>
        </p:nvSpPr>
        <p:spPr>
          <a:xfrm>
            <a:off x="615164" y="4610123"/>
            <a:ext cx="3287858" cy="1602900"/>
          </a:xfrm>
        </p:spPr>
        <p:txBody>
          <a:bodyPr>
            <a:normAutofit/>
          </a:bodyPr>
          <a:lstStyle>
            <a:lvl1pPr marL="0" indent="0">
              <a:buNone/>
              <a:defRPr sz="1649" b="0"/>
            </a:lvl1pPr>
          </a:lstStyle>
          <a:p>
            <a:pPr lvl="0"/>
            <a:r>
              <a:rPr lang="en-GB" noProof="0"/>
              <a:t>Lorem</a:t>
            </a:r>
          </a:p>
        </p:txBody>
      </p:sp>
      <p:sp>
        <p:nvSpPr>
          <p:cNvPr id="15" name="Text Placeholder 5">
            <a:extLst>
              <a:ext uri="{FF2B5EF4-FFF2-40B4-BE49-F238E27FC236}">
                <a16:creationId xmlns:a16="http://schemas.microsoft.com/office/drawing/2014/main" id="{EA47D272-5350-465D-812F-44D6935CF029}"/>
              </a:ext>
            </a:extLst>
          </p:cNvPr>
          <p:cNvSpPr>
            <a:spLocks noGrp="1"/>
          </p:cNvSpPr>
          <p:nvPr>
            <p:ph type="body" sz="quarter" idx="14" hasCustomPrompt="1"/>
          </p:nvPr>
        </p:nvSpPr>
        <p:spPr>
          <a:xfrm>
            <a:off x="4409814" y="3036771"/>
            <a:ext cx="1591576" cy="1055017"/>
          </a:xfrm>
        </p:spPr>
        <p:txBody>
          <a:bodyPr>
            <a:noAutofit/>
          </a:bodyPr>
          <a:lstStyle>
            <a:lvl1pPr marL="0" indent="0">
              <a:buNone/>
              <a:defRPr sz="7915">
                <a:solidFill>
                  <a:schemeClr val="tx2"/>
                </a:solidFill>
              </a:defRPr>
            </a:lvl1pPr>
            <a:lvl2pPr marL="753923" indent="0">
              <a:buNone/>
              <a:defRPr/>
            </a:lvl2pPr>
            <a:lvl3pPr marL="1507846" indent="0">
              <a:buNone/>
              <a:defRPr/>
            </a:lvl3pPr>
            <a:lvl4pPr marL="2261768" indent="0">
              <a:buNone/>
              <a:defRPr/>
            </a:lvl4pPr>
            <a:lvl5pPr marL="3015691" indent="0">
              <a:buNone/>
              <a:defRPr/>
            </a:lvl5pPr>
          </a:lstStyle>
          <a:p>
            <a:pPr lvl="0"/>
            <a:r>
              <a:rPr lang="en-GB" noProof="0"/>
              <a:t>Nº</a:t>
            </a:r>
          </a:p>
        </p:txBody>
      </p:sp>
      <p:sp>
        <p:nvSpPr>
          <p:cNvPr id="16" name="Text Placeholder 9">
            <a:extLst>
              <a:ext uri="{FF2B5EF4-FFF2-40B4-BE49-F238E27FC236}">
                <a16:creationId xmlns:a16="http://schemas.microsoft.com/office/drawing/2014/main" id="{A74D1E6A-C29F-40C3-A21F-64983EE009B5}"/>
              </a:ext>
            </a:extLst>
          </p:cNvPr>
          <p:cNvSpPr>
            <a:spLocks noGrp="1"/>
          </p:cNvSpPr>
          <p:nvPr>
            <p:ph type="body" sz="quarter" idx="15" hasCustomPrompt="1"/>
          </p:nvPr>
        </p:nvSpPr>
        <p:spPr>
          <a:xfrm>
            <a:off x="4409813" y="4186033"/>
            <a:ext cx="3287858" cy="356200"/>
          </a:xfrm>
        </p:spPr>
        <p:txBody>
          <a:bodyPr>
            <a:normAutofit/>
          </a:bodyPr>
          <a:lstStyle>
            <a:lvl1pPr marL="0" indent="0" algn="l">
              <a:buNone/>
              <a:defRPr sz="1731" b="1"/>
            </a:lvl1pPr>
          </a:lstStyle>
          <a:p>
            <a:pPr lvl="0"/>
            <a:r>
              <a:rPr lang="en-GB" noProof="0"/>
              <a:t>TITLE</a:t>
            </a:r>
          </a:p>
        </p:txBody>
      </p:sp>
      <p:sp>
        <p:nvSpPr>
          <p:cNvPr id="17" name="Text Placeholder 9">
            <a:extLst>
              <a:ext uri="{FF2B5EF4-FFF2-40B4-BE49-F238E27FC236}">
                <a16:creationId xmlns:a16="http://schemas.microsoft.com/office/drawing/2014/main" id="{CB5F5ED8-32CC-43AE-95F2-320422A4B6F2}"/>
              </a:ext>
            </a:extLst>
          </p:cNvPr>
          <p:cNvSpPr>
            <a:spLocks noGrp="1"/>
          </p:cNvSpPr>
          <p:nvPr>
            <p:ph type="body" sz="quarter" idx="16" hasCustomPrompt="1"/>
          </p:nvPr>
        </p:nvSpPr>
        <p:spPr>
          <a:xfrm>
            <a:off x="4409813" y="4610123"/>
            <a:ext cx="3287858" cy="1602900"/>
          </a:xfrm>
        </p:spPr>
        <p:txBody>
          <a:bodyPr>
            <a:normAutofit/>
          </a:bodyPr>
          <a:lstStyle>
            <a:lvl1pPr marL="0" indent="0">
              <a:buNone/>
              <a:defRPr sz="1649" b="0"/>
            </a:lvl1pPr>
          </a:lstStyle>
          <a:p>
            <a:pPr lvl="0"/>
            <a:r>
              <a:rPr lang="en-GB" noProof="0"/>
              <a:t>Lorem</a:t>
            </a:r>
          </a:p>
        </p:txBody>
      </p:sp>
      <p:sp>
        <p:nvSpPr>
          <p:cNvPr id="18" name="Text Placeholder 5">
            <a:extLst>
              <a:ext uri="{FF2B5EF4-FFF2-40B4-BE49-F238E27FC236}">
                <a16:creationId xmlns:a16="http://schemas.microsoft.com/office/drawing/2014/main" id="{25A3565A-C592-4597-8606-88B88195191D}"/>
              </a:ext>
            </a:extLst>
          </p:cNvPr>
          <p:cNvSpPr>
            <a:spLocks noGrp="1"/>
          </p:cNvSpPr>
          <p:nvPr>
            <p:ph type="body" sz="quarter" idx="17" hasCustomPrompt="1"/>
          </p:nvPr>
        </p:nvSpPr>
        <p:spPr>
          <a:xfrm>
            <a:off x="8166767" y="3036771"/>
            <a:ext cx="1591576" cy="1055017"/>
          </a:xfrm>
        </p:spPr>
        <p:txBody>
          <a:bodyPr>
            <a:noAutofit/>
          </a:bodyPr>
          <a:lstStyle>
            <a:lvl1pPr marL="0" indent="0">
              <a:buNone/>
              <a:defRPr sz="7915">
                <a:solidFill>
                  <a:schemeClr val="tx2"/>
                </a:solidFill>
              </a:defRPr>
            </a:lvl1pPr>
            <a:lvl2pPr marL="753923" indent="0">
              <a:buNone/>
              <a:defRPr/>
            </a:lvl2pPr>
            <a:lvl3pPr marL="1507846" indent="0">
              <a:buNone/>
              <a:defRPr/>
            </a:lvl3pPr>
            <a:lvl4pPr marL="2261768" indent="0">
              <a:buNone/>
              <a:defRPr/>
            </a:lvl4pPr>
            <a:lvl5pPr marL="3015691" indent="0">
              <a:buNone/>
              <a:defRPr/>
            </a:lvl5pPr>
          </a:lstStyle>
          <a:p>
            <a:pPr lvl="0"/>
            <a:r>
              <a:rPr lang="en-GB" noProof="0"/>
              <a:t>Nº</a:t>
            </a:r>
          </a:p>
        </p:txBody>
      </p:sp>
      <p:sp>
        <p:nvSpPr>
          <p:cNvPr id="20" name="Text Placeholder 9">
            <a:extLst>
              <a:ext uri="{FF2B5EF4-FFF2-40B4-BE49-F238E27FC236}">
                <a16:creationId xmlns:a16="http://schemas.microsoft.com/office/drawing/2014/main" id="{E8ABFFFD-3581-4836-8C68-837FF6D9DD00}"/>
              </a:ext>
            </a:extLst>
          </p:cNvPr>
          <p:cNvSpPr>
            <a:spLocks noGrp="1"/>
          </p:cNvSpPr>
          <p:nvPr>
            <p:ph type="body" sz="quarter" idx="18" hasCustomPrompt="1"/>
          </p:nvPr>
        </p:nvSpPr>
        <p:spPr>
          <a:xfrm>
            <a:off x="8166766" y="4186033"/>
            <a:ext cx="3287858" cy="356200"/>
          </a:xfrm>
        </p:spPr>
        <p:txBody>
          <a:bodyPr>
            <a:normAutofit/>
          </a:bodyPr>
          <a:lstStyle>
            <a:lvl1pPr marL="0" indent="0" algn="l">
              <a:buNone/>
              <a:defRPr sz="1731" b="1"/>
            </a:lvl1pPr>
          </a:lstStyle>
          <a:p>
            <a:pPr lvl="0"/>
            <a:r>
              <a:rPr lang="en-GB" noProof="0"/>
              <a:t>TITLE</a:t>
            </a:r>
          </a:p>
        </p:txBody>
      </p:sp>
      <p:sp>
        <p:nvSpPr>
          <p:cNvPr id="21" name="Text Placeholder 9">
            <a:extLst>
              <a:ext uri="{FF2B5EF4-FFF2-40B4-BE49-F238E27FC236}">
                <a16:creationId xmlns:a16="http://schemas.microsoft.com/office/drawing/2014/main" id="{F1ECF6A5-EB6E-4BB8-871F-744ED5F47273}"/>
              </a:ext>
            </a:extLst>
          </p:cNvPr>
          <p:cNvSpPr>
            <a:spLocks noGrp="1"/>
          </p:cNvSpPr>
          <p:nvPr>
            <p:ph type="body" sz="quarter" idx="19" hasCustomPrompt="1"/>
          </p:nvPr>
        </p:nvSpPr>
        <p:spPr>
          <a:xfrm>
            <a:off x="8166766" y="4610123"/>
            <a:ext cx="3287858" cy="1602900"/>
          </a:xfrm>
        </p:spPr>
        <p:txBody>
          <a:bodyPr>
            <a:normAutofit/>
          </a:bodyPr>
          <a:lstStyle>
            <a:lvl1pPr marL="0" indent="0">
              <a:buNone/>
              <a:defRPr sz="1649" b="0"/>
            </a:lvl1pPr>
          </a:lstStyle>
          <a:p>
            <a:pPr lvl="0"/>
            <a:r>
              <a:rPr lang="en-GB" noProof="0"/>
              <a:t>Lorem</a:t>
            </a:r>
          </a:p>
        </p:txBody>
      </p:sp>
      <p:sp>
        <p:nvSpPr>
          <p:cNvPr id="22" name="Text Placeholder 5">
            <a:extLst>
              <a:ext uri="{FF2B5EF4-FFF2-40B4-BE49-F238E27FC236}">
                <a16:creationId xmlns:a16="http://schemas.microsoft.com/office/drawing/2014/main" id="{D14F4ACA-C450-4930-99A8-2FB7AB8A3E87}"/>
              </a:ext>
            </a:extLst>
          </p:cNvPr>
          <p:cNvSpPr>
            <a:spLocks noGrp="1"/>
          </p:cNvSpPr>
          <p:nvPr>
            <p:ph type="body" sz="quarter" idx="20" hasCustomPrompt="1"/>
          </p:nvPr>
        </p:nvSpPr>
        <p:spPr>
          <a:xfrm>
            <a:off x="11961416" y="3036771"/>
            <a:ext cx="1591576" cy="1055017"/>
          </a:xfrm>
        </p:spPr>
        <p:txBody>
          <a:bodyPr>
            <a:noAutofit/>
          </a:bodyPr>
          <a:lstStyle>
            <a:lvl1pPr marL="0" indent="0">
              <a:buNone/>
              <a:defRPr sz="7915">
                <a:solidFill>
                  <a:schemeClr val="tx2"/>
                </a:solidFill>
              </a:defRPr>
            </a:lvl1pPr>
            <a:lvl2pPr marL="753923" indent="0">
              <a:buNone/>
              <a:defRPr/>
            </a:lvl2pPr>
            <a:lvl3pPr marL="1507846" indent="0">
              <a:buNone/>
              <a:defRPr/>
            </a:lvl3pPr>
            <a:lvl4pPr marL="2261768" indent="0">
              <a:buNone/>
              <a:defRPr/>
            </a:lvl4pPr>
            <a:lvl5pPr marL="3015691" indent="0">
              <a:buNone/>
              <a:defRPr/>
            </a:lvl5pPr>
          </a:lstStyle>
          <a:p>
            <a:pPr lvl="0"/>
            <a:r>
              <a:rPr lang="en-GB" noProof="0"/>
              <a:t>Nº</a:t>
            </a:r>
          </a:p>
        </p:txBody>
      </p:sp>
      <p:sp>
        <p:nvSpPr>
          <p:cNvPr id="23" name="Text Placeholder 9">
            <a:extLst>
              <a:ext uri="{FF2B5EF4-FFF2-40B4-BE49-F238E27FC236}">
                <a16:creationId xmlns:a16="http://schemas.microsoft.com/office/drawing/2014/main" id="{452EFDD8-F731-4DE7-9CB9-F51D16D142E9}"/>
              </a:ext>
            </a:extLst>
          </p:cNvPr>
          <p:cNvSpPr>
            <a:spLocks noGrp="1"/>
          </p:cNvSpPr>
          <p:nvPr>
            <p:ph type="body" sz="quarter" idx="21" hasCustomPrompt="1"/>
          </p:nvPr>
        </p:nvSpPr>
        <p:spPr>
          <a:xfrm>
            <a:off x="11961415" y="4186033"/>
            <a:ext cx="3287858" cy="356200"/>
          </a:xfrm>
        </p:spPr>
        <p:txBody>
          <a:bodyPr>
            <a:normAutofit/>
          </a:bodyPr>
          <a:lstStyle>
            <a:lvl1pPr marL="0" indent="0" algn="l">
              <a:buNone/>
              <a:defRPr sz="1731" b="1"/>
            </a:lvl1pPr>
          </a:lstStyle>
          <a:p>
            <a:pPr lvl="0"/>
            <a:r>
              <a:rPr lang="en-GB" noProof="0"/>
              <a:t>TITLE</a:t>
            </a:r>
          </a:p>
        </p:txBody>
      </p:sp>
      <p:sp>
        <p:nvSpPr>
          <p:cNvPr id="24" name="Text Placeholder 9">
            <a:extLst>
              <a:ext uri="{FF2B5EF4-FFF2-40B4-BE49-F238E27FC236}">
                <a16:creationId xmlns:a16="http://schemas.microsoft.com/office/drawing/2014/main" id="{DC8EA6EF-76A1-4606-8285-B29DC6370529}"/>
              </a:ext>
            </a:extLst>
          </p:cNvPr>
          <p:cNvSpPr>
            <a:spLocks noGrp="1"/>
          </p:cNvSpPr>
          <p:nvPr>
            <p:ph type="body" sz="quarter" idx="22" hasCustomPrompt="1"/>
          </p:nvPr>
        </p:nvSpPr>
        <p:spPr>
          <a:xfrm>
            <a:off x="11961415" y="4610123"/>
            <a:ext cx="3287858" cy="1602900"/>
          </a:xfrm>
        </p:spPr>
        <p:txBody>
          <a:bodyPr>
            <a:normAutofit/>
          </a:bodyPr>
          <a:lstStyle>
            <a:lvl1pPr marL="0" indent="0">
              <a:buNone/>
              <a:defRPr sz="1649" b="0"/>
            </a:lvl1pPr>
          </a:lstStyle>
          <a:p>
            <a:pPr lvl="0"/>
            <a:r>
              <a:rPr lang="en-GB" noProof="0"/>
              <a:t>Lorem</a:t>
            </a:r>
          </a:p>
        </p:txBody>
      </p:sp>
      <p:sp>
        <p:nvSpPr>
          <p:cNvPr id="26" name="Text Placeholder 5">
            <a:extLst>
              <a:ext uri="{FF2B5EF4-FFF2-40B4-BE49-F238E27FC236}">
                <a16:creationId xmlns:a16="http://schemas.microsoft.com/office/drawing/2014/main" id="{4029AB7C-C9FD-4FF0-8840-1E9FEB163290}"/>
              </a:ext>
            </a:extLst>
          </p:cNvPr>
          <p:cNvSpPr>
            <a:spLocks noGrp="1"/>
          </p:cNvSpPr>
          <p:nvPr>
            <p:ph type="body" sz="quarter" idx="23" hasCustomPrompt="1"/>
          </p:nvPr>
        </p:nvSpPr>
        <p:spPr>
          <a:xfrm>
            <a:off x="15864438" y="3036771"/>
            <a:ext cx="1591576" cy="1055017"/>
          </a:xfrm>
        </p:spPr>
        <p:txBody>
          <a:bodyPr>
            <a:noAutofit/>
          </a:bodyPr>
          <a:lstStyle>
            <a:lvl1pPr marL="0" indent="0">
              <a:buNone/>
              <a:defRPr sz="7915">
                <a:solidFill>
                  <a:schemeClr val="tx2"/>
                </a:solidFill>
              </a:defRPr>
            </a:lvl1pPr>
            <a:lvl2pPr marL="753923" indent="0">
              <a:buNone/>
              <a:defRPr/>
            </a:lvl2pPr>
            <a:lvl3pPr marL="1507846" indent="0">
              <a:buNone/>
              <a:defRPr/>
            </a:lvl3pPr>
            <a:lvl4pPr marL="2261768" indent="0">
              <a:buNone/>
              <a:defRPr/>
            </a:lvl4pPr>
            <a:lvl5pPr marL="3015691" indent="0">
              <a:buNone/>
              <a:defRPr/>
            </a:lvl5pPr>
          </a:lstStyle>
          <a:p>
            <a:pPr lvl="0"/>
            <a:r>
              <a:rPr lang="en-GB" noProof="0"/>
              <a:t>Nº</a:t>
            </a:r>
          </a:p>
        </p:txBody>
      </p:sp>
      <p:sp>
        <p:nvSpPr>
          <p:cNvPr id="27" name="Text Placeholder 9">
            <a:extLst>
              <a:ext uri="{FF2B5EF4-FFF2-40B4-BE49-F238E27FC236}">
                <a16:creationId xmlns:a16="http://schemas.microsoft.com/office/drawing/2014/main" id="{2B7D9975-B0DF-400E-9270-5AE6A16D39B9}"/>
              </a:ext>
            </a:extLst>
          </p:cNvPr>
          <p:cNvSpPr>
            <a:spLocks noGrp="1"/>
          </p:cNvSpPr>
          <p:nvPr>
            <p:ph type="body" sz="quarter" idx="24" hasCustomPrompt="1"/>
          </p:nvPr>
        </p:nvSpPr>
        <p:spPr>
          <a:xfrm>
            <a:off x="15864437" y="4186033"/>
            <a:ext cx="3287858" cy="356200"/>
          </a:xfrm>
        </p:spPr>
        <p:txBody>
          <a:bodyPr>
            <a:normAutofit/>
          </a:bodyPr>
          <a:lstStyle>
            <a:lvl1pPr marL="0" indent="0" algn="l">
              <a:buNone/>
              <a:defRPr sz="1731" b="1"/>
            </a:lvl1pPr>
          </a:lstStyle>
          <a:p>
            <a:pPr lvl="0"/>
            <a:r>
              <a:rPr lang="en-GB" noProof="0"/>
              <a:t>TITLE</a:t>
            </a:r>
          </a:p>
        </p:txBody>
      </p:sp>
      <p:sp>
        <p:nvSpPr>
          <p:cNvPr id="28" name="Text Placeholder 9">
            <a:extLst>
              <a:ext uri="{FF2B5EF4-FFF2-40B4-BE49-F238E27FC236}">
                <a16:creationId xmlns:a16="http://schemas.microsoft.com/office/drawing/2014/main" id="{6044989C-0A51-44C3-8048-FBC92AD92945}"/>
              </a:ext>
            </a:extLst>
          </p:cNvPr>
          <p:cNvSpPr>
            <a:spLocks noGrp="1"/>
          </p:cNvSpPr>
          <p:nvPr>
            <p:ph type="body" sz="quarter" idx="25" hasCustomPrompt="1"/>
          </p:nvPr>
        </p:nvSpPr>
        <p:spPr>
          <a:xfrm>
            <a:off x="15864437" y="4610123"/>
            <a:ext cx="3287858" cy="1602900"/>
          </a:xfrm>
        </p:spPr>
        <p:txBody>
          <a:bodyPr>
            <a:normAutofit/>
          </a:bodyPr>
          <a:lstStyle>
            <a:lvl1pPr marL="0" indent="0">
              <a:buNone/>
              <a:defRPr sz="1649" b="0"/>
            </a:lvl1pPr>
          </a:lstStyle>
          <a:p>
            <a:pPr lvl="0"/>
            <a:r>
              <a:rPr lang="en-GB" noProof="0"/>
              <a:t>Lorem</a:t>
            </a:r>
          </a:p>
        </p:txBody>
      </p:sp>
      <p:sp>
        <p:nvSpPr>
          <p:cNvPr id="29" name="Text Placeholder 5">
            <a:extLst>
              <a:ext uri="{FF2B5EF4-FFF2-40B4-BE49-F238E27FC236}">
                <a16:creationId xmlns:a16="http://schemas.microsoft.com/office/drawing/2014/main" id="{EBEE3F2E-37F1-4BCA-9F54-FFD13786F096}"/>
              </a:ext>
            </a:extLst>
          </p:cNvPr>
          <p:cNvSpPr>
            <a:spLocks noGrp="1"/>
          </p:cNvSpPr>
          <p:nvPr>
            <p:ph type="body" sz="quarter" idx="26" hasCustomPrompt="1"/>
          </p:nvPr>
        </p:nvSpPr>
        <p:spPr>
          <a:xfrm>
            <a:off x="615165" y="6640560"/>
            <a:ext cx="1591576" cy="1055017"/>
          </a:xfrm>
        </p:spPr>
        <p:txBody>
          <a:bodyPr>
            <a:noAutofit/>
          </a:bodyPr>
          <a:lstStyle>
            <a:lvl1pPr marL="0" indent="0">
              <a:buNone/>
              <a:defRPr sz="7915">
                <a:solidFill>
                  <a:schemeClr val="tx2"/>
                </a:solidFill>
              </a:defRPr>
            </a:lvl1pPr>
            <a:lvl2pPr marL="753923" indent="0">
              <a:buNone/>
              <a:defRPr/>
            </a:lvl2pPr>
            <a:lvl3pPr marL="1507846" indent="0">
              <a:buNone/>
              <a:defRPr/>
            </a:lvl3pPr>
            <a:lvl4pPr marL="2261768" indent="0">
              <a:buNone/>
              <a:defRPr/>
            </a:lvl4pPr>
            <a:lvl5pPr marL="3015691" indent="0">
              <a:buNone/>
              <a:defRPr/>
            </a:lvl5pPr>
          </a:lstStyle>
          <a:p>
            <a:pPr lvl="0"/>
            <a:r>
              <a:rPr lang="en-GB" noProof="0"/>
              <a:t>Nº</a:t>
            </a:r>
          </a:p>
        </p:txBody>
      </p:sp>
      <p:sp>
        <p:nvSpPr>
          <p:cNvPr id="30" name="Text Placeholder 9">
            <a:extLst>
              <a:ext uri="{FF2B5EF4-FFF2-40B4-BE49-F238E27FC236}">
                <a16:creationId xmlns:a16="http://schemas.microsoft.com/office/drawing/2014/main" id="{81DEBFA4-5978-4578-8F0C-7C39ED73E2A1}"/>
              </a:ext>
            </a:extLst>
          </p:cNvPr>
          <p:cNvSpPr>
            <a:spLocks noGrp="1"/>
          </p:cNvSpPr>
          <p:nvPr>
            <p:ph type="body" sz="quarter" idx="27" hasCustomPrompt="1"/>
          </p:nvPr>
        </p:nvSpPr>
        <p:spPr>
          <a:xfrm>
            <a:off x="615164" y="7789822"/>
            <a:ext cx="3287858" cy="356200"/>
          </a:xfrm>
        </p:spPr>
        <p:txBody>
          <a:bodyPr>
            <a:normAutofit/>
          </a:bodyPr>
          <a:lstStyle>
            <a:lvl1pPr marL="0" indent="0" algn="l">
              <a:buNone/>
              <a:defRPr sz="1731" b="1"/>
            </a:lvl1pPr>
          </a:lstStyle>
          <a:p>
            <a:pPr lvl="0"/>
            <a:r>
              <a:rPr lang="en-GB" noProof="0"/>
              <a:t>TITLE</a:t>
            </a:r>
          </a:p>
        </p:txBody>
      </p:sp>
      <p:sp>
        <p:nvSpPr>
          <p:cNvPr id="31" name="Text Placeholder 9">
            <a:extLst>
              <a:ext uri="{FF2B5EF4-FFF2-40B4-BE49-F238E27FC236}">
                <a16:creationId xmlns:a16="http://schemas.microsoft.com/office/drawing/2014/main" id="{3281B3E2-E048-4F9F-96F2-EB4AC60190AA}"/>
              </a:ext>
            </a:extLst>
          </p:cNvPr>
          <p:cNvSpPr>
            <a:spLocks noGrp="1"/>
          </p:cNvSpPr>
          <p:nvPr>
            <p:ph type="body" sz="quarter" idx="28" hasCustomPrompt="1"/>
          </p:nvPr>
        </p:nvSpPr>
        <p:spPr>
          <a:xfrm>
            <a:off x="615164" y="8213913"/>
            <a:ext cx="3287858" cy="1602900"/>
          </a:xfrm>
        </p:spPr>
        <p:txBody>
          <a:bodyPr>
            <a:normAutofit/>
          </a:bodyPr>
          <a:lstStyle>
            <a:lvl1pPr marL="0" indent="0">
              <a:buNone/>
              <a:defRPr sz="1649" b="0"/>
            </a:lvl1pPr>
          </a:lstStyle>
          <a:p>
            <a:pPr lvl="0"/>
            <a:r>
              <a:rPr lang="en-GB" noProof="0"/>
              <a:t>Lorem</a:t>
            </a:r>
          </a:p>
        </p:txBody>
      </p:sp>
      <p:sp>
        <p:nvSpPr>
          <p:cNvPr id="32" name="Text Placeholder 5">
            <a:extLst>
              <a:ext uri="{FF2B5EF4-FFF2-40B4-BE49-F238E27FC236}">
                <a16:creationId xmlns:a16="http://schemas.microsoft.com/office/drawing/2014/main" id="{E89F656C-88AB-46B0-92BA-1E0F98BA0B30}"/>
              </a:ext>
            </a:extLst>
          </p:cNvPr>
          <p:cNvSpPr>
            <a:spLocks noGrp="1"/>
          </p:cNvSpPr>
          <p:nvPr>
            <p:ph type="body" sz="quarter" idx="29" hasCustomPrompt="1"/>
          </p:nvPr>
        </p:nvSpPr>
        <p:spPr>
          <a:xfrm>
            <a:off x="4409814" y="6640560"/>
            <a:ext cx="1591576" cy="1055017"/>
          </a:xfrm>
        </p:spPr>
        <p:txBody>
          <a:bodyPr>
            <a:noAutofit/>
          </a:bodyPr>
          <a:lstStyle>
            <a:lvl1pPr marL="0" indent="0">
              <a:buNone/>
              <a:defRPr sz="7915">
                <a:solidFill>
                  <a:schemeClr val="tx2"/>
                </a:solidFill>
              </a:defRPr>
            </a:lvl1pPr>
            <a:lvl2pPr marL="753923" indent="0">
              <a:buNone/>
              <a:defRPr/>
            </a:lvl2pPr>
            <a:lvl3pPr marL="1507846" indent="0">
              <a:buNone/>
              <a:defRPr/>
            </a:lvl3pPr>
            <a:lvl4pPr marL="2261768" indent="0">
              <a:buNone/>
              <a:defRPr/>
            </a:lvl4pPr>
            <a:lvl5pPr marL="3015691" indent="0">
              <a:buNone/>
              <a:defRPr/>
            </a:lvl5pPr>
          </a:lstStyle>
          <a:p>
            <a:pPr lvl="0"/>
            <a:r>
              <a:rPr lang="en-GB" noProof="0"/>
              <a:t>Nº</a:t>
            </a:r>
          </a:p>
        </p:txBody>
      </p:sp>
      <p:sp>
        <p:nvSpPr>
          <p:cNvPr id="33" name="Text Placeholder 9">
            <a:extLst>
              <a:ext uri="{FF2B5EF4-FFF2-40B4-BE49-F238E27FC236}">
                <a16:creationId xmlns:a16="http://schemas.microsoft.com/office/drawing/2014/main" id="{BEC4AD53-A8EE-4A8B-A8A9-AF7C00B8DF7C}"/>
              </a:ext>
            </a:extLst>
          </p:cNvPr>
          <p:cNvSpPr>
            <a:spLocks noGrp="1"/>
          </p:cNvSpPr>
          <p:nvPr>
            <p:ph type="body" sz="quarter" idx="30" hasCustomPrompt="1"/>
          </p:nvPr>
        </p:nvSpPr>
        <p:spPr>
          <a:xfrm>
            <a:off x="4409813" y="7789822"/>
            <a:ext cx="3287858" cy="356200"/>
          </a:xfrm>
        </p:spPr>
        <p:txBody>
          <a:bodyPr>
            <a:normAutofit/>
          </a:bodyPr>
          <a:lstStyle>
            <a:lvl1pPr marL="0" indent="0" algn="l">
              <a:buNone/>
              <a:defRPr sz="1731" b="1"/>
            </a:lvl1pPr>
          </a:lstStyle>
          <a:p>
            <a:pPr lvl="0"/>
            <a:r>
              <a:rPr lang="en-GB" noProof="0"/>
              <a:t>TITLE</a:t>
            </a:r>
          </a:p>
        </p:txBody>
      </p:sp>
      <p:sp>
        <p:nvSpPr>
          <p:cNvPr id="34" name="Text Placeholder 9">
            <a:extLst>
              <a:ext uri="{FF2B5EF4-FFF2-40B4-BE49-F238E27FC236}">
                <a16:creationId xmlns:a16="http://schemas.microsoft.com/office/drawing/2014/main" id="{5A282DFE-7C74-46C9-8D2C-83D7184D6220}"/>
              </a:ext>
            </a:extLst>
          </p:cNvPr>
          <p:cNvSpPr>
            <a:spLocks noGrp="1"/>
          </p:cNvSpPr>
          <p:nvPr>
            <p:ph type="body" sz="quarter" idx="31" hasCustomPrompt="1"/>
          </p:nvPr>
        </p:nvSpPr>
        <p:spPr>
          <a:xfrm>
            <a:off x="4409813" y="8213913"/>
            <a:ext cx="3287858" cy="1602900"/>
          </a:xfrm>
        </p:spPr>
        <p:txBody>
          <a:bodyPr>
            <a:normAutofit/>
          </a:bodyPr>
          <a:lstStyle>
            <a:lvl1pPr marL="0" indent="0">
              <a:buNone/>
              <a:defRPr sz="1649" b="0"/>
            </a:lvl1pPr>
          </a:lstStyle>
          <a:p>
            <a:pPr lvl="0"/>
            <a:r>
              <a:rPr lang="en-GB" noProof="0"/>
              <a:t>Lorem</a:t>
            </a:r>
          </a:p>
        </p:txBody>
      </p:sp>
      <p:sp>
        <p:nvSpPr>
          <p:cNvPr id="35" name="Text Placeholder 5">
            <a:extLst>
              <a:ext uri="{FF2B5EF4-FFF2-40B4-BE49-F238E27FC236}">
                <a16:creationId xmlns:a16="http://schemas.microsoft.com/office/drawing/2014/main" id="{E02076EF-85B9-4278-AB82-23384D605D48}"/>
              </a:ext>
            </a:extLst>
          </p:cNvPr>
          <p:cNvSpPr>
            <a:spLocks noGrp="1"/>
          </p:cNvSpPr>
          <p:nvPr>
            <p:ph type="body" sz="quarter" idx="32" hasCustomPrompt="1"/>
          </p:nvPr>
        </p:nvSpPr>
        <p:spPr>
          <a:xfrm>
            <a:off x="8166767" y="6640560"/>
            <a:ext cx="1591576" cy="1055017"/>
          </a:xfrm>
        </p:spPr>
        <p:txBody>
          <a:bodyPr>
            <a:noAutofit/>
          </a:bodyPr>
          <a:lstStyle>
            <a:lvl1pPr marL="0" indent="0">
              <a:buNone/>
              <a:defRPr sz="7915">
                <a:solidFill>
                  <a:schemeClr val="tx2"/>
                </a:solidFill>
              </a:defRPr>
            </a:lvl1pPr>
            <a:lvl2pPr marL="753923" indent="0">
              <a:buNone/>
              <a:defRPr/>
            </a:lvl2pPr>
            <a:lvl3pPr marL="1507846" indent="0">
              <a:buNone/>
              <a:defRPr/>
            </a:lvl3pPr>
            <a:lvl4pPr marL="2261768" indent="0">
              <a:buNone/>
              <a:defRPr/>
            </a:lvl4pPr>
            <a:lvl5pPr marL="3015691" indent="0">
              <a:buNone/>
              <a:defRPr/>
            </a:lvl5pPr>
          </a:lstStyle>
          <a:p>
            <a:pPr lvl="0"/>
            <a:r>
              <a:rPr lang="en-GB" noProof="0"/>
              <a:t>Nº</a:t>
            </a:r>
          </a:p>
        </p:txBody>
      </p:sp>
      <p:sp>
        <p:nvSpPr>
          <p:cNvPr id="36" name="Text Placeholder 9">
            <a:extLst>
              <a:ext uri="{FF2B5EF4-FFF2-40B4-BE49-F238E27FC236}">
                <a16:creationId xmlns:a16="http://schemas.microsoft.com/office/drawing/2014/main" id="{E4437FC0-3723-4401-BC4E-7D0A28F732AF}"/>
              </a:ext>
            </a:extLst>
          </p:cNvPr>
          <p:cNvSpPr>
            <a:spLocks noGrp="1"/>
          </p:cNvSpPr>
          <p:nvPr>
            <p:ph type="body" sz="quarter" idx="33" hasCustomPrompt="1"/>
          </p:nvPr>
        </p:nvSpPr>
        <p:spPr>
          <a:xfrm>
            <a:off x="8166766" y="7789822"/>
            <a:ext cx="3287858" cy="356200"/>
          </a:xfrm>
        </p:spPr>
        <p:txBody>
          <a:bodyPr>
            <a:normAutofit/>
          </a:bodyPr>
          <a:lstStyle>
            <a:lvl1pPr marL="0" indent="0" algn="l">
              <a:buNone/>
              <a:defRPr sz="1731" b="1"/>
            </a:lvl1pPr>
          </a:lstStyle>
          <a:p>
            <a:pPr lvl="0"/>
            <a:r>
              <a:rPr lang="en-GB" noProof="0"/>
              <a:t>TITLE</a:t>
            </a:r>
          </a:p>
        </p:txBody>
      </p:sp>
      <p:sp>
        <p:nvSpPr>
          <p:cNvPr id="37" name="Text Placeholder 9">
            <a:extLst>
              <a:ext uri="{FF2B5EF4-FFF2-40B4-BE49-F238E27FC236}">
                <a16:creationId xmlns:a16="http://schemas.microsoft.com/office/drawing/2014/main" id="{8883DC26-E441-464E-B954-44D6FF0981BA}"/>
              </a:ext>
            </a:extLst>
          </p:cNvPr>
          <p:cNvSpPr>
            <a:spLocks noGrp="1"/>
          </p:cNvSpPr>
          <p:nvPr>
            <p:ph type="body" sz="quarter" idx="34" hasCustomPrompt="1"/>
          </p:nvPr>
        </p:nvSpPr>
        <p:spPr>
          <a:xfrm>
            <a:off x="8166766" y="8213913"/>
            <a:ext cx="3287858" cy="1602900"/>
          </a:xfrm>
        </p:spPr>
        <p:txBody>
          <a:bodyPr>
            <a:normAutofit/>
          </a:bodyPr>
          <a:lstStyle>
            <a:lvl1pPr marL="0" indent="0">
              <a:buNone/>
              <a:defRPr sz="1649" b="0"/>
            </a:lvl1pPr>
          </a:lstStyle>
          <a:p>
            <a:pPr lvl="0"/>
            <a:r>
              <a:rPr lang="en-GB" noProof="0"/>
              <a:t>Lorem</a:t>
            </a:r>
          </a:p>
        </p:txBody>
      </p:sp>
      <p:sp>
        <p:nvSpPr>
          <p:cNvPr id="38" name="Text Placeholder 5">
            <a:extLst>
              <a:ext uri="{FF2B5EF4-FFF2-40B4-BE49-F238E27FC236}">
                <a16:creationId xmlns:a16="http://schemas.microsoft.com/office/drawing/2014/main" id="{968A70C8-EE78-46BE-9F38-09E41463BB9F}"/>
              </a:ext>
            </a:extLst>
          </p:cNvPr>
          <p:cNvSpPr>
            <a:spLocks noGrp="1"/>
          </p:cNvSpPr>
          <p:nvPr>
            <p:ph type="body" sz="quarter" idx="35" hasCustomPrompt="1"/>
          </p:nvPr>
        </p:nvSpPr>
        <p:spPr>
          <a:xfrm>
            <a:off x="11961416" y="6640560"/>
            <a:ext cx="1591576" cy="1055017"/>
          </a:xfrm>
        </p:spPr>
        <p:txBody>
          <a:bodyPr>
            <a:noAutofit/>
          </a:bodyPr>
          <a:lstStyle>
            <a:lvl1pPr marL="0" indent="0">
              <a:buNone/>
              <a:defRPr sz="7915">
                <a:solidFill>
                  <a:schemeClr val="tx2"/>
                </a:solidFill>
              </a:defRPr>
            </a:lvl1pPr>
            <a:lvl2pPr marL="753923" indent="0">
              <a:buNone/>
              <a:defRPr/>
            </a:lvl2pPr>
            <a:lvl3pPr marL="1507846" indent="0">
              <a:buNone/>
              <a:defRPr/>
            </a:lvl3pPr>
            <a:lvl4pPr marL="2261768" indent="0">
              <a:buNone/>
              <a:defRPr/>
            </a:lvl4pPr>
            <a:lvl5pPr marL="3015691" indent="0">
              <a:buNone/>
              <a:defRPr/>
            </a:lvl5pPr>
          </a:lstStyle>
          <a:p>
            <a:pPr lvl="0"/>
            <a:r>
              <a:rPr lang="en-GB" noProof="0"/>
              <a:t>Nº</a:t>
            </a:r>
          </a:p>
        </p:txBody>
      </p:sp>
      <p:sp>
        <p:nvSpPr>
          <p:cNvPr id="39" name="Text Placeholder 9">
            <a:extLst>
              <a:ext uri="{FF2B5EF4-FFF2-40B4-BE49-F238E27FC236}">
                <a16:creationId xmlns:a16="http://schemas.microsoft.com/office/drawing/2014/main" id="{DCFA9B7E-C954-4371-A0B4-6839A16D66D3}"/>
              </a:ext>
            </a:extLst>
          </p:cNvPr>
          <p:cNvSpPr>
            <a:spLocks noGrp="1"/>
          </p:cNvSpPr>
          <p:nvPr>
            <p:ph type="body" sz="quarter" idx="36" hasCustomPrompt="1"/>
          </p:nvPr>
        </p:nvSpPr>
        <p:spPr>
          <a:xfrm>
            <a:off x="11961415" y="7789822"/>
            <a:ext cx="3287858" cy="356200"/>
          </a:xfrm>
        </p:spPr>
        <p:txBody>
          <a:bodyPr>
            <a:normAutofit/>
          </a:bodyPr>
          <a:lstStyle>
            <a:lvl1pPr marL="0" indent="0" algn="l">
              <a:buNone/>
              <a:defRPr sz="1731" b="1"/>
            </a:lvl1pPr>
          </a:lstStyle>
          <a:p>
            <a:pPr lvl="0"/>
            <a:r>
              <a:rPr lang="en-GB" noProof="0"/>
              <a:t>TITLE</a:t>
            </a:r>
          </a:p>
        </p:txBody>
      </p:sp>
      <p:sp>
        <p:nvSpPr>
          <p:cNvPr id="40" name="Text Placeholder 9">
            <a:extLst>
              <a:ext uri="{FF2B5EF4-FFF2-40B4-BE49-F238E27FC236}">
                <a16:creationId xmlns:a16="http://schemas.microsoft.com/office/drawing/2014/main" id="{6D71BA04-AABC-45E5-9656-45E0BB19D42F}"/>
              </a:ext>
            </a:extLst>
          </p:cNvPr>
          <p:cNvSpPr>
            <a:spLocks noGrp="1"/>
          </p:cNvSpPr>
          <p:nvPr>
            <p:ph type="body" sz="quarter" idx="37" hasCustomPrompt="1"/>
          </p:nvPr>
        </p:nvSpPr>
        <p:spPr>
          <a:xfrm>
            <a:off x="11961415" y="8213913"/>
            <a:ext cx="3287858" cy="1602900"/>
          </a:xfrm>
        </p:spPr>
        <p:txBody>
          <a:bodyPr>
            <a:normAutofit/>
          </a:bodyPr>
          <a:lstStyle>
            <a:lvl1pPr marL="0" indent="0">
              <a:buNone/>
              <a:defRPr sz="1649" b="0"/>
            </a:lvl1pPr>
          </a:lstStyle>
          <a:p>
            <a:pPr lvl="0"/>
            <a:r>
              <a:rPr lang="en-GB" noProof="0"/>
              <a:t>Lorem</a:t>
            </a:r>
          </a:p>
        </p:txBody>
      </p:sp>
      <p:sp>
        <p:nvSpPr>
          <p:cNvPr id="41" name="Text Placeholder 5">
            <a:extLst>
              <a:ext uri="{FF2B5EF4-FFF2-40B4-BE49-F238E27FC236}">
                <a16:creationId xmlns:a16="http://schemas.microsoft.com/office/drawing/2014/main" id="{2A0135A2-338E-4337-8F7D-C89BCB301081}"/>
              </a:ext>
            </a:extLst>
          </p:cNvPr>
          <p:cNvSpPr>
            <a:spLocks noGrp="1"/>
          </p:cNvSpPr>
          <p:nvPr>
            <p:ph type="body" sz="quarter" idx="38" hasCustomPrompt="1"/>
          </p:nvPr>
        </p:nvSpPr>
        <p:spPr>
          <a:xfrm>
            <a:off x="15864438" y="6640560"/>
            <a:ext cx="1591576" cy="1055017"/>
          </a:xfrm>
        </p:spPr>
        <p:txBody>
          <a:bodyPr>
            <a:noAutofit/>
          </a:bodyPr>
          <a:lstStyle>
            <a:lvl1pPr marL="0" indent="0">
              <a:buNone/>
              <a:defRPr sz="7915">
                <a:solidFill>
                  <a:schemeClr val="tx2"/>
                </a:solidFill>
              </a:defRPr>
            </a:lvl1pPr>
            <a:lvl2pPr marL="753923" indent="0">
              <a:buNone/>
              <a:defRPr/>
            </a:lvl2pPr>
            <a:lvl3pPr marL="1507846" indent="0">
              <a:buNone/>
              <a:defRPr/>
            </a:lvl3pPr>
            <a:lvl4pPr marL="2261768" indent="0">
              <a:buNone/>
              <a:defRPr/>
            </a:lvl4pPr>
            <a:lvl5pPr marL="3015691" indent="0">
              <a:buNone/>
              <a:defRPr/>
            </a:lvl5pPr>
          </a:lstStyle>
          <a:p>
            <a:pPr lvl="0"/>
            <a:r>
              <a:rPr lang="en-GB" noProof="0"/>
              <a:t>Nº</a:t>
            </a:r>
          </a:p>
        </p:txBody>
      </p:sp>
      <p:sp>
        <p:nvSpPr>
          <p:cNvPr id="42" name="Text Placeholder 9">
            <a:extLst>
              <a:ext uri="{FF2B5EF4-FFF2-40B4-BE49-F238E27FC236}">
                <a16:creationId xmlns:a16="http://schemas.microsoft.com/office/drawing/2014/main" id="{B47283B0-869D-4FF5-8A79-618919C330BE}"/>
              </a:ext>
            </a:extLst>
          </p:cNvPr>
          <p:cNvSpPr>
            <a:spLocks noGrp="1"/>
          </p:cNvSpPr>
          <p:nvPr>
            <p:ph type="body" sz="quarter" idx="39" hasCustomPrompt="1"/>
          </p:nvPr>
        </p:nvSpPr>
        <p:spPr>
          <a:xfrm>
            <a:off x="15864437" y="7789822"/>
            <a:ext cx="3287858" cy="356200"/>
          </a:xfrm>
        </p:spPr>
        <p:txBody>
          <a:bodyPr>
            <a:normAutofit/>
          </a:bodyPr>
          <a:lstStyle>
            <a:lvl1pPr marL="0" indent="0" algn="l">
              <a:buNone/>
              <a:defRPr sz="1731" b="1"/>
            </a:lvl1pPr>
          </a:lstStyle>
          <a:p>
            <a:pPr lvl="0"/>
            <a:r>
              <a:rPr lang="en-GB" noProof="0"/>
              <a:t>TITLE</a:t>
            </a:r>
          </a:p>
        </p:txBody>
      </p:sp>
      <p:sp>
        <p:nvSpPr>
          <p:cNvPr id="43" name="Text Placeholder 9">
            <a:extLst>
              <a:ext uri="{FF2B5EF4-FFF2-40B4-BE49-F238E27FC236}">
                <a16:creationId xmlns:a16="http://schemas.microsoft.com/office/drawing/2014/main" id="{E7254A4F-5904-4BFE-B81D-AE8C682CE01E}"/>
              </a:ext>
            </a:extLst>
          </p:cNvPr>
          <p:cNvSpPr>
            <a:spLocks noGrp="1"/>
          </p:cNvSpPr>
          <p:nvPr>
            <p:ph type="body" sz="quarter" idx="40" hasCustomPrompt="1"/>
          </p:nvPr>
        </p:nvSpPr>
        <p:spPr>
          <a:xfrm>
            <a:off x="15864437" y="8213913"/>
            <a:ext cx="3287858" cy="1602900"/>
          </a:xfrm>
        </p:spPr>
        <p:txBody>
          <a:bodyPr>
            <a:normAutofit/>
          </a:bodyPr>
          <a:lstStyle>
            <a:lvl1pPr marL="0" indent="0">
              <a:buNone/>
              <a:defRPr sz="1649" b="0"/>
            </a:lvl1pPr>
          </a:lstStyle>
          <a:p>
            <a:pPr lvl="0"/>
            <a:r>
              <a:rPr lang="en-GB" noProof="0"/>
              <a:t>Lorem</a:t>
            </a:r>
          </a:p>
        </p:txBody>
      </p:sp>
      <p:sp>
        <p:nvSpPr>
          <p:cNvPr id="11" name="Title 10">
            <a:extLst>
              <a:ext uri="{FF2B5EF4-FFF2-40B4-BE49-F238E27FC236}">
                <a16:creationId xmlns:a16="http://schemas.microsoft.com/office/drawing/2014/main" id="{B384F1BB-96E7-4D3C-AEA6-2038C6C940A2}"/>
              </a:ext>
            </a:extLst>
          </p:cNvPr>
          <p:cNvSpPr>
            <a:spLocks noGrp="1"/>
          </p:cNvSpPr>
          <p:nvPr>
            <p:ph type="title" hasCustomPrompt="1"/>
          </p:nvPr>
        </p:nvSpPr>
        <p:spPr>
          <a:xfrm>
            <a:off x="615163" y="396486"/>
            <a:ext cx="8682983" cy="2546037"/>
          </a:xfrm>
        </p:spPr>
        <p:txBody>
          <a:bodyPr anchor="t">
            <a:normAutofit/>
          </a:bodyPr>
          <a:lstStyle>
            <a:lvl1pPr>
              <a:lnSpc>
                <a:spcPts val="9234"/>
              </a:lnSpc>
              <a:defRPr sz="9564">
                <a:solidFill>
                  <a:schemeClr val="tx2"/>
                </a:solidFill>
              </a:defRPr>
            </a:lvl1pPr>
          </a:lstStyle>
          <a:p>
            <a:r>
              <a:rPr lang="en-GB" noProof="0"/>
              <a:t>Title</a:t>
            </a:r>
          </a:p>
        </p:txBody>
      </p:sp>
    </p:spTree>
    <p:extLst>
      <p:ext uri="{BB962C8B-B14F-4D97-AF65-F5344CB8AC3E}">
        <p14:creationId xmlns:p14="http://schemas.microsoft.com/office/powerpoint/2010/main" val="3105981798"/>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theme" Target="../theme/theme2.xml"/><Relationship Id="rId3" Type="http://schemas.openxmlformats.org/officeDocument/2006/relationships/slideLayout" Target="../slideLayouts/slideLayout14.xml"/><Relationship Id="rId21" Type="http://schemas.openxmlformats.org/officeDocument/2006/relationships/tags" Target="../tags/tag5.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tags" Target="../tags/tag4.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image" Target="../media/image10.emf"/><Relationship Id="rId10" Type="http://schemas.openxmlformats.org/officeDocument/2006/relationships/slideLayout" Target="../slideLayouts/slideLayout21.xml"/><Relationship Id="rId19" Type="http://schemas.openxmlformats.org/officeDocument/2006/relationships/vmlDrawing" Target="../drawings/vmlDrawing2.v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vmlDrawing" Target="../drawings/vmlDrawing4.vml"/><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theme" Target="../theme/theme3.xml"/><Relationship Id="rId17" Type="http://schemas.openxmlformats.org/officeDocument/2006/relationships/image" Target="../media/image1.emf"/><Relationship Id="rId2" Type="http://schemas.openxmlformats.org/officeDocument/2006/relationships/slideLayout" Target="../slideLayouts/slideLayout30.xml"/><Relationship Id="rId16" Type="http://schemas.openxmlformats.org/officeDocument/2006/relationships/oleObject" Target="../embeddings/oleObject4.bin"/><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5" Type="http://schemas.openxmlformats.org/officeDocument/2006/relationships/tags" Target="../tags/tag8.xml"/><Relationship Id="rId10" Type="http://schemas.openxmlformats.org/officeDocument/2006/relationships/slideLayout" Target="../slideLayouts/slideLayout38.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tags" Target="../tags/tag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slideLayout" Target="../slideLayouts/slideLayout57.xml"/><Relationship Id="rId26" Type="http://schemas.openxmlformats.org/officeDocument/2006/relationships/slideLayout" Target="../slideLayouts/slideLayout65.xml"/><Relationship Id="rId3" Type="http://schemas.openxmlformats.org/officeDocument/2006/relationships/slideLayout" Target="../slideLayouts/slideLayout42.xml"/><Relationship Id="rId21" Type="http://schemas.openxmlformats.org/officeDocument/2006/relationships/slideLayout" Target="../slideLayouts/slideLayout60.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5" Type="http://schemas.openxmlformats.org/officeDocument/2006/relationships/slideLayout" Target="../slideLayouts/slideLayout64.xml"/><Relationship Id="rId33" Type="http://schemas.openxmlformats.org/officeDocument/2006/relationships/image" Target="../media/image21.emf"/><Relationship Id="rId2" Type="http://schemas.openxmlformats.org/officeDocument/2006/relationships/slideLayout" Target="../slideLayouts/slideLayout41.xml"/><Relationship Id="rId16" Type="http://schemas.openxmlformats.org/officeDocument/2006/relationships/slideLayout" Target="../slideLayouts/slideLayout55.xml"/><Relationship Id="rId20" Type="http://schemas.openxmlformats.org/officeDocument/2006/relationships/slideLayout" Target="../slideLayouts/slideLayout59.xml"/><Relationship Id="rId29" Type="http://schemas.openxmlformats.org/officeDocument/2006/relationships/vmlDrawing" Target="../drawings/vmlDrawing5.v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24" Type="http://schemas.openxmlformats.org/officeDocument/2006/relationships/slideLayout" Target="../slideLayouts/slideLayout63.xml"/><Relationship Id="rId32" Type="http://schemas.openxmlformats.org/officeDocument/2006/relationships/oleObject" Target="../embeddings/oleObject5.bin"/><Relationship Id="rId5" Type="http://schemas.openxmlformats.org/officeDocument/2006/relationships/slideLayout" Target="../slideLayouts/slideLayout44.xml"/><Relationship Id="rId15" Type="http://schemas.openxmlformats.org/officeDocument/2006/relationships/slideLayout" Target="../slideLayouts/slideLayout54.xml"/><Relationship Id="rId23" Type="http://schemas.openxmlformats.org/officeDocument/2006/relationships/slideLayout" Target="../slideLayouts/slideLayout62.xml"/><Relationship Id="rId28" Type="http://schemas.openxmlformats.org/officeDocument/2006/relationships/theme" Target="../theme/theme4.xml"/><Relationship Id="rId10" Type="http://schemas.openxmlformats.org/officeDocument/2006/relationships/slideLayout" Target="../slideLayouts/slideLayout49.xml"/><Relationship Id="rId19" Type="http://schemas.openxmlformats.org/officeDocument/2006/relationships/slideLayout" Target="../slideLayouts/slideLayout58.xml"/><Relationship Id="rId31" Type="http://schemas.openxmlformats.org/officeDocument/2006/relationships/tags" Target="../tags/tag10.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 Id="rId22" Type="http://schemas.openxmlformats.org/officeDocument/2006/relationships/slideLayout" Target="../slideLayouts/slideLayout61.xml"/><Relationship Id="rId27" Type="http://schemas.openxmlformats.org/officeDocument/2006/relationships/slideLayout" Target="../slideLayouts/slideLayout66.xml"/><Relationship Id="rId30" Type="http://schemas.openxmlformats.org/officeDocument/2006/relationships/tags" Target="../tags/tag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18" Type="http://schemas.openxmlformats.org/officeDocument/2006/relationships/slideLayout" Target="../slideLayouts/slideLayout84.xml"/><Relationship Id="rId26" Type="http://schemas.openxmlformats.org/officeDocument/2006/relationships/slideLayout" Target="../slideLayouts/slideLayout92.xml"/><Relationship Id="rId3" Type="http://schemas.openxmlformats.org/officeDocument/2006/relationships/slideLayout" Target="../slideLayouts/slideLayout69.xml"/><Relationship Id="rId21" Type="http://schemas.openxmlformats.org/officeDocument/2006/relationships/slideLayout" Target="../slideLayouts/slideLayout87.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5" Type="http://schemas.openxmlformats.org/officeDocument/2006/relationships/slideLayout" Target="../slideLayouts/slideLayout91.xml"/><Relationship Id="rId33" Type="http://schemas.openxmlformats.org/officeDocument/2006/relationships/image" Target="../media/image21.emf"/><Relationship Id="rId2" Type="http://schemas.openxmlformats.org/officeDocument/2006/relationships/slideLayout" Target="../slideLayouts/slideLayout68.xml"/><Relationship Id="rId16" Type="http://schemas.openxmlformats.org/officeDocument/2006/relationships/slideLayout" Target="../slideLayouts/slideLayout82.xml"/><Relationship Id="rId20" Type="http://schemas.openxmlformats.org/officeDocument/2006/relationships/slideLayout" Target="../slideLayouts/slideLayout86.xml"/><Relationship Id="rId29" Type="http://schemas.openxmlformats.org/officeDocument/2006/relationships/vmlDrawing" Target="../drawings/vmlDrawing6.v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24" Type="http://schemas.openxmlformats.org/officeDocument/2006/relationships/slideLayout" Target="../slideLayouts/slideLayout90.xml"/><Relationship Id="rId32" Type="http://schemas.openxmlformats.org/officeDocument/2006/relationships/oleObject" Target="../embeddings/oleObject6.bin"/><Relationship Id="rId5" Type="http://schemas.openxmlformats.org/officeDocument/2006/relationships/slideLayout" Target="../slideLayouts/slideLayout71.xml"/><Relationship Id="rId15" Type="http://schemas.openxmlformats.org/officeDocument/2006/relationships/slideLayout" Target="../slideLayouts/slideLayout81.xml"/><Relationship Id="rId23" Type="http://schemas.openxmlformats.org/officeDocument/2006/relationships/slideLayout" Target="../slideLayouts/slideLayout89.xml"/><Relationship Id="rId28" Type="http://schemas.openxmlformats.org/officeDocument/2006/relationships/theme" Target="../theme/theme5.xml"/><Relationship Id="rId10" Type="http://schemas.openxmlformats.org/officeDocument/2006/relationships/slideLayout" Target="../slideLayouts/slideLayout76.xml"/><Relationship Id="rId19" Type="http://schemas.openxmlformats.org/officeDocument/2006/relationships/slideLayout" Target="../slideLayouts/slideLayout85.xml"/><Relationship Id="rId31" Type="http://schemas.openxmlformats.org/officeDocument/2006/relationships/tags" Target="../tags/tag12.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 Id="rId22" Type="http://schemas.openxmlformats.org/officeDocument/2006/relationships/slideLayout" Target="../slideLayouts/slideLayout88.xml"/><Relationship Id="rId27" Type="http://schemas.openxmlformats.org/officeDocument/2006/relationships/slideLayout" Target="../slideLayouts/slideLayout93.xml"/><Relationship Id="rId30" Type="http://schemas.openxmlformats.org/officeDocument/2006/relationships/tags" Target="../tags/tag1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1.xml"/><Relationship Id="rId13" Type="http://schemas.openxmlformats.org/officeDocument/2006/relationships/slideLayout" Target="../slideLayouts/slideLayout106.xml"/><Relationship Id="rId18" Type="http://schemas.openxmlformats.org/officeDocument/2006/relationships/slideLayout" Target="../slideLayouts/slideLayout111.xml"/><Relationship Id="rId26" Type="http://schemas.openxmlformats.org/officeDocument/2006/relationships/slideLayout" Target="../slideLayouts/slideLayout119.xml"/><Relationship Id="rId3" Type="http://schemas.openxmlformats.org/officeDocument/2006/relationships/slideLayout" Target="../slideLayouts/slideLayout96.xml"/><Relationship Id="rId21" Type="http://schemas.openxmlformats.org/officeDocument/2006/relationships/slideLayout" Target="../slideLayouts/slideLayout114.xml"/><Relationship Id="rId7" Type="http://schemas.openxmlformats.org/officeDocument/2006/relationships/slideLayout" Target="../slideLayouts/slideLayout100.xml"/><Relationship Id="rId12" Type="http://schemas.openxmlformats.org/officeDocument/2006/relationships/slideLayout" Target="../slideLayouts/slideLayout105.xml"/><Relationship Id="rId17" Type="http://schemas.openxmlformats.org/officeDocument/2006/relationships/slideLayout" Target="../slideLayouts/slideLayout110.xml"/><Relationship Id="rId25" Type="http://schemas.openxmlformats.org/officeDocument/2006/relationships/slideLayout" Target="../slideLayouts/slideLayout118.xml"/><Relationship Id="rId2" Type="http://schemas.openxmlformats.org/officeDocument/2006/relationships/slideLayout" Target="../slideLayouts/slideLayout95.xml"/><Relationship Id="rId16" Type="http://schemas.openxmlformats.org/officeDocument/2006/relationships/slideLayout" Target="../slideLayouts/slideLayout109.xml"/><Relationship Id="rId20" Type="http://schemas.openxmlformats.org/officeDocument/2006/relationships/slideLayout" Target="../slideLayouts/slideLayout113.xml"/><Relationship Id="rId29" Type="http://schemas.openxmlformats.org/officeDocument/2006/relationships/tags" Target="../tags/tag13.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24" Type="http://schemas.openxmlformats.org/officeDocument/2006/relationships/slideLayout" Target="../slideLayouts/slideLayout117.xml"/><Relationship Id="rId32" Type="http://schemas.openxmlformats.org/officeDocument/2006/relationships/image" Target="../media/image21.emf"/><Relationship Id="rId5" Type="http://schemas.openxmlformats.org/officeDocument/2006/relationships/slideLayout" Target="../slideLayouts/slideLayout98.xml"/><Relationship Id="rId15" Type="http://schemas.openxmlformats.org/officeDocument/2006/relationships/slideLayout" Target="../slideLayouts/slideLayout108.xml"/><Relationship Id="rId23" Type="http://schemas.openxmlformats.org/officeDocument/2006/relationships/slideLayout" Target="../slideLayouts/slideLayout116.xml"/><Relationship Id="rId28" Type="http://schemas.openxmlformats.org/officeDocument/2006/relationships/vmlDrawing" Target="../drawings/vmlDrawing7.vml"/><Relationship Id="rId10" Type="http://schemas.openxmlformats.org/officeDocument/2006/relationships/slideLayout" Target="../slideLayouts/slideLayout103.xml"/><Relationship Id="rId19" Type="http://schemas.openxmlformats.org/officeDocument/2006/relationships/slideLayout" Target="../slideLayouts/slideLayout112.xml"/><Relationship Id="rId31" Type="http://schemas.openxmlformats.org/officeDocument/2006/relationships/oleObject" Target="../embeddings/oleObject6.bin"/><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 Id="rId22" Type="http://schemas.openxmlformats.org/officeDocument/2006/relationships/slideLayout" Target="../slideLayouts/slideLayout115.xml"/><Relationship Id="rId27" Type="http://schemas.openxmlformats.org/officeDocument/2006/relationships/theme" Target="../theme/theme6.xml"/><Relationship Id="rId30" Type="http://schemas.openxmlformats.org/officeDocument/2006/relationships/tags" Target="../tags/tag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4"/>
            </p:custDataLst>
            <p:extLst>
              <p:ext uri="{D42A27DB-BD31-4B8C-83A1-F6EECF244321}">
                <p14:modId xmlns:p14="http://schemas.microsoft.com/office/powerpoint/2010/main" val="143438591"/>
              </p:ext>
            </p:extLst>
          </p:nvPr>
        </p:nvGraphicFramePr>
        <p:xfrm>
          <a:off x="3494" y="2625"/>
          <a:ext cx="3489" cy="2617"/>
        </p:xfrm>
        <a:graphic>
          <a:graphicData uri="http://schemas.openxmlformats.org/presentationml/2006/ole">
            <mc:AlternateContent xmlns:mc="http://schemas.openxmlformats.org/markup-compatibility/2006">
              <mc:Choice xmlns:v="urn:schemas-microsoft-com:vml" Requires="v">
                <p:oleObj spid="_x0000_s2205" name="think-cell Slide" r:id="rId16" imgW="360" imgH="360" progId="TCLayout.ActiveDocument.1">
                  <p:embed/>
                </p:oleObj>
              </mc:Choice>
              <mc:Fallback>
                <p:oleObj name="think-cell Slide" r:id="rId16" imgW="360" imgH="360" progId="TCLayout.ActiveDocument.1">
                  <p:embed/>
                  <p:pic>
                    <p:nvPicPr>
                      <p:cNvPr id="7" name="Object 6"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3494" y="2625"/>
                        <a:ext cx="3489" cy="261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a:extLst>
              <a:ext uri="{FF2B5EF4-FFF2-40B4-BE49-F238E27FC236}">
                <a16:creationId xmlns:a16="http://schemas.microsoft.com/office/drawing/2014/main" id="{671780F1-781B-344E-B412-4F95F1E159EF}"/>
              </a:ext>
            </a:extLst>
          </p:cNvPr>
          <p:cNvSpPr/>
          <p:nvPr userDrawn="1">
            <p:custDataLst>
              <p:tags r:id="rId15"/>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US" sz="9015" b="0" i="0" baseline="0" dirty="0">
              <a:latin typeface="Calibri" panose="020F0502020204030204" pitchFamily="34" charset="0"/>
              <a:ea typeface="宋体" panose="02010600030101010101" pitchFamily="2" charset="-122"/>
              <a:sym typeface="Calibri" panose="020F0502020204030204" pitchFamily="34" charset="0"/>
            </a:endParaRPr>
          </a:p>
        </p:txBody>
      </p:sp>
      <p:sp>
        <p:nvSpPr>
          <p:cNvPr id="2" name="Title Placeholder 1"/>
          <p:cNvSpPr>
            <a:spLocks noGrp="1"/>
          </p:cNvSpPr>
          <p:nvPr>
            <p:ph type="title"/>
          </p:nvPr>
        </p:nvSpPr>
        <p:spPr>
          <a:xfrm>
            <a:off x="1005205" y="452897"/>
            <a:ext cx="18093690" cy="1884892"/>
          </a:xfrm>
          <a:prstGeom prst="rect">
            <a:avLst/>
          </a:prstGeom>
        </p:spPr>
        <p:txBody>
          <a:bodyPr vert="horz" lIns="68564" tIns="34283" rIns="68564" bIns="34283" rtlCol="0" anchor="ctr">
            <a:normAutofit/>
          </a:bodyPr>
          <a:lstStyle/>
          <a:p>
            <a:r>
              <a:rPr lang="en-US"/>
              <a:t>Click to edit Master title style</a:t>
            </a:r>
          </a:p>
        </p:txBody>
      </p:sp>
      <p:sp>
        <p:nvSpPr>
          <p:cNvPr id="3" name="Text Placeholder 2"/>
          <p:cNvSpPr>
            <a:spLocks noGrp="1"/>
          </p:cNvSpPr>
          <p:nvPr>
            <p:ph type="body" idx="1"/>
          </p:nvPr>
        </p:nvSpPr>
        <p:spPr>
          <a:xfrm>
            <a:off x="1005205" y="2638856"/>
            <a:ext cx="18093690" cy="7463648"/>
          </a:xfrm>
          <a:prstGeom prst="rect">
            <a:avLst/>
          </a:prstGeom>
        </p:spPr>
        <p:txBody>
          <a:bodyPr vert="horz" lIns="68564" tIns="34283" rIns="68564" bIns="34283"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1005206" y="10482096"/>
            <a:ext cx="4690957" cy="602118"/>
          </a:xfrm>
          <a:prstGeom prst="rect">
            <a:avLst/>
          </a:prstGeom>
        </p:spPr>
        <p:txBody>
          <a:bodyPr vert="horz" lIns="68564" tIns="34283" rIns="68564" bIns="34283" rtlCol="0" anchor="ctr"/>
          <a:lstStyle>
            <a:lvl1pPr algn="l" defTabSz="927696">
              <a:defRPr sz="2419">
                <a:solidFill>
                  <a:schemeClr val="tx1">
                    <a:tint val="75000"/>
                  </a:schemeClr>
                </a:solidFill>
              </a:defRPr>
            </a:lvl1pPr>
          </a:lstStyle>
          <a:p>
            <a:fld id="{A2EF132C-2780-664E-9A59-003B099F3999}" type="datetimeFigureOut">
              <a:rPr lang="en-US" smtClean="0">
                <a:solidFill>
                  <a:prstClr val="black">
                    <a:tint val="75000"/>
                  </a:prstClr>
                </a:solidFill>
                <a:cs typeface="Arial" pitchFamily="34" charset="0"/>
              </a:rPr>
              <a:pPr/>
              <a:t>10/26/2020</a:t>
            </a:fld>
            <a:endParaRPr lang="en-US" dirty="0">
              <a:solidFill>
                <a:prstClr val="black">
                  <a:tint val="75000"/>
                </a:prstClr>
              </a:solidFill>
              <a:cs typeface="Arial" pitchFamily="34" charset="0"/>
            </a:endParaRPr>
          </a:p>
        </p:txBody>
      </p:sp>
      <p:sp>
        <p:nvSpPr>
          <p:cNvPr id="5" name="Footer Placeholder 4"/>
          <p:cNvSpPr>
            <a:spLocks noGrp="1"/>
          </p:cNvSpPr>
          <p:nvPr>
            <p:ph type="ftr" sz="quarter" idx="3"/>
          </p:nvPr>
        </p:nvSpPr>
        <p:spPr>
          <a:xfrm>
            <a:off x="6868901" y="10482096"/>
            <a:ext cx="6366298" cy="602118"/>
          </a:xfrm>
          <a:prstGeom prst="rect">
            <a:avLst/>
          </a:prstGeom>
        </p:spPr>
        <p:txBody>
          <a:bodyPr vert="horz" lIns="68564" tIns="34283" rIns="68564" bIns="34283" rtlCol="0" anchor="ctr"/>
          <a:lstStyle>
            <a:lvl1pPr algn="ctr" defTabSz="927696">
              <a:defRPr sz="2419">
                <a:solidFill>
                  <a:schemeClr val="tx1">
                    <a:tint val="75000"/>
                  </a:schemeClr>
                </a:solidFill>
              </a:defRPr>
            </a:lvl1pPr>
          </a:lstStyle>
          <a:p>
            <a:endParaRPr lang="en-US" dirty="0">
              <a:solidFill>
                <a:prstClr val="black">
                  <a:tint val="75000"/>
                </a:prstClr>
              </a:solidFill>
              <a:cs typeface="Arial" pitchFamily="34" charset="0"/>
            </a:endParaRPr>
          </a:p>
        </p:txBody>
      </p:sp>
      <p:sp>
        <p:nvSpPr>
          <p:cNvPr id="6" name="Slide Number Placeholder 5"/>
          <p:cNvSpPr>
            <a:spLocks noGrp="1"/>
          </p:cNvSpPr>
          <p:nvPr>
            <p:ph type="sldNum" sz="quarter" idx="4"/>
          </p:nvPr>
        </p:nvSpPr>
        <p:spPr>
          <a:xfrm>
            <a:off x="14407938" y="10482096"/>
            <a:ext cx="4690957" cy="602118"/>
          </a:xfrm>
          <a:prstGeom prst="rect">
            <a:avLst/>
          </a:prstGeom>
        </p:spPr>
        <p:txBody>
          <a:bodyPr vert="horz" lIns="68564" tIns="34283" rIns="68564" bIns="34283" rtlCol="0" anchor="ctr"/>
          <a:lstStyle>
            <a:lvl1pPr algn="r" defTabSz="927696">
              <a:defRPr sz="2419">
                <a:solidFill>
                  <a:schemeClr val="tx1">
                    <a:tint val="75000"/>
                  </a:schemeClr>
                </a:solidFill>
              </a:defRPr>
            </a:lvl1pPr>
          </a:lstStyle>
          <a:p>
            <a:fld id="{335DFBAA-DD0B-634B-90CF-5D0212EFD58F}" type="slidenum">
              <a:rPr lang="en-US" smtClean="0">
                <a:solidFill>
                  <a:prstClr val="black">
                    <a:tint val="75000"/>
                  </a:prstClr>
                </a:solidFill>
                <a:cs typeface="Arial" pitchFamily="34" charset="0"/>
              </a:rPr>
              <a:pPr/>
              <a:t>‹#›</a:t>
            </a:fld>
            <a:endParaRPr lang="en-US" dirty="0">
              <a:solidFill>
                <a:prstClr val="black">
                  <a:tint val="75000"/>
                </a:prstClr>
              </a:solidFill>
              <a:cs typeface="Arial" pitchFamily="34" charset="0"/>
            </a:endParaRPr>
          </a:p>
        </p:txBody>
      </p:sp>
    </p:spTree>
    <p:extLst>
      <p:ext uri="{BB962C8B-B14F-4D97-AF65-F5344CB8AC3E}">
        <p14:creationId xmlns:p14="http://schemas.microsoft.com/office/powerpoint/2010/main" val="51568758"/>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9" r:id="rId8"/>
    <p:sldLayoutId id="2147483704" r:id="rId9"/>
    <p:sldLayoutId id="2147483724" r:id="rId10"/>
    <p:sldLayoutId id="2147483729" r:id="rId11"/>
  </p:sldLayoutIdLst>
  <p:txStyles>
    <p:titleStyle>
      <a:lvl1pPr algn="ctr" defTabSz="927696" rtl="0" eaLnBrk="1" latinLnBrk="0" hangingPunct="1">
        <a:spcBef>
          <a:spcPct val="0"/>
        </a:spcBef>
        <a:buNone/>
        <a:defRPr sz="9015" kern="1200">
          <a:solidFill>
            <a:schemeClr val="tx1"/>
          </a:solidFill>
          <a:latin typeface="+mj-lt"/>
          <a:ea typeface="+mj-ea"/>
          <a:cs typeface="+mj-cs"/>
        </a:defRPr>
      </a:lvl1pPr>
    </p:titleStyle>
    <p:bodyStyle>
      <a:lvl1pPr marL="695771" indent="-695771" algn="l" defTabSz="927696" rtl="0" eaLnBrk="1" latinLnBrk="0" hangingPunct="1">
        <a:spcBef>
          <a:spcPct val="20000"/>
        </a:spcBef>
        <a:buFont typeface="Arial"/>
        <a:buChar char="•"/>
        <a:defRPr sz="6596" kern="1200">
          <a:solidFill>
            <a:schemeClr val="tx1"/>
          </a:solidFill>
          <a:latin typeface="+mn-lt"/>
          <a:ea typeface="+mn-ea"/>
          <a:cs typeface="+mn-cs"/>
        </a:defRPr>
      </a:lvl1pPr>
      <a:lvl2pPr marL="1507503" indent="-579807" algn="l" defTabSz="927696" rtl="0" eaLnBrk="1" latinLnBrk="0" hangingPunct="1">
        <a:spcBef>
          <a:spcPct val="20000"/>
        </a:spcBef>
        <a:buFont typeface="Arial"/>
        <a:buChar char="–"/>
        <a:defRPr sz="5717" kern="1200">
          <a:solidFill>
            <a:schemeClr val="tx1"/>
          </a:solidFill>
          <a:latin typeface="+mn-lt"/>
          <a:ea typeface="+mn-ea"/>
          <a:cs typeface="+mn-cs"/>
        </a:defRPr>
      </a:lvl2pPr>
      <a:lvl3pPr marL="2319233" indent="-463847" algn="l" defTabSz="927696" rtl="0" eaLnBrk="1" latinLnBrk="0" hangingPunct="1">
        <a:spcBef>
          <a:spcPct val="20000"/>
        </a:spcBef>
        <a:buFont typeface="Arial"/>
        <a:buChar char="•"/>
        <a:defRPr sz="4837" kern="1200">
          <a:solidFill>
            <a:schemeClr val="tx1"/>
          </a:solidFill>
          <a:latin typeface="+mn-lt"/>
          <a:ea typeface="+mn-ea"/>
          <a:cs typeface="+mn-cs"/>
        </a:defRPr>
      </a:lvl3pPr>
      <a:lvl4pPr marL="3246926" indent="-463847" algn="l" defTabSz="927696" rtl="0" eaLnBrk="1" latinLnBrk="0" hangingPunct="1">
        <a:spcBef>
          <a:spcPct val="20000"/>
        </a:spcBef>
        <a:buFont typeface="Arial"/>
        <a:buChar char="–"/>
        <a:defRPr sz="3958" kern="1200">
          <a:solidFill>
            <a:schemeClr val="tx1"/>
          </a:solidFill>
          <a:latin typeface="+mn-lt"/>
          <a:ea typeface="+mn-ea"/>
          <a:cs typeface="+mn-cs"/>
        </a:defRPr>
      </a:lvl4pPr>
      <a:lvl5pPr marL="4174618" indent="-463847" algn="l" defTabSz="927696" rtl="0" eaLnBrk="1" latinLnBrk="0" hangingPunct="1">
        <a:spcBef>
          <a:spcPct val="20000"/>
        </a:spcBef>
        <a:buFont typeface="Arial"/>
        <a:buChar char="»"/>
        <a:defRPr sz="3958" kern="1200">
          <a:solidFill>
            <a:schemeClr val="tx1"/>
          </a:solidFill>
          <a:latin typeface="+mn-lt"/>
          <a:ea typeface="+mn-ea"/>
          <a:cs typeface="+mn-cs"/>
        </a:defRPr>
      </a:lvl5pPr>
      <a:lvl6pPr marL="5102311" indent="-463847" algn="l" defTabSz="927696" rtl="0" eaLnBrk="1" latinLnBrk="0" hangingPunct="1">
        <a:spcBef>
          <a:spcPct val="20000"/>
        </a:spcBef>
        <a:buFont typeface="Arial"/>
        <a:buChar char="•"/>
        <a:defRPr sz="3958" kern="1200">
          <a:solidFill>
            <a:schemeClr val="tx1"/>
          </a:solidFill>
          <a:latin typeface="+mn-lt"/>
          <a:ea typeface="+mn-ea"/>
          <a:cs typeface="+mn-cs"/>
        </a:defRPr>
      </a:lvl6pPr>
      <a:lvl7pPr marL="6030007" indent="-463847" algn="l" defTabSz="927696" rtl="0" eaLnBrk="1" latinLnBrk="0" hangingPunct="1">
        <a:spcBef>
          <a:spcPct val="20000"/>
        </a:spcBef>
        <a:buFont typeface="Arial"/>
        <a:buChar char="•"/>
        <a:defRPr sz="3958" kern="1200">
          <a:solidFill>
            <a:schemeClr val="tx1"/>
          </a:solidFill>
          <a:latin typeface="+mn-lt"/>
          <a:ea typeface="+mn-ea"/>
          <a:cs typeface="+mn-cs"/>
        </a:defRPr>
      </a:lvl7pPr>
      <a:lvl8pPr marL="6957700" indent="-463847" algn="l" defTabSz="927696" rtl="0" eaLnBrk="1" latinLnBrk="0" hangingPunct="1">
        <a:spcBef>
          <a:spcPct val="20000"/>
        </a:spcBef>
        <a:buFont typeface="Arial"/>
        <a:buChar char="•"/>
        <a:defRPr sz="3958" kern="1200">
          <a:solidFill>
            <a:schemeClr val="tx1"/>
          </a:solidFill>
          <a:latin typeface="+mn-lt"/>
          <a:ea typeface="+mn-ea"/>
          <a:cs typeface="+mn-cs"/>
        </a:defRPr>
      </a:lvl8pPr>
      <a:lvl9pPr marL="7885393" indent="-463847" algn="l" defTabSz="927696" rtl="0" eaLnBrk="1" latinLnBrk="0" hangingPunct="1">
        <a:spcBef>
          <a:spcPct val="20000"/>
        </a:spcBef>
        <a:buFont typeface="Arial"/>
        <a:buChar char="•"/>
        <a:defRPr sz="3958" kern="1200">
          <a:solidFill>
            <a:schemeClr val="tx1"/>
          </a:solidFill>
          <a:latin typeface="+mn-lt"/>
          <a:ea typeface="+mn-ea"/>
          <a:cs typeface="+mn-cs"/>
        </a:defRPr>
      </a:lvl9pPr>
    </p:bodyStyle>
    <p:otherStyle>
      <a:defPPr>
        <a:defRPr lang="en-US"/>
      </a:defPPr>
      <a:lvl1pPr marL="0" algn="l" defTabSz="927696" rtl="0" eaLnBrk="1" latinLnBrk="0" hangingPunct="1">
        <a:defRPr sz="3738" kern="1200">
          <a:solidFill>
            <a:schemeClr val="tx1"/>
          </a:solidFill>
          <a:latin typeface="+mn-lt"/>
          <a:ea typeface="+mn-ea"/>
          <a:cs typeface="+mn-cs"/>
        </a:defRPr>
      </a:lvl1pPr>
      <a:lvl2pPr marL="927696" algn="l" defTabSz="927696" rtl="0" eaLnBrk="1" latinLnBrk="0" hangingPunct="1">
        <a:defRPr sz="3738" kern="1200">
          <a:solidFill>
            <a:schemeClr val="tx1"/>
          </a:solidFill>
          <a:latin typeface="+mn-lt"/>
          <a:ea typeface="+mn-ea"/>
          <a:cs typeface="+mn-cs"/>
        </a:defRPr>
      </a:lvl2pPr>
      <a:lvl3pPr marL="1855389" algn="l" defTabSz="927696" rtl="0" eaLnBrk="1" latinLnBrk="0" hangingPunct="1">
        <a:defRPr sz="3738" kern="1200">
          <a:solidFill>
            <a:schemeClr val="tx1"/>
          </a:solidFill>
          <a:latin typeface="+mn-lt"/>
          <a:ea typeface="+mn-ea"/>
          <a:cs typeface="+mn-cs"/>
        </a:defRPr>
      </a:lvl3pPr>
      <a:lvl4pPr marL="2783082" algn="l" defTabSz="927696" rtl="0" eaLnBrk="1" latinLnBrk="0" hangingPunct="1">
        <a:defRPr sz="3738" kern="1200">
          <a:solidFill>
            <a:schemeClr val="tx1"/>
          </a:solidFill>
          <a:latin typeface="+mn-lt"/>
          <a:ea typeface="+mn-ea"/>
          <a:cs typeface="+mn-cs"/>
        </a:defRPr>
      </a:lvl4pPr>
      <a:lvl5pPr marL="3710774" algn="l" defTabSz="927696" rtl="0" eaLnBrk="1" latinLnBrk="0" hangingPunct="1">
        <a:defRPr sz="3738" kern="1200">
          <a:solidFill>
            <a:schemeClr val="tx1"/>
          </a:solidFill>
          <a:latin typeface="+mn-lt"/>
          <a:ea typeface="+mn-ea"/>
          <a:cs typeface="+mn-cs"/>
        </a:defRPr>
      </a:lvl5pPr>
      <a:lvl6pPr marL="4638469" algn="l" defTabSz="927696" rtl="0" eaLnBrk="1" latinLnBrk="0" hangingPunct="1">
        <a:defRPr sz="3738" kern="1200">
          <a:solidFill>
            <a:schemeClr val="tx1"/>
          </a:solidFill>
          <a:latin typeface="+mn-lt"/>
          <a:ea typeface="+mn-ea"/>
          <a:cs typeface="+mn-cs"/>
        </a:defRPr>
      </a:lvl6pPr>
      <a:lvl7pPr marL="5566162" algn="l" defTabSz="927696" rtl="0" eaLnBrk="1" latinLnBrk="0" hangingPunct="1">
        <a:defRPr sz="3738" kern="1200">
          <a:solidFill>
            <a:schemeClr val="tx1"/>
          </a:solidFill>
          <a:latin typeface="+mn-lt"/>
          <a:ea typeface="+mn-ea"/>
          <a:cs typeface="+mn-cs"/>
        </a:defRPr>
      </a:lvl7pPr>
      <a:lvl8pPr marL="6493854" algn="l" defTabSz="927696" rtl="0" eaLnBrk="1" latinLnBrk="0" hangingPunct="1">
        <a:defRPr sz="3738" kern="1200">
          <a:solidFill>
            <a:schemeClr val="tx1"/>
          </a:solidFill>
          <a:latin typeface="+mn-lt"/>
          <a:ea typeface="+mn-ea"/>
          <a:cs typeface="+mn-cs"/>
        </a:defRPr>
      </a:lvl8pPr>
      <a:lvl9pPr marL="7421547" algn="l" defTabSz="927696" rtl="0" eaLnBrk="1" latinLnBrk="0" hangingPunct="1">
        <a:defRPr sz="3738"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686207B-8B54-7941-879A-652855E65BA2}"/>
              </a:ext>
            </a:extLst>
          </p:cNvPr>
          <p:cNvGraphicFramePr>
            <a:graphicFrameLocks noChangeAspect="1"/>
          </p:cNvGraphicFramePr>
          <p:nvPr userDrawn="1">
            <p:custDataLst>
              <p:tags r:id="rId20"/>
            </p:custDataLst>
            <p:extLst>
              <p:ext uri="{D42A27DB-BD31-4B8C-83A1-F6EECF244321}">
                <p14:modId xmlns:p14="http://schemas.microsoft.com/office/powerpoint/2010/main" val="15119256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29" name="think-cell Slide" r:id="rId22" imgW="7772400" imgH="10058400" progId="TCLayout.ActiveDocument.1">
                  <p:embed/>
                </p:oleObj>
              </mc:Choice>
              <mc:Fallback>
                <p:oleObj name="think-cell Slide" r:id="rId22" imgW="7772400" imgH="10058400" progId="TCLayout.ActiveDocument.1">
                  <p:embed/>
                  <p:pic>
                    <p:nvPicPr>
                      <p:cNvPr id="5" name="Object 4" hidden="1">
                        <a:extLst>
                          <a:ext uri="{FF2B5EF4-FFF2-40B4-BE49-F238E27FC236}">
                            <a16:creationId xmlns:a16="http://schemas.microsoft.com/office/drawing/2014/main" id="{8686207B-8B54-7941-879A-652855E65BA2}"/>
                          </a:ext>
                        </a:extLst>
                      </p:cNvPr>
                      <p:cNvPicPr/>
                      <p:nvPr/>
                    </p:nvPicPr>
                    <p:blipFill>
                      <a:blip r:embed="rId23"/>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D75489-641B-B747-A08D-D46E30289FAF}"/>
              </a:ext>
            </a:extLst>
          </p:cNvPr>
          <p:cNvSpPr/>
          <p:nvPr userDrawn="1">
            <p:custDataLst>
              <p:tags r:id="rId21"/>
            </p:custDataLst>
          </p:nvPr>
        </p:nvSpPr>
        <p:spPr>
          <a:xfrm>
            <a:off x="0" y="0"/>
            <a:ext cx="158750" cy="158750"/>
          </a:xfrm>
          <a:prstGeom prst="rect">
            <a:avLst/>
          </a:prstGeom>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7074" b="0" i="0" baseline="0" dirty="0">
              <a:latin typeface="Calibri" panose="020F0502020204030204" pitchFamily="34" charset="0"/>
              <a:ea typeface="+mj-ea"/>
              <a:sym typeface="Calibri" panose="020F0502020204030204" pitchFamily="34" charset="0"/>
            </a:endParaRPr>
          </a:p>
        </p:txBody>
      </p:sp>
      <p:sp>
        <p:nvSpPr>
          <p:cNvPr id="2" name="Title Placeholder 1"/>
          <p:cNvSpPr>
            <a:spLocks noGrp="1"/>
          </p:cNvSpPr>
          <p:nvPr>
            <p:ph type="title"/>
          </p:nvPr>
        </p:nvSpPr>
        <p:spPr>
          <a:xfrm>
            <a:off x="1382160" y="1159061"/>
            <a:ext cx="17339786" cy="1072088"/>
          </a:xfrm>
          <a:prstGeom prst="rect">
            <a:avLst/>
          </a:prstGeom>
        </p:spPr>
        <p:txBody>
          <a:bodyPr vert="horz" lIns="91440" tIns="45720" rIns="91440" bIns="45720" rtlCol="0" anchor="ctr">
            <a:spAutoFit/>
          </a:bodyPr>
          <a:lstStyle/>
          <a:p>
            <a:r>
              <a:rPr lang="en-US" dirty="0"/>
              <a:t>Click to edit Master title style</a:t>
            </a:r>
          </a:p>
        </p:txBody>
      </p:sp>
      <p:sp>
        <p:nvSpPr>
          <p:cNvPr id="3" name="Text Placeholder 2"/>
          <p:cNvSpPr>
            <a:spLocks noGrp="1"/>
          </p:cNvSpPr>
          <p:nvPr>
            <p:ph type="body" idx="1"/>
          </p:nvPr>
        </p:nvSpPr>
        <p:spPr>
          <a:xfrm>
            <a:off x="1382160" y="3010597"/>
            <a:ext cx="17339786" cy="2980672"/>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Slide Number Placeholder 14"/>
          <p:cNvSpPr txBox="1">
            <a:spLocks/>
          </p:cNvSpPr>
          <p:nvPr userDrawn="1"/>
        </p:nvSpPr>
        <p:spPr>
          <a:xfrm>
            <a:off x="14765561" y="10803077"/>
            <a:ext cx="4523423" cy="297133"/>
          </a:xfrm>
          <a:prstGeom prst="rect">
            <a:avLst/>
          </a:prstGeom>
        </p:spPr>
        <p:txBody>
          <a:bodyPr vert="horz" lIns="0" tIns="0" rIns="0" bIns="0" rtlCol="0" anchor="ctr">
            <a:spAutoFit/>
          </a:bodyPr>
          <a:lstStyle>
            <a:defPPr>
              <a:defRPr lang="en-US"/>
            </a:defPPr>
            <a:lvl1pPr algn="ctr">
              <a:defRPr sz="1200" b="1">
                <a:solidFill>
                  <a:schemeClr val="bg1">
                    <a:lumMod val="65000"/>
                  </a:schemeClr>
                </a:solidFill>
                <a:latin typeface="Calibri" panose="020F0502020204030204" pitchFamily="34" charset="0"/>
                <a:cs typeface="Calibri" panose="020F0502020204030204" pitchFamily="34" charset="0"/>
              </a:defRPr>
            </a:lvl1pPr>
          </a:lstStyle>
          <a:p>
            <a:pPr lvl="0" algn="r"/>
            <a:fld id="{AB27A2A4-8B22-45DF-BF96-33C6715BEF74}" type="slidenum">
              <a:rPr lang="en-US" sz="1931" smtClean="0"/>
              <a:pPr lvl="0" algn="r"/>
              <a:t>‹#›</a:t>
            </a:fld>
            <a:endParaRPr lang="en-US" sz="1931" dirty="0"/>
          </a:p>
        </p:txBody>
      </p:sp>
      <p:sp>
        <p:nvSpPr>
          <p:cNvPr id="11" name="Slide Number Placeholder 5"/>
          <p:cNvSpPr txBox="1">
            <a:spLocks/>
          </p:cNvSpPr>
          <p:nvPr userDrawn="1"/>
        </p:nvSpPr>
        <p:spPr>
          <a:xfrm>
            <a:off x="7799564" y="10803077"/>
            <a:ext cx="4523423" cy="297133"/>
          </a:xfrm>
          <a:prstGeom prst="rect">
            <a:avLst/>
          </a:prstGeom>
        </p:spPr>
        <p:txBody>
          <a:bodyPr vert="horz" lIns="0" tIns="0" rIns="0" bIns="0" rtlCol="0" anchor="ctr">
            <a:spAutoFit/>
          </a:bodyPr>
          <a:lstStyle>
            <a:defPPr>
              <a:defRPr lang="en-US"/>
            </a:defPPr>
            <a:lvl1pPr marL="0" algn="l" defTabSz="914400" rtl="0" eaLnBrk="1" latinLnBrk="0" hangingPunct="1">
              <a:defRPr lang="en-US" sz="1200" b="1" kern="1200" smtClean="0">
                <a:solidFill>
                  <a:schemeClr val="bg1">
                    <a:lumMod val="65000"/>
                  </a:schemeClr>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931" dirty="0"/>
              <a:t>Strictly</a:t>
            </a:r>
            <a:r>
              <a:rPr lang="en-US" sz="1931" baseline="0" dirty="0"/>
              <a:t> Confidential</a:t>
            </a:r>
            <a:endParaRPr lang="en-US" sz="1931" dirty="0"/>
          </a:p>
        </p:txBody>
      </p:sp>
      <p:sp>
        <p:nvSpPr>
          <p:cNvPr id="12" name="Slide Number Placeholder 5"/>
          <p:cNvSpPr txBox="1">
            <a:spLocks/>
          </p:cNvSpPr>
          <p:nvPr userDrawn="1"/>
        </p:nvSpPr>
        <p:spPr>
          <a:xfrm>
            <a:off x="658386" y="10803077"/>
            <a:ext cx="6168176" cy="297133"/>
          </a:xfrm>
          <a:prstGeom prst="rect">
            <a:avLst/>
          </a:prstGeom>
        </p:spPr>
        <p:txBody>
          <a:bodyPr vert="horz" wrap="square" lIns="0" tIns="0" rIns="0" bIns="0" rtlCol="0" anchor="ctr">
            <a:spAutoFit/>
          </a:bodyPr>
          <a:lstStyle>
            <a:defPPr>
              <a:defRPr lang="en-US"/>
            </a:defPPr>
            <a:lvl1pPr marL="0" algn="l" defTabSz="914400" rtl="0" eaLnBrk="1" latinLnBrk="0" hangingPunct="1">
              <a:defRPr lang="en-US" sz="1200" b="1" kern="1200" smtClean="0">
                <a:solidFill>
                  <a:schemeClr val="bg1">
                    <a:lumMod val="65000"/>
                  </a:schemeClr>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1931" dirty="0"/>
              <a:t>CEx &amp; Service Performance</a:t>
            </a:r>
            <a:endParaRPr lang="en-US" sz="1931" dirty="0"/>
          </a:p>
        </p:txBody>
      </p:sp>
    </p:spTree>
    <p:extLst>
      <p:ext uri="{BB962C8B-B14F-4D97-AF65-F5344CB8AC3E}">
        <p14:creationId xmlns:p14="http://schemas.microsoft.com/office/powerpoint/2010/main" val="1285676941"/>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 id="2147483750" r:id="rId9"/>
    <p:sldLayoutId id="2147483751" r:id="rId10"/>
    <p:sldLayoutId id="2147483752" r:id="rId11"/>
    <p:sldLayoutId id="2147483753" r:id="rId12"/>
    <p:sldLayoutId id="2147483754" r:id="rId13"/>
    <p:sldLayoutId id="2147483755" r:id="rId14"/>
    <p:sldLayoutId id="2147483756" r:id="rId15"/>
    <p:sldLayoutId id="2147483757" r:id="rId16"/>
    <p:sldLayoutId id="2147483758" r:id="rId17"/>
  </p:sldLayoutIdLst>
  <p:hf hdr="0" ftr="0" dt="0"/>
  <p:txStyles>
    <p:titleStyle>
      <a:lvl1pPr algn="l" defTabSz="1470168" rtl="0" eaLnBrk="1" latinLnBrk="0" hangingPunct="1">
        <a:lnSpc>
          <a:spcPct val="90000"/>
        </a:lnSpc>
        <a:spcBef>
          <a:spcPct val="0"/>
        </a:spcBef>
        <a:buNone/>
        <a:defRPr sz="7074" kern="1200" baseline="0">
          <a:solidFill>
            <a:schemeClr val="tx1"/>
          </a:solidFill>
          <a:latin typeface="Calibri" panose="020F0502020204030204" pitchFamily="34" charset="0"/>
          <a:ea typeface="+mj-ea"/>
          <a:cs typeface="Calibri" panose="020F0502020204030204" pitchFamily="34" charset="0"/>
        </a:defRPr>
      </a:lvl1pPr>
    </p:titleStyle>
    <p:bodyStyle>
      <a:lvl1pPr marL="367542" indent="-367542" algn="l" defTabSz="1470168" rtl="0" eaLnBrk="1" latinLnBrk="0" hangingPunct="1">
        <a:lnSpc>
          <a:spcPct val="90000"/>
        </a:lnSpc>
        <a:spcBef>
          <a:spcPts val="1606"/>
        </a:spcBef>
        <a:buFont typeface="Arial" panose="020B0604020202020204" pitchFamily="34" charset="0"/>
        <a:buChar char="•"/>
        <a:defRPr sz="4503" kern="1200" baseline="0">
          <a:solidFill>
            <a:schemeClr val="tx1"/>
          </a:solidFill>
          <a:latin typeface="Calibri" panose="020F0502020204030204" pitchFamily="34" charset="0"/>
          <a:ea typeface="+mn-ea"/>
          <a:cs typeface="Calibri" panose="020F0502020204030204" pitchFamily="34" charset="0"/>
        </a:defRPr>
      </a:lvl1pPr>
      <a:lvl2pPr marL="1102625" indent="-367542" algn="l" defTabSz="1470168" rtl="0" eaLnBrk="1" latinLnBrk="0" hangingPunct="1">
        <a:lnSpc>
          <a:spcPct val="90000"/>
        </a:lnSpc>
        <a:spcBef>
          <a:spcPts val="805"/>
        </a:spcBef>
        <a:buFont typeface="Calibri" panose="020F0502020204030204" pitchFamily="34" charset="0"/>
        <a:buChar char="‐"/>
        <a:defRPr sz="3859" kern="1200" baseline="0">
          <a:solidFill>
            <a:schemeClr val="tx1"/>
          </a:solidFill>
          <a:latin typeface="Calibri" panose="020F0502020204030204" pitchFamily="34" charset="0"/>
          <a:ea typeface="+mn-ea"/>
          <a:cs typeface="Calibri" panose="020F0502020204030204" pitchFamily="34" charset="0"/>
        </a:defRPr>
      </a:lvl2pPr>
      <a:lvl3pPr marL="1837712" indent="-367542" algn="l" defTabSz="1470168" rtl="0" eaLnBrk="1" latinLnBrk="0" hangingPunct="1">
        <a:lnSpc>
          <a:spcPct val="90000"/>
        </a:lnSpc>
        <a:spcBef>
          <a:spcPts val="805"/>
        </a:spcBef>
        <a:buFont typeface="Arial" panose="020B0604020202020204" pitchFamily="34" charset="0"/>
        <a:buChar char="•"/>
        <a:defRPr sz="3217" kern="1200" baseline="0">
          <a:solidFill>
            <a:schemeClr val="tx1"/>
          </a:solidFill>
          <a:latin typeface="Calibri" panose="020F0502020204030204" pitchFamily="34" charset="0"/>
          <a:ea typeface="+mn-ea"/>
          <a:cs typeface="Calibri" panose="020F0502020204030204" pitchFamily="34" charset="0"/>
        </a:defRPr>
      </a:lvl3pPr>
      <a:lvl4pPr marL="2572793" indent="-367542" algn="l" defTabSz="1470168" rtl="0" eaLnBrk="1" latinLnBrk="0" hangingPunct="1">
        <a:lnSpc>
          <a:spcPct val="90000"/>
        </a:lnSpc>
        <a:spcBef>
          <a:spcPts val="805"/>
        </a:spcBef>
        <a:buFont typeface="Calibri" panose="020F0502020204030204" pitchFamily="34" charset="0"/>
        <a:buChar char="‐"/>
        <a:defRPr sz="2894" kern="1200" baseline="0">
          <a:solidFill>
            <a:schemeClr val="tx1"/>
          </a:solidFill>
          <a:latin typeface="Calibri" panose="020F0502020204030204" pitchFamily="34" charset="0"/>
          <a:ea typeface="+mn-ea"/>
          <a:cs typeface="Calibri" panose="020F0502020204030204" pitchFamily="34" charset="0"/>
        </a:defRPr>
      </a:lvl4pPr>
      <a:lvl5pPr marL="3307879" indent="-367542" algn="l" defTabSz="1470168" rtl="0" eaLnBrk="1" latinLnBrk="0" hangingPunct="1">
        <a:lnSpc>
          <a:spcPct val="90000"/>
        </a:lnSpc>
        <a:spcBef>
          <a:spcPts val="805"/>
        </a:spcBef>
        <a:buFont typeface="Arial" panose="020B0604020202020204" pitchFamily="34" charset="0"/>
        <a:buChar char="•"/>
        <a:defRPr sz="2894" kern="1200" baseline="0">
          <a:solidFill>
            <a:schemeClr val="tx1"/>
          </a:solidFill>
          <a:latin typeface="Calibri" panose="020F0502020204030204" pitchFamily="34" charset="0"/>
          <a:ea typeface="+mn-ea"/>
          <a:cs typeface="Calibri" panose="020F0502020204030204" pitchFamily="34" charset="0"/>
        </a:defRPr>
      </a:lvl5pPr>
      <a:lvl6pPr marL="4042962" indent="-367542" algn="l" defTabSz="1470168" rtl="0" eaLnBrk="1" latinLnBrk="0" hangingPunct="1">
        <a:lnSpc>
          <a:spcPct val="90000"/>
        </a:lnSpc>
        <a:spcBef>
          <a:spcPts val="805"/>
        </a:spcBef>
        <a:buFont typeface="Arial" panose="020B0604020202020204" pitchFamily="34" charset="0"/>
        <a:buChar char="•"/>
        <a:defRPr sz="2894" kern="1200">
          <a:solidFill>
            <a:schemeClr val="tx1"/>
          </a:solidFill>
          <a:latin typeface="+mn-lt"/>
          <a:ea typeface="+mn-ea"/>
          <a:cs typeface="+mn-cs"/>
        </a:defRPr>
      </a:lvl6pPr>
      <a:lvl7pPr marL="4778047" indent="-367542" algn="l" defTabSz="1470168" rtl="0" eaLnBrk="1" latinLnBrk="0" hangingPunct="1">
        <a:lnSpc>
          <a:spcPct val="90000"/>
        </a:lnSpc>
        <a:spcBef>
          <a:spcPts val="805"/>
        </a:spcBef>
        <a:buFont typeface="Arial" panose="020B0604020202020204" pitchFamily="34" charset="0"/>
        <a:buChar char="•"/>
        <a:defRPr sz="2894" kern="1200">
          <a:solidFill>
            <a:schemeClr val="tx1"/>
          </a:solidFill>
          <a:latin typeface="+mn-lt"/>
          <a:ea typeface="+mn-ea"/>
          <a:cs typeface="+mn-cs"/>
        </a:defRPr>
      </a:lvl7pPr>
      <a:lvl8pPr marL="5513130" indent="-367542" algn="l" defTabSz="1470168" rtl="0" eaLnBrk="1" latinLnBrk="0" hangingPunct="1">
        <a:lnSpc>
          <a:spcPct val="90000"/>
        </a:lnSpc>
        <a:spcBef>
          <a:spcPts val="805"/>
        </a:spcBef>
        <a:buFont typeface="Arial" panose="020B0604020202020204" pitchFamily="34" charset="0"/>
        <a:buChar char="•"/>
        <a:defRPr sz="2894" kern="1200">
          <a:solidFill>
            <a:schemeClr val="tx1"/>
          </a:solidFill>
          <a:latin typeface="+mn-lt"/>
          <a:ea typeface="+mn-ea"/>
          <a:cs typeface="+mn-cs"/>
        </a:defRPr>
      </a:lvl8pPr>
      <a:lvl9pPr marL="6248214" indent="-367542" algn="l" defTabSz="1470168" rtl="0" eaLnBrk="1" latinLnBrk="0" hangingPunct="1">
        <a:lnSpc>
          <a:spcPct val="90000"/>
        </a:lnSpc>
        <a:spcBef>
          <a:spcPts val="805"/>
        </a:spcBef>
        <a:buFont typeface="Arial" panose="020B0604020202020204" pitchFamily="34" charset="0"/>
        <a:buChar char="•"/>
        <a:defRPr sz="2894" kern="1200">
          <a:solidFill>
            <a:schemeClr val="tx1"/>
          </a:solidFill>
          <a:latin typeface="+mn-lt"/>
          <a:ea typeface="+mn-ea"/>
          <a:cs typeface="+mn-cs"/>
        </a:defRPr>
      </a:lvl9pPr>
    </p:bodyStyle>
    <p:otherStyle>
      <a:defPPr>
        <a:defRPr lang="en-US"/>
      </a:defPPr>
      <a:lvl1pPr marL="0" algn="l" defTabSz="1470168" rtl="0" eaLnBrk="1" latinLnBrk="0" hangingPunct="1">
        <a:defRPr sz="2894" kern="1200">
          <a:solidFill>
            <a:schemeClr val="tx1"/>
          </a:solidFill>
          <a:latin typeface="+mn-lt"/>
          <a:ea typeface="+mn-ea"/>
          <a:cs typeface="+mn-cs"/>
        </a:defRPr>
      </a:lvl1pPr>
      <a:lvl2pPr marL="735085" algn="l" defTabSz="1470168" rtl="0" eaLnBrk="1" latinLnBrk="0" hangingPunct="1">
        <a:defRPr sz="2894" kern="1200">
          <a:solidFill>
            <a:schemeClr val="tx1"/>
          </a:solidFill>
          <a:latin typeface="+mn-lt"/>
          <a:ea typeface="+mn-ea"/>
          <a:cs typeface="+mn-cs"/>
        </a:defRPr>
      </a:lvl2pPr>
      <a:lvl3pPr marL="1470168" algn="l" defTabSz="1470168" rtl="0" eaLnBrk="1" latinLnBrk="0" hangingPunct="1">
        <a:defRPr sz="2894" kern="1200">
          <a:solidFill>
            <a:schemeClr val="tx1"/>
          </a:solidFill>
          <a:latin typeface="+mn-lt"/>
          <a:ea typeface="+mn-ea"/>
          <a:cs typeface="+mn-cs"/>
        </a:defRPr>
      </a:lvl3pPr>
      <a:lvl4pPr marL="2205254" algn="l" defTabSz="1470168" rtl="0" eaLnBrk="1" latinLnBrk="0" hangingPunct="1">
        <a:defRPr sz="2894" kern="1200">
          <a:solidFill>
            <a:schemeClr val="tx1"/>
          </a:solidFill>
          <a:latin typeface="+mn-lt"/>
          <a:ea typeface="+mn-ea"/>
          <a:cs typeface="+mn-cs"/>
        </a:defRPr>
      </a:lvl4pPr>
      <a:lvl5pPr marL="2940337" algn="l" defTabSz="1470168" rtl="0" eaLnBrk="1" latinLnBrk="0" hangingPunct="1">
        <a:defRPr sz="2894" kern="1200">
          <a:solidFill>
            <a:schemeClr val="tx1"/>
          </a:solidFill>
          <a:latin typeface="+mn-lt"/>
          <a:ea typeface="+mn-ea"/>
          <a:cs typeface="+mn-cs"/>
        </a:defRPr>
      </a:lvl5pPr>
      <a:lvl6pPr marL="3675421" algn="l" defTabSz="1470168" rtl="0" eaLnBrk="1" latinLnBrk="0" hangingPunct="1">
        <a:defRPr sz="2894" kern="1200">
          <a:solidFill>
            <a:schemeClr val="tx1"/>
          </a:solidFill>
          <a:latin typeface="+mn-lt"/>
          <a:ea typeface="+mn-ea"/>
          <a:cs typeface="+mn-cs"/>
        </a:defRPr>
      </a:lvl6pPr>
      <a:lvl7pPr marL="4410504" algn="l" defTabSz="1470168" rtl="0" eaLnBrk="1" latinLnBrk="0" hangingPunct="1">
        <a:defRPr sz="2894" kern="1200">
          <a:solidFill>
            <a:schemeClr val="tx1"/>
          </a:solidFill>
          <a:latin typeface="+mn-lt"/>
          <a:ea typeface="+mn-ea"/>
          <a:cs typeface="+mn-cs"/>
        </a:defRPr>
      </a:lvl7pPr>
      <a:lvl8pPr marL="5145589" algn="l" defTabSz="1470168" rtl="0" eaLnBrk="1" latinLnBrk="0" hangingPunct="1">
        <a:defRPr sz="2894" kern="1200">
          <a:solidFill>
            <a:schemeClr val="tx1"/>
          </a:solidFill>
          <a:latin typeface="+mn-lt"/>
          <a:ea typeface="+mn-ea"/>
          <a:cs typeface="+mn-cs"/>
        </a:defRPr>
      </a:lvl8pPr>
      <a:lvl9pPr marL="5880672" algn="l" defTabSz="1470168" rtl="0" eaLnBrk="1" latinLnBrk="0" hangingPunct="1">
        <a:defRPr sz="2894"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4"/>
            </p:custDataLst>
            <p:extLst>
              <p:ext uri="{D42A27DB-BD31-4B8C-83A1-F6EECF244321}">
                <p14:modId xmlns:p14="http://schemas.microsoft.com/office/powerpoint/2010/main" val="3981694336"/>
              </p:ext>
            </p:extLst>
          </p:nvPr>
        </p:nvGraphicFramePr>
        <p:xfrm>
          <a:off x="3494" y="2625"/>
          <a:ext cx="3489" cy="2617"/>
        </p:xfrm>
        <a:graphic>
          <a:graphicData uri="http://schemas.openxmlformats.org/presentationml/2006/ole">
            <mc:AlternateContent xmlns:mc="http://schemas.openxmlformats.org/markup-compatibility/2006">
              <mc:Choice xmlns:v="urn:schemas-microsoft-com:vml" Requires="v">
                <p:oleObj spid="_x0000_s5277" name="think-cell Slide" r:id="rId16" imgW="360" imgH="360" progId="TCLayout.ActiveDocument.1">
                  <p:embed/>
                </p:oleObj>
              </mc:Choice>
              <mc:Fallback>
                <p:oleObj name="think-cell Slide" r:id="rId16" imgW="360" imgH="360" progId="TCLayout.ActiveDocument.1">
                  <p:embed/>
                  <p:pic>
                    <p:nvPicPr>
                      <p:cNvPr id="7" name="Object 6"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3494" y="2625"/>
                        <a:ext cx="3489" cy="261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a:extLst>
              <a:ext uri="{FF2B5EF4-FFF2-40B4-BE49-F238E27FC236}">
                <a16:creationId xmlns:a16="http://schemas.microsoft.com/office/drawing/2014/main" id="{E2D9AEA1-5647-BE48-9545-6026AC355133}"/>
              </a:ext>
            </a:extLst>
          </p:cNvPr>
          <p:cNvSpPr/>
          <p:nvPr userDrawn="1">
            <p:custDataLst>
              <p:tags r:id="rId15"/>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US" sz="9015" b="0" i="0" baseline="0" dirty="0">
              <a:latin typeface="Calibri" panose="020F0502020204030204" pitchFamily="34" charset="0"/>
              <a:ea typeface="宋体" panose="02010600030101010101" pitchFamily="2" charset="-122"/>
              <a:sym typeface="Calibri" panose="020F0502020204030204" pitchFamily="34" charset="0"/>
            </a:endParaRPr>
          </a:p>
        </p:txBody>
      </p:sp>
      <p:sp>
        <p:nvSpPr>
          <p:cNvPr id="2" name="Title Placeholder 1"/>
          <p:cNvSpPr>
            <a:spLocks noGrp="1"/>
          </p:cNvSpPr>
          <p:nvPr>
            <p:ph type="title"/>
          </p:nvPr>
        </p:nvSpPr>
        <p:spPr>
          <a:xfrm>
            <a:off x="1005205" y="452897"/>
            <a:ext cx="18093690" cy="1884892"/>
          </a:xfrm>
          <a:prstGeom prst="rect">
            <a:avLst/>
          </a:prstGeom>
        </p:spPr>
        <p:txBody>
          <a:bodyPr vert="horz" lIns="68564" tIns="34283" rIns="68564" bIns="34283" rtlCol="0" anchor="ctr">
            <a:normAutofit/>
          </a:bodyPr>
          <a:lstStyle/>
          <a:p>
            <a:r>
              <a:rPr lang="en-US"/>
              <a:t>Click to edit Master title style</a:t>
            </a:r>
          </a:p>
        </p:txBody>
      </p:sp>
      <p:sp>
        <p:nvSpPr>
          <p:cNvPr id="3" name="Text Placeholder 2"/>
          <p:cNvSpPr>
            <a:spLocks noGrp="1"/>
          </p:cNvSpPr>
          <p:nvPr>
            <p:ph type="body" idx="1"/>
          </p:nvPr>
        </p:nvSpPr>
        <p:spPr>
          <a:xfrm>
            <a:off x="1005205" y="2638856"/>
            <a:ext cx="18093690" cy="7463648"/>
          </a:xfrm>
          <a:prstGeom prst="rect">
            <a:avLst/>
          </a:prstGeom>
        </p:spPr>
        <p:txBody>
          <a:bodyPr vert="horz" lIns="68564" tIns="34283" rIns="68564" bIns="34283"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1005206" y="10482096"/>
            <a:ext cx="4690957" cy="602118"/>
          </a:xfrm>
          <a:prstGeom prst="rect">
            <a:avLst/>
          </a:prstGeom>
        </p:spPr>
        <p:txBody>
          <a:bodyPr vert="horz" lIns="68564" tIns="34283" rIns="68564" bIns="34283" rtlCol="0" anchor="ctr"/>
          <a:lstStyle>
            <a:lvl1pPr algn="l" defTabSz="927696">
              <a:defRPr sz="2419">
                <a:solidFill>
                  <a:schemeClr val="tx1">
                    <a:tint val="75000"/>
                  </a:schemeClr>
                </a:solidFill>
              </a:defRPr>
            </a:lvl1pPr>
          </a:lstStyle>
          <a:p>
            <a:fld id="{A2EF132C-2780-664E-9A59-003B099F3999}" type="datetimeFigureOut">
              <a:rPr lang="en-US" smtClean="0">
                <a:solidFill>
                  <a:prstClr val="black">
                    <a:tint val="75000"/>
                  </a:prstClr>
                </a:solidFill>
                <a:cs typeface="Arial" pitchFamily="34" charset="0"/>
              </a:rPr>
              <a:pPr/>
              <a:t>10/26/2020</a:t>
            </a:fld>
            <a:endParaRPr lang="en-US" dirty="0">
              <a:solidFill>
                <a:prstClr val="black">
                  <a:tint val="75000"/>
                </a:prstClr>
              </a:solidFill>
              <a:cs typeface="Arial" pitchFamily="34" charset="0"/>
            </a:endParaRPr>
          </a:p>
        </p:txBody>
      </p:sp>
      <p:sp>
        <p:nvSpPr>
          <p:cNvPr id="5" name="Footer Placeholder 4"/>
          <p:cNvSpPr>
            <a:spLocks noGrp="1"/>
          </p:cNvSpPr>
          <p:nvPr>
            <p:ph type="ftr" sz="quarter" idx="3"/>
          </p:nvPr>
        </p:nvSpPr>
        <p:spPr>
          <a:xfrm>
            <a:off x="6868901" y="10482096"/>
            <a:ext cx="6366298" cy="602118"/>
          </a:xfrm>
          <a:prstGeom prst="rect">
            <a:avLst/>
          </a:prstGeom>
        </p:spPr>
        <p:txBody>
          <a:bodyPr vert="horz" lIns="68564" tIns="34283" rIns="68564" bIns="34283" rtlCol="0" anchor="ctr"/>
          <a:lstStyle>
            <a:lvl1pPr algn="ctr" defTabSz="927696">
              <a:defRPr sz="2419">
                <a:solidFill>
                  <a:schemeClr val="tx1">
                    <a:tint val="75000"/>
                  </a:schemeClr>
                </a:solidFill>
              </a:defRPr>
            </a:lvl1pPr>
          </a:lstStyle>
          <a:p>
            <a:endParaRPr lang="en-US" dirty="0">
              <a:solidFill>
                <a:prstClr val="black">
                  <a:tint val="75000"/>
                </a:prstClr>
              </a:solidFill>
              <a:cs typeface="Arial" pitchFamily="34" charset="0"/>
            </a:endParaRPr>
          </a:p>
        </p:txBody>
      </p:sp>
      <p:sp>
        <p:nvSpPr>
          <p:cNvPr id="6" name="Slide Number Placeholder 5"/>
          <p:cNvSpPr>
            <a:spLocks noGrp="1"/>
          </p:cNvSpPr>
          <p:nvPr>
            <p:ph type="sldNum" sz="quarter" idx="4"/>
          </p:nvPr>
        </p:nvSpPr>
        <p:spPr>
          <a:xfrm>
            <a:off x="14407938" y="10482096"/>
            <a:ext cx="4690957" cy="602118"/>
          </a:xfrm>
          <a:prstGeom prst="rect">
            <a:avLst/>
          </a:prstGeom>
        </p:spPr>
        <p:txBody>
          <a:bodyPr vert="horz" lIns="68564" tIns="34283" rIns="68564" bIns="34283" rtlCol="0" anchor="ctr"/>
          <a:lstStyle>
            <a:lvl1pPr algn="r" defTabSz="927696">
              <a:defRPr sz="2419">
                <a:solidFill>
                  <a:schemeClr val="tx1">
                    <a:tint val="75000"/>
                  </a:schemeClr>
                </a:solidFill>
              </a:defRPr>
            </a:lvl1pPr>
          </a:lstStyle>
          <a:p>
            <a:fld id="{335DFBAA-DD0B-634B-90CF-5D0212EFD58F}" type="slidenum">
              <a:rPr lang="en-US" smtClean="0">
                <a:solidFill>
                  <a:prstClr val="black">
                    <a:tint val="75000"/>
                  </a:prstClr>
                </a:solidFill>
                <a:cs typeface="Arial" pitchFamily="34" charset="0"/>
              </a:rPr>
              <a:pPr/>
              <a:t>‹#›</a:t>
            </a:fld>
            <a:endParaRPr lang="en-US" dirty="0">
              <a:solidFill>
                <a:prstClr val="black">
                  <a:tint val="75000"/>
                </a:prstClr>
              </a:solidFill>
              <a:cs typeface="Arial" pitchFamily="34" charset="0"/>
            </a:endParaRPr>
          </a:p>
        </p:txBody>
      </p:sp>
    </p:spTree>
    <p:extLst>
      <p:ext uri="{BB962C8B-B14F-4D97-AF65-F5344CB8AC3E}">
        <p14:creationId xmlns:p14="http://schemas.microsoft.com/office/powerpoint/2010/main" val="472767760"/>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73" r:id="rId8"/>
    <p:sldLayoutId id="2147483778" r:id="rId9"/>
    <p:sldLayoutId id="2147483798" r:id="rId10"/>
    <p:sldLayoutId id="2147483803" r:id="rId11"/>
  </p:sldLayoutIdLst>
  <p:txStyles>
    <p:titleStyle>
      <a:lvl1pPr algn="ctr" defTabSz="927696" rtl="0" eaLnBrk="1" latinLnBrk="0" hangingPunct="1">
        <a:spcBef>
          <a:spcPct val="0"/>
        </a:spcBef>
        <a:buNone/>
        <a:defRPr sz="9015" kern="1200">
          <a:solidFill>
            <a:schemeClr val="tx1"/>
          </a:solidFill>
          <a:latin typeface="+mj-lt"/>
          <a:ea typeface="+mj-ea"/>
          <a:cs typeface="+mj-cs"/>
        </a:defRPr>
      </a:lvl1pPr>
    </p:titleStyle>
    <p:bodyStyle>
      <a:lvl1pPr marL="695771" indent="-695771" algn="l" defTabSz="927696" rtl="0" eaLnBrk="1" latinLnBrk="0" hangingPunct="1">
        <a:spcBef>
          <a:spcPct val="20000"/>
        </a:spcBef>
        <a:buFont typeface="Arial"/>
        <a:buChar char="•"/>
        <a:defRPr sz="6596" kern="1200">
          <a:solidFill>
            <a:schemeClr val="tx1"/>
          </a:solidFill>
          <a:latin typeface="+mn-lt"/>
          <a:ea typeface="+mn-ea"/>
          <a:cs typeface="+mn-cs"/>
        </a:defRPr>
      </a:lvl1pPr>
      <a:lvl2pPr marL="1507503" indent="-579807" algn="l" defTabSz="927696" rtl="0" eaLnBrk="1" latinLnBrk="0" hangingPunct="1">
        <a:spcBef>
          <a:spcPct val="20000"/>
        </a:spcBef>
        <a:buFont typeface="Arial"/>
        <a:buChar char="–"/>
        <a:defRPr sz="5717" kern="1200">
          <a:solidFill>
            <a:schemeClr val="tx1"/>
          </a:solidFill>
          <a:latin typeface="+mn-lt"/>
          <a:ea typeface="+mn-ea"/>
          <a:cs typeface="+mn-cs"/>
        </a:defRPr>
      </a:lvl2pPr>
      <a:lvl3pPr marL="2319233" indent="-463847" algn="l" defTabSz="927696" rtl="0" eaLnBrk="1" latinLnBrk="0" hangingPunct="1">
        <a:spcBef>
          <a:spcPct val="20000"/>
        </a:spcBef>
        <a:buFont typeface="Arial"/>
        <a:buChar char="•"/>
        <a:defRPr sz="4837" kern="1200">
          <a:solidFill>
            <a:schemeClr val="tx1"/>
          </a:solidFill>
          <a:latin typeface="+mn-lt"/>
          <a:ea typeface="+mn-ea"/>
          <a:cs typeface="+mn-cs"/>
        </a:defRPr>
      </a:lvl3pPr>
      <a:lvl4pPr marL="3246926" indent="-463847" algn="l" defTabSz="927696" rtl="0" eaLnBrk="1" latinLnBrk="0" hangingPunct="1">
        <a:spcBef>
          <a:spcPct val="20000"/>
        </a:spcBef>
        <a:buFont typeface="Arial"/>
        <a:buChar char="–"/>
        <a:defRPr sz="3958" kern="1200">
          <a:solidFill>
            <a:schemeClr val="tx1"/>
          </a:solidFill>
          <a:latin typeface="+mn-lt"/>
          <a:ea typeface="+mn-ea"/>
          <a:cs typeface="+mn-cs"/>
        </a:defRPr>
      </a:lvl4pPr>
      <a:lvl5pPr marL="4174618" indent="-463847" algn="l" defTabSz="927696" rtl="0" eaLnBrk="1" latinLnBrk="0" hangingPunct="1">
        <a:spcBef>
          <a:spcPct val="20000"/>
        </a:spcBef>
        <a:buFont typeface="Arial"/>
        <a:buChar char="»"/>
        <a:defRPr sz="3958" kern="1200">
          <a:solidFill>
            <a:schemeClr val="tx1"/>
          </a:solidFill>
          <a:latin typeface="+mn-lt"/>
          <a:ea typeface="+mn-ea"/>
          <a:cs typeface="+mn-cs"/>
        </a:defRPr>
      </a:lvl5pPr>
      <a:lvl6pPr marL="5102311" indent="-463847" algn="l" defTabSz="927696" rtl="0" eaLnBrk="1" latinLnBrk="0" hangingPunct="1">
        <a:spcBef>
          <a:spcPct val="20000"/>
        </a:spcBef>
        <a:buFont typeface="Arial"/>
        <a:buChar char="•"/>
        <a:defRPr sz="3958" kern="1200">
          <a:solidFill>
            <a:schemeClr val="tx1"/>
          </a:solidFill>
          <a:latin typeface="+mn-lt"/>
          <a:ea typeface="+mn-ea"/>
          <a:cs typeface="+mn-cs"/>
        </a:defRPr>
      </a:lvl6pPr>
      <a:lvl7pPr marL="6030007" indent="-463847" algn="l" defTabSz="927696" rtl="0" eaLnBrk="1" latinLnBrk="0" hangingPunct="1">
        <a:spcBef>
          <a:spcPct val="20000"/>
        </a:spcBef>
        <a:buFont typeface="Arial"/>
        <a:buChar char="•"/>
        <a:defRPr sz="3958" kern="1200">
          <a:solidFill>
            <a:schemeClr val="tx1"/>
          </a:solidFill>
          <a:latin typeface="+mn-lt"/>
          <a:ea typeface="+mn-ea"/>
          <a:cs typeface="+mn-cs"/>
        </a:defRPr>
      </a:lvl7pPr>
      <a:lvl8pPr marL="6957700" indent="-463847" algn="l" defTabSz="927696" rtl="0" eaLnBrk="1" latinLnBrk="0" hangingPunct="1">
        <a:spcBef>
          <a:spcPct val="20000"/>
        </a:spcBef>
        <a:buFont typeface="Arial"/>
        <a:buChar char="•"/>
        <a:defRPr sz="3958" kern="1200">
          <a:solidFill>
            <a:schemeClr val="tx1"/>
          </a:solidFill>
          <a:latin typeface="+mn-lt"/>
          <a:ea typeface="+mn-ea"/>
          <a:cs typeface="+mn-cs"/>
        </a:defRPr>
      </a:lvl8pPr>
      <a:lvl9pPr marL="7885393" indent="-463847" algn="l" defTabSz="927696" rtl="0" eaLnBrk="1" latinLnBrk="0" hangingPunct="1">
        <a:spcBef>
          <a:spcPct val="20000"/>
        </a:spcBef>
        <a:buFont typeface="Arial"/>
        <a:buChar char="•"/>
        <a:defRPr sz="3958" kern="1200">
          <a:solidFill>
            <a:schemeClr val="tx1"/>
          </a:solidFill>
          <a:latin typeface="+mn-lt"/>
          <a:ea typeface="+mn-ea"/>
          <a:cs typeface="+mn-cs"/>
        </a:defRPr>
      </a:lvl9pPr>
    </p:bodyStyle>
    <p:otherStyle>
      <a:defPPr>
        <a:defRPr lang="en-US"/>
      </a:defPPr>
      <a:lvl1pPr marL="0" algn="l" defTabSz="927696" rtl="0" eaLnBrk="1" latinLnBrk="0" hangingPunct="1">
        <a:defRPr sz="3738" kern="1200">
          <a:solidFill>
            <a:schemeClr val="tx1"/>
          </a:solidFill>
          <a:latin typeface="+mn-lt"/>
          <a:ea typeface="+mn-ea"/>
          <a:cs typeface="+mn-cs"/>
        </a:defRPr>
      </a:lvl1pPr>
      <a:lvl2pPr marL="927696" algn="l" defTabSz="927696" rtl="0" eaLnBrk="1" latinLnBrk="0" hangingPunct="1">
        <a:defRPr sz="3738" kern="1200">
          <a:solidFill>
            <a:schemeClr val="tx1"/>
          </a:solidFill>
          <a:latin typeface="+mn-lt"/>
          <a:ea typeface="+mn-ea"/>
          <a:cs typeface="+mn-cs"/>
        </a:defRPr>
      </a:lvl2pPr>
      <a:lvl3pPr marL="1855389" algn="l" defTabSz="927696" rtl="0" eaLnBrk="1" latinLnBrk="0" hangingPunct="1">
        <a:defRPr sz="3738" kern="1200">
          <a:solidFill>
            <a:schemeClr val="tx1"/>
          </a:solidFill>
          <a:latin typeface="+mn-lt"/>
          <a:ea typeface="+mn-ea"/>
          <a:cs typeface="+mn-cs"/>
        </a:defRPr>
      </a:lvl3pPr>
      <a:lvl4pPr marL="2783082" algn="l" defTabSz="927696" rtl="0" eaLnBrk="1" latinLnBrk="0" hangingPunct="1">
        <a:defRPr sz="3738" kern="1200">
          <a:solidFill>
            <a:schemeClr val="tx1"/>
          </a:solidFill>
          <a:latin typeface="+mn-lt"/>
          <a:ea typeface="+mn-ea"/>
          <a:cs typeface="+mn-cs"/>
        </a:defRPr>
      </a:lvl4pPr>
      <a:lvl5pPr marL="3710774" algn="l" defTabSz="927696" rtl="0" eaLnBrk="1" latinLnBrk="0" hangingPunct="1">
        <a:defRPr sz="3738" kern="1200">
          <a:solidFill>
            <a:schemeClr val="tx1"/>
          </a:solidFill>
          <a:latin typeface="+mn-lt"/>
          <a:ea typeface="+mn-ea"/>
          <a:cs typeface="+mn-cs"/>
        </a:defRPr>
      </a:lvl5pPr>
      <a:lvl6pPr marL="4638469" algn="l" defTabSz="927696" rtl="0" eaLnBrk="1" latinLnBrk="0" hangingPunct="1">
        <a:defRPr sz="3738" kern="1200">
          <a:solidFill>
            <a:schemeClr val="tx1"/>
          </a:solidFill>
          <a:latin typeface="+mn-lt"/>
          <a:ea typeface="+mn-ea"/>
          <a:cs typeface="+mn-cs"/>
        </a:defRPr>
      </a:lvl6pPr>
      <a:lvl7pPr marL="5566162" algn="l" defTabSz="927696" rtl="0" eaLnBrk="1" latinLnBrk="0" hangingPunct="1">
        <a:defRPr sz="3738" kern="1200">
          <a:solidFill>
            <a:schemeClr val="tx1"/>
          </a:solidFill>
          <a:latin typeface="+mn-lt"/>
          <a:ea typeface="+mn-ea"/>
          <a:cs typeface="+mn-cs"/>
        </a:defRPr>
      </a:lvl7pPr>
      <a:lvl8pPr marL="6493854" algn="l" defTabSz="927696" rtl="0" eaLnBrk="1" latinLnBrk="0" hangingPunct="1">
        <a:defRPr sz="3738" kern="1200">
          <a:solidFill>
            <a:schemeClr val="tx1"/>
          </a:solidFill>
          <a:latin typeface="+mn-lt"/>
          <a:ea typeface="+mn-ea"/>
          <a:cs typeface="+mn-cs"/>
        </a:defRPr>
      </a:lvl8pPr>
      <a:lvl9pPr marL="7421547" algn="l" defTabSz="927696" rtl="0" eaLnBrk="1" latinLnBrk="0" hangingPunct="1">
        <a:defRPr sz="3738"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3245106-9CB0-4FEE-9D2A-3686C2F265C9}"/>
              </a:ext>
            </a:extLst>
          </p:cNvPr>
          <p:cNvGraphicFramePr>
            <a:graphicFrameLocks noChangeAspect="1"/>
          </p:cNvGraphicFramePr>
          <p:nvPr userDrawn="1">
            <p:custDataLst>
              <p:tags r:id="rId30"/>
            </p:custDataLst>
            <p:extLst>
              <p:ext uri="{D42A27DB-BD31-4B8C-83A1-F6EECF244321}">
                <p14:modId xmlns:p14="http://schemas.microsoft.com/office/powerpoint/2010/main" val="3488635516"/>
              </p:ext>
            </p:extLst>
          </p:nvPr>
        </p:nvGraphicFramePr>
        <p:xfrm>
          <a:off x="2618" y="2619"/>
          <a:ext cx="2619" cy="2619"/>
        </p:xfrm>
        <a:graphic>
          <a:graphicData uri="http://schemas.openxmlformats.org/presentationml/2006/ole">
            <mc:AlternateContent xmlns:mc="http://schemas.openxmlformats.org/markup-compatibility/2006">
              <mc:Choice xmlns:v="urn:schemas-microsoft-com:vml" Requires="v">
                <p:oleObj spid="_x0000_s105550" name="think-cell Slide" r:id="rId32" imgW="408" imgH="408" progId="TCLayout.ActiveDocument.1">
                  <p:embed/>
                </p:oleObj>
              </mc:Choice>
              <mc:Fallback>
                <p:oleObj name="think-cell Slide" r:id="rId32" imgW="408" imgH="408" progId="TCLayout.ActiveDocument.1">
                  <p:embed/>
                  <p:pic>
                    <p:nvPicPr>
                      <p:cNvPr id="5" name="Object 4" hidden="1">
                        <a:extLst>
                          <a:ext uri="{FF2B5EF4-FFF2-40B4-BE49-F238E27FC236}">
                            <a16:creationId xmlns:a16="http://schemas.microsoft.com/office/drawing/2014/main" id="{73245106-9CB0-4FEE-9D2A-3686C2F265C9}"/>
                          </a:ext>
                        </a:extLst>
                      </p:cNvPr>
                      <p:cNvPicPr/>
                      <p:nvPr/>
                    </p:nvPicPr>
                    <p:blipFill>
                      <a:blip r:embed="rId33"/>
                      <a:stretch>
                        <a:fillRect/>
                      </a:stretch>
                    </p:blipFill>
                    <p:spPr>
                      <a:xfrm>
                        <a:off x="2618" y="2619"/>
                        <a:ext cx="2619" cy="2619"/>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CE4D05E-7AB3-4473-A9BE-E1A53AB7FC79}"/>
              </a:ext>
            </a:extLst>
          </p:cNvPr>
          <p:cNvSpPr/>
          <p:nvPr userDrawn="1">
            <p:custDataLst>
              <p:tags r:id="rId31"/>
            </p:custDataLst>
          </p:nvPr>
        </p:nvSpPr>
        <p:spPr>
          <a:xfrm>
            <a:off x="0" y="0"/>
            <a:ext cx="261772" cy="26179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7256" b="0" i="0" baseline="0" dirty="0">
              <a:latin typeface="Arial" panose="020B0604020202020204" pitchFamily="34" charset="0"/>
              <a:ea typeface="+mj-ea"/>
              <a:cs typeface="+mj-cs"/>
              <a:sym typeface="Arial" panose="020B0604020202020204" pitchFamily="34" charset="0"/>
            </a:endParaRPr>
          </a:p>
        </p:txBody>
      </p:sp>
      <p:sp>
        <p:nvSpPr>
          <p:cNvPr id="2" name="Marcador de título 1">
            <a:extLst>
              <a:ext uri="{FF2B5EF4-FFF2-40B4-BE49-F238E27FC236}">
                <a16:creationId xmlns:a16="http://schemas.microsoft.com/office/drawing/2014/main" id="{7A4DCC25-7D64-4408-9B41-A6C887E7349E}"/>
              </a:ext>
            </a:extLst>
          </p:cNvPr>
          <p:cNvSpPr>
            <a:spLocks noGrp="1"/>
          </p:cNvSpPr>
          <p:nvPr>
            <p:ph type="title"/>
          </p:nvPr>
        </p:nvSpPr>
        <p:spPr>
          <a:xfrm>
            <a:off x="1382157" y="602119"/>
            <a:ext cx="17339786" cy="2185952"/>
          </a:xfrm>
          <a:prstGeom prst="rect">
            <a:avLst/>
          </a:prstGeom>
        </p:spPr>
        <p:txBody>
          <a:bodyPr vert="horz" lIns="0" tIns="0" rIns="0" bIns="0" rtlCol="0" anchor="ctr">
            <a:normAutofit/>
          </a:bodyPr>
          <a:lstStyle/>
          <a:p>
            <a:r>
              <a:rPr lang="en-GB" noProof="0"/>
              <a:t>Haga clic para modificar el estilo de título del patrón</a:t>
            </a:r>
          </a:p>
        </p:txBody>
      </p:sp>
      <p:sp>
        <p:nvSpPr>
          <p:cNvPr id="3" name="Marcador de texto 2">
            <a:extLst>
              <a:ext uri="{FF2B5EF4-FFF2-40B4-BE49-F238E27FC236}">
                <a16:creationId xmlns:a16="http://schemas.microsoft.com/office/drawing/2014/main" id="{3F99EF37-E52B-45E6-9ADC-C5585D2EA0B8}"/>
              </a:ext>
            </a:extLst>
          </p:cNvPr>
          <p:cNvSpPr>
            <a:spLocks noGrp="1"/>
          </p:cNvSpPr>
          <p:nvPr>
            <p:ph type="body" idx="1"/>
          </p:nvPr>
        </p:nvSpPr>
        <p:spPr>
          <a:xfrm>
            <a:off x="1382157" y="3010591"/>
            <a:ext cx="17339786" cy="7175679"/>
          </a:xfrm>
          <a:prstGeom prst="rect">
            <a:avLst/>
          </a:prstGeom>
        </p:spPr>
        <p:txBody>
          <a:bodyPr vert="horz" lIns="0" tIns="0" rIns="0" bIns="0" rtlCol="0">
            <a:normAutofit/>
          </a:bodyPr>
          <a:lstStyle/>
          <a:p>
            <a:pPr lvl="0"/>
            <a:r>
              <a:rPr lang="en-GB" noProof="0"/>
              <a:t>Haga clic para modificar los estilos de texto del patrón</a:t>
            </a:r>
          </a:p>
          <a:p>
            <a:pPr lvl="1"/>
            <a:r>
              <a:rPr lang="en-GB" noProof="0"/>
              <a:t>Segundo nivel</a:t>
            </a:r>
          </a:p>
          <a:p>
            <a:pPr lvl="2"/>
            <a:r>
              <a:rPr lang="en-GB" noProof="0"/>
              <a:t>Tercer nivel</a:t>
            </a:r>
          </a:p>
          <a:p>
            <a:pPr lvl="3"/>
            <a:r>
              <a:rPr lang="en-GB" noProof="0"/>
              <a:t>Cuarto nivel</a:t>
            </a:r>
          </a:p>
          <a:p>
            <a:pPr lvl="4"/>
            <a:r>
              <a:rPr lang="en-GB" noProof="0"/>
              <a:t>Quinto nivel</a:t>
            </a:r>
          </a:p>
        </p:txBody>
      </p:sp>
    </p:spTree>
    <p:extLst>
      <p:ext uri="{BB962C8B-B14F-4D97-AF65-F5344CB8AC3E}">
        <p14:creationId xmlns:p14="http://schemas.microsoft.com/office/powerpoint/2010/main" val="102752171"/>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0" r:id="rId7"/>
    <p:sldLayoutId id="2147483821" r:id="rId8"/>
    <p:sldLayoutId id="2147483822" r:id="rId9"/>
    <p:sldLayoutId id="2147483823" r:id="rId10"/>
    <p:sldLayoutId id="2147483824" r:id="rId11"/>
    <p:sldLayoutId id="2147483825" r:id="rId12"/>
    <p:sldLayoutId id="2147483826" r:id="rId13"/>
    <p:sldLayoutId id="2147483827" r:id="rId14"/>
    <p:sldLayoutId id="2147483828" r:id="rId15"/>
    <p:sldLayoutId id="2147483829" r:id="rId16"/>
    <p:sldLayoutId id="2147483830" r:id="rId17"/>
    <p:sldLayoutId id="2147483831" r:id="rId18"/>
    <p:sldLayoutId id="2147483832" r:id="rId19"/>
    <p:sldLayoutId id="2147483833" r:id="rId20"/>
    <p:sldLayoutId id="2147483834" r:id="rId21"/>
    <p:sldLayoutId id="2147483835" r:id="rId22"/>
    <p:sldLayoutId id="2147483836" r:id="rId23"/>
    <p:sldLayoutId id="2147483837" r:id="rId24"/>
    <p:sldLayoutId id="2147483838" r:id="rId25"/>
    <p:sldLayoutId id="2147483839" r:id="rId26"/>
    <p:sldLayoutId id="2147483896" r:id="rId27"/>
  </p:sldLayoutIdLst>
  <p:txStyles>
    <p:titleStyle>
      <a:lvl1pPr algn="l" defTabSz="1507846" rtl="0" eaLnBrk="1" latinLnBrk="0" hangingPunct="1">
        <a:lnSpc>
          <a:spcPct val="100000"/>
        </a:lnSpc>
        <a:spcBef>
          <a:spcPct val="0"/>
        </a:spcBef>
        <a:buNone/>
        <a:defRPr sz="7256" kern="1200">
          <a:solidFill>
            <a:schemeClr val="tx1"/>
          </a:solidFill>
          <a:latin typeface="+mn-lt"/>
          <a:ea typeface="+mj-ea"/>
          <a:cs typeface="+mj-cs"/>
        </a:defRPr>
      </a:lvl1pPr>
    </p:titleStyle>
    <p:bodyStyle>
      <a:lvl1pPr marL="376961" indent="-376961" algn="l" defTabSz="1507846" rtl="0" eaLnBrk="1" latinLnBrk="0" hangingPunct="1">
        <a:lnSpc>
          <a:spcPct val="100000"/>
        </a:lnSpc>
        <a:spcBef>
          <a:spcPts val="1649"/>
        </a:spcBef>
        <a:buFont typeface="Arial" panose="020B0604020202020204" pitchFamily="34" charset="0"/>
        <a:buChar char="•"/>
        <a:defRPr sz="4617" kern="1200">
          <a:solidFill>
            <a:schemeClr val="tx1"/>
          </a:solidFill>
          <a:latin typeface="+mn-lt"/>
          <a:ea typeface="+mn-ea"/>
          <a:cs typeface="+mn-cs"/>
        </a:defRPr>
      </a:lvl1pPr>
      <a:lvl2pPr marL="1130884" indent="-376961" algn="l" defTabSz="1507846" rtl="0" eaLnBrk="1" latinLnBrk="0" hangingPunct="1">
        <a:lnSpc>
          <a:spcPct val="100000"/>
        </a:lnSpc>
        <a:spcBef>
          <a:spcPts val="824"/>
        </a:spcBef>
        <a:buFont typeface="Arial" panose="020B0604020202020204" pitchFamily="34" charset="0"/>
        <a:buChar char="•"/>
        <a:defRPr sz="3958" kern="1200">
          <a:solidFill>
            <a:schemeClr val="tx1"/>
          </a:solidFill>
          <a:latin typeface="+mn-lt"/>
          <a:ea typeface="+mn-ea"/>
          <a:cs typeface="+mn-cs"/>
        </a:defRPr>
      </a:lvl2pPr>
      <a:lvl3pPr marL="1884807" indent="-376961" algn="l" defTabSz="1507846" rtl="0" eaLnBrk="1" latinLnBrk="0" hangingPunct="1">
        <a:lnSpc>
          <a:spcPct val="100000"/>
        </a:lnSpc>
        <a:spcBef>
          <a:spcPts val="824"/>
        </a:spcBef>
        <a:buFont typeface="Arial" panose="020B0604020202020204" pitchFamily="34" charset="0"/>
        <a:buChar char="•"/>
        <a:defRPr sz="3298" kern="1200">
          <a:solidFill>
            <a:schemeClr val="tx1"/>
          </a:solidFill>
          <a:latin typeface="+mn-lt"/>
          <a:ea typeface="+mn-ea"/>
          <a:cs typeface="+mn-cs"/>
        </a:defRPr>
      </a:lvl3pPr>
      <a:lvl4pPr marL="2638730" indent="-376961" algn="l" defTabSz="1507846" rtl="0" eaLnBrk="1" latinLnBrk="0" hangingPunct="1">
        <a:lnSpc>
          <a:spcPct val="100000"/>
        </a:lnSpc>
        <a:spcBef>
          <a:spcPts val="824"/>
        </a:spcBef>
        <a:buFont typeface="Arial" panose="020B0604020202020204" pitchFamily="34" charset="0"/>
        <a:buChar char="•"/>
        <a:defRPr sz="2968" kern="1200">
          <a:solidFill>
            <a:schemeClr val="tx1"/>
          </a:solidFill>
          <a:latin typeface="+mn-lt"/>
          <a:ea typeface="+mn-ea"/>
          <a:cs typeface="+mn-cs"/>
        </a:defRPr>
      </a:lvl4pPr>
      <a:lvl5pPr marL="3392653" indent="-376961" algn="l" defTabSz="1507846" rtl="0" eaLnBrk="1" latinLnBrk="0" hangingPunct="1">
        <a:lnSpc>
          <a:spcPct val="100000"/>
        </a:lnSpc>
        <a:spcBef>
          <a:spcPts val="824"/>
        </a:spcBef>
        <a:buFont typeface="Arial" panose="020B0604020202020204" pitchFamily="34" charset="0"/>
        <a:buChar char="•"/>
        <a:defRPr sz="2968" kern="1200">
          <a:solidFill>
            <a:schemeClr val="tx1"/>
          </a:solidFill>
          <a:latin typeface="+mn-lt"/>
          <a:ea typeface="+mn-ea"/>
          <a:cs typeface="+mn-cs"/>
        </a:defRPr>
      </a:lvl5pPr>
      <a:lvl6pPr marL="4146575" indent="-376961" algn="l" defTabSz="1507846"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6pPr>
      <a:lvl7pPr marL="4900498" indent="-376961" algn="l" defTabSz="1507846"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7pPr>
      <a:lvl8pPr marL="5654421" indent="-376961" algn="l" defTabSz="1507846"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8pPr>
      <a:lvl9pPr marL="6408344" indent="-376961" algn="l" defTabSz="1507846"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9pPr>
    </p:bodyStyle>
    <p:otherStyle>
      <a:defPPr>
        <a:defRPr lang="es-ES"/>
      </a:defPPr>
      <a:lvl1pPr marL="0" algn="l" defTabSz="1507846" rtl="0" eaLnBrk="1" latinLnBrk="0" hangingPunct="1">
        <a:defRPr sz="2968" kern="1200">
          <a:solidFill>
            <a:schemeClr val="tx1"/>
          </a:solidFill>
          <a:latin typeface="+mn-lt"/>
          <a:ea typeface="+mn-ea"/>
          <a:cs typeface="+mn-cs"/>
        </a:defRPr>
      </a:lvl1pPr>
      <a:lvl2pPr marL="753923" algn="l" defTabSz="1507846" rtl="0" eaLnBrk="1" latinLnBrk="0" hangingPunct="1">
        <a:defRPr sz="2968" kern="1200">
          <a:solidFill>
            <a:schemeClr val="tx1"/>
          </a:solidFill>
          <a:latin typeface="+mn-lt"/>
          <a:ea typeface="+mn-ea"/>
          <a:cs typeface="+mn-cs"/>
        </a:defRPr>
      </a:lvl2pPr>
      <a:lvl3pPr marL="1507846" algn="l" defTabSz="1507846" rtl="0" eaLnBrk="1" latinLnBrk="0" hangingPunct="1">
        <a:defRPr sz="2968" kern="1200">
          <a:solidFill>
            <a:schemeClr val="tx1"/>
          </a:solidFill>
          <a:latin typeface="+mn-lt"/>
          <a:ea typeface="+mn-ea"/>
          <a:cs typeface="+mn-cs"/>
        </a:defRPr>
      </a:lvl3pPr>
      <a:lvl4pPr marL="2261768" algn="l" defTabSz="1507846" rtl="0" eaLnBrk="1" latinLnBrk="0" hangingPunct="1">
        <a:defRPr sz="2968" kern="1200">
          <a:solidFill>
            <a:schemeClr val="tx1"/>
          </a:solidFill>
          <a:latin typeface="+mn-lt"/>
          <a:ea typeface="+mn-ea"/>
          <a:cs typeface="+mn-cs"/>
        </a:defRPr>
      </a:lvl4pPr>
      <a:lvl5pPr marL="3015691" algn="l" defTabSz="1507846" rtl="0" eaLnBrk="1" latinLnBrk="0" hangingPunct="1">
        <a:defRPr sz="2968" kern="1200">
          <a:solidFill>
            <a:schemeClr val="tx1"/>
          </a:solidFill>
          <a:latin typeface="+mn-lt"/>
          <a:ea typeface="+mn-ea"/>
          <a:cs typeface="+mn-cs"/>
        </a:defRPr>
      </a:lvl5pPr>
      <a:lvl6pPr marL="3769614" algn="l" defTabSz="1507846" rtl="0" eaLnBrk="1" latinLnBrk="0" hangingPunct="1">
        <a:defRPr sz="2968" kern="1200">
          <a:solidFill>
            <a:schemeClr val="tx1"/>
          </a:solidFill>
          <a:latin typeface="+mn-lt"/>
          <a:ea typeface="+mn-ea"/>
          <a:cs typeface="+mn-cs"/>
        </a:defRPr>
      </a:lvl6pPr>
      <a:lvl7pPr marL="4523537" algn="l" defTabSz="1507846" rtl="0" eaLnBrk="1" latinLnBrk="0" hangingPunct="1">
        <a:defRPr sz="2968" kern="1200">
          <a:solidFill>
            <a:schemeClr val="tx1"/>
          </a:solidFill>
          <a:latin typeface="+mn-lt"/>
          <a:ea typeface="+mn-ea"/>
          <a:cs typeface="+mn-cs"/>
        </a:defRPr>
      </a:lvl7pPr>
      <a:lvl8pPr marL="5277460" algn="l" defTabSz="1507846" rtl="0" eaLnBrk="1" latinLnBrk="0" hangingPunct="1">
        <a:defRPr sz="2968" kern="1200">
          <a:solidFill>
            <a:schemeClr val="tx1"/>
          </a:solidFill>
          <a:latin typeface="+mn-lt"/>
          <a:ea typeface="+mn-ea"/>
          <a:cs typeface="+mn-cs"/>
        </a:defRPr>
      </a:lvl8pPr>
      <a:lvl9pPr marL="6031382" algn="l" defTabSz="1507846" rtl="0" eaLnBrk="1" latinLnBrk="0" hangingPunct="1">
        <a:defRPr sz="2968"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3245106-9CB0-4FEE-9D2A-3686C2F265C9}"/>
              </a:ext>
            </a:extLst>
          </p:cNvPr>
          <p:cNvGraphicFramePr>
            <a:graphicFrameLocks noChangeAspect="1"/>
          </p:cNvGraphicFramePr>
          <p:nvPr userDrawn="1">
            <p:custDataLst>
              <p:tags r:id="rId30"/>
            </p:custDataLst>
            <p:extLst>
              <p:ext uri="{D42A27DB-BD31-4B8C-83A1-F6EECF244321}">
                <p14:modId xmlns:p14="http://schemas.microsoft.com/office/powerpoint/2010/main" val="2237967072"/>
              </p:ext>
            </p:extLst>
          </p:nvPr>
        </p:nvGraphicFramePr>
        <p:xfrm>
          <a:off x="2618" y="2619"/>
          <a:ext cx="2619" cy="2619"/>
        </p:xfrm>
        <a:graphic>
          <a:graphicData uri="http://schemas.openxmlformats.org/presentationml/2006/ole">
            <mc:AlternateContent xmlns:mc="http://schemas.openxmlformats.org/markup-compatibility/2006">
              <mc:Choice xmlns:v="urn:schemas-microsoft-com:vml" Requires="v">
                <p:oleObj spid="_x0000_s173110" name="think-cell Slide" r:id="rId32" imgW="408" imgH="408" progId="TCLayout.ActiveDocument.1">
                  <p:embed/>
                </p:oleObj>
              </mc:Choice>
              <mc:Fallback>
                <p:oleObj name="think-cell Slide" r:id="rId32" imgW="408" imgH="408" progId="TCLayout.ActiveDocument.1">
                  <p:embed/>
                  <p:pic>
                    <p:nvPicPr>
                      <p:cNvPr id="5" name="Object 4" hidden="1">
                        <a:extLst>
                          <a:ext uri="{FF2B5EF4-FFF2-40B4-BE49-F238E27FC236}">
                            <a16:creationId xmlns:a16="http://schemas.microsoft.com/office/drawing/2014/main" id="{73245106-9CB0-4FEE-9D2A-3686C2F265C9}"/>
                          </a:ext>
                        </a:extLst>
                      </p:cNvPr>
                      <p:cNvPicPr/>
                      <p:nvPr/>
                    </p:nvPicPr>
                    <p:blipFill>
                      <a:blip r:embed="rId33"/>
                      <a:stretch>
                        <a:fillRect/>
                      </a:stretch>
                    </p:blipFill>
                    <p:spPr>
                      <a:xfrm>
                        <a:off x="2618" y="2619"/>
                        <a:ext cx="2619" cy="2619"/>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CE4D05E-7AB3-4473-A9BE-E1A53AB7FC79}"/>
              </a:ext>
            </a:extLst>
          </p:cNvPr>
          <p:cNvSpPr/>
          <p:nvPr userDrawn="1">
            <p:custDataLst>
              <p:tags r:id="rId31"/>
            </p:custDataLst>
          </p:nvPr>
        </p:nvSpPr>
        <p:spPr>
          <a:xfrm>
            <a:off x="0" y="0"/>
            <a:ext cx="261772" cy="26179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7256" b="0" i="0" baseline="0" dirty="0">
              <a:latin typeface="Arial" panose="020B0604020202020204" pitchFamily="34" charset="0"/>
              <a:ea typeface="+mj-ea"/>
              <a:cs typeface="+mj-cs"/>
              <a:sym typeface="Arial" panose="020B0604020202020204" pitchFamily="34" charset="0"/>
            </a:endParaRPr>
          </a:p>
        </p:txBody>
      </p:sp>
      <p:sp>
        <p:nvSpPr>
          <p:cNvPr id="2" name="Marcador de título 1">
            <a:extLst>
              <a:ext uri="{FF2B5EF4-FFF2-40B4-BE49-F238E27FC236}">
                <a16:creationId xmlns:a16="http://schemas.microsoft.com/office/drawing/2014/main" id="{7A4DCC25-7D64-4408-9B41-A6C887E7349E}"/>
              </a:ext>
            </a:extLst>
          </p:cNvPr>
          <p:cNvSpPr>
            <a:spLocks noGrp="1"/>
          </p:cNvSpPr>
          <p:nvPr>
            <p:ph type="title"/>
          </p:nvPr>
        </p:nvSpPr>
        <p:spPr>
          <a:xfrm>
            <a:off x="1382157" y="602119"/>
            <a:ext cx="17339786" cy="2185952"/>
          </a:xfrm>
          <a:prstGeom prst="rect">
            <a:avLst/>
          </a:prstGeom>
        </p:spPr>
        <p:txBody>
          <a:bodyPr vert="horz" lIns="0" tIns="0" rIns="0" bIns="0" rtlCol="0" anchor="ctr">
            <a:normAutofit/>
          </a:bodyPr>
          <a:lstStyle/>
          <a:p>
            <a:r>
              <a:rPr lang="en-GB" noProof="0"/>
              <a:t>Haga clic para modificar el estilo de título del patrón</a:t>
            </a:r>
          </a:p>
        </p:txBody>
      </p:sp>
      <p:sp>
        <p:nvSpPr>
          <p:cNvPr id="3" name="Marcador de texto 2">
            <a:extLst>
              <a:ext uri="{FF2B5EF4-FFF2-40B4-BE49-F238E27FC236}">
                <a16:creationId xmlns:a16="http://schemas.microsoft.com/office/drawing/2014/main" id="{3F99EF37-E52B-45E6-9ADC-C5585D2EA0B8}"/>
              </a:ext>
            </a:extLst>
          </p:cNvPr>
          <p:cNvSpPr>
            <a:spLocks noGrp="1"/>
          </p:cNvSpPr>
          <p:nvPr>
            <p:ph type="body" idx="1"/>
          </p:nvPr>
        </p:nvSpPr>
        <p:spPr>
          <a:xfrm>
            <a:off x="1382157" y="3010591"/>
            <a:ext cx="17339786" cy="7175679"/>
          </a:xfrm>
          <a:prstGeom prst="rect">
            <a:avLst/>
          </a:prstGeom>
        </p:spPr>
        <p:txBody>
          <a:bodyPr vert="horz" lIns="0" tIns="0" rIns="0" bIns="0" rtlCol="0">
            <a:normAutofit/>
          </a:bodyPr>
          <a:lstStyle/>
          <a:p>
            <a:pPr lvl="0"/>
            <a:r>
              <a:rPr lang="en-GB" noProof="0"/>
              <a:t>Haga clic para modificar los estilos de texto del patrón</a:t>
            </a:r>
          </a:p>
          <a:p>
            <a:pPr lvl="1"/>
            <a:r>
              <a:rPr lang="en-GB" noProof="0"/>
              <a:t>Segundo nivel</a:t>
            </a:r>
          </a:p>
          <a:p>
            <a:pPr lvl="2"/>
            <a:r>
              <a:rPr lang="en-GB" noProof="0"/>
              <a:t>Tercer nivel</a:t>
            </a:r>
          </a:p>
          <a:p>
            <a:pPr lvl="3"/>
            <a:r>
              <a:rPr lang="en-GB" noProof="0"/>
              <a:t>Cuarto nivel</a:t>
            </a:r>
          </a:p>
          <a:p>
            <a:pPr lvl="4"/>
            <a:r>
              <a:rPr lang="en-GB" noProof="0"/>
              <a:t>Quinto nivel</a:t>
            </a:r>
          </a:p>
        </p:txBody>
      </p:sp>
    </p:spTree>
    <p:extLst>
      <p:ext uri="{BB962C8B-B14F-4D97-AF65-F5344CB8AC3E}">
        <p14:creationId xmlns:p14="http://schemas.microsoft.com/office/powerpoint/2010/main" val="1756085614"/>
      </p:ext>
    </p:extLst>
  </p:cSld>
  <p:clrMap bg1="lt1" tx1="dk1" bg2="lt2" tx2="dk2" accent1="accent1" accent2="accent2" accent3="accent3" accent4="accent4" accent5="accent5" accent6="accent6" hlink="hlink" folHlink="folHlink"/>
  <p:sldLayoutIdLst>
    <p:sldLayoutId id="2147483842" r:id="rId1"/>
    <p:sldLayoutId id="2147483843" r:id="rId2"/>
    <p:sldLayoutId id="2147483844" r:id="rId3"/>
    <p:sldLayoutId id="2147483845" r:id="rId4"/>
    <p:sldLayoutId id="2147483846" r:id="rId5"/>
    <p:sldLayoutId id="2147483847" r:id="rId6"/>
    <p:sldLayoutId id="2147483848" r:id="rId7"/>
    <p:sldLayoutId id="2147483849" r:id="rId8"/>
    <p:sldLayoutId id="2147483850" r:id="rId9"/>
    <p:sldLayoutId id="2147483851" r:id="rId10"/>
    <p:sldLayoutId id="2147483852" r:id="rId11"/>
    <p:sldLayoutId id="2147483853" r:id="rId12"/>
    <p:sldLayoutId id="2147483854" r:id="rId13"/>
    <p:sldLayoutId id="2147483855" r:id="rId14"/>
    <p:sldLayoutId id="2147483856" r:id="rId15"/>
    <p:sldLayoutId id="2147483857" r:id="rId16"/>
    <p:sldLayoutId id="2147483858" r:id="rId17"/>
    <p:sldLayoutId id="2147483859" r:id="rId18"/>
    <p:sldLayoutId id="2147483860" r:id="rId19"/>
    <p:sldLayoutId id="2147483861" r:id="rId20"/>
    <p:sldLayoutId id="2147483862" r:id="rId21"/>
    <p:sldLayoutId id="2147483863" r:id="rId22"/>
    <p:sldLayoutId id="2147483864" r:id="rId23"/>
    <p:sldLayoutId id="2147483865" r:id="rId24"/>
    <p:sldLayoutId id="2147483866" r:id="rId25"/>
    <p:sldLayoutId id="2147483867" r:id="rId26"/>
    <p:sldLayoutId id="2147483868" r:id="rId27"/>
  </p:sldLayoutIdLst>
  <p:txStyles>
    <p:titleStyle>
      <a:lvl1pPr algn="l" defTabSz="1507846" rtl="0" eaLnBrk="1" latinLnBrk="0" hangingPunct="1">
        <a:lnSpc>
          <a:spcPct val="100000"/>
        </a:lnSpc>
        <a:spcBef>
          <a:spcPct val="0"/>
        </a:spcBef>
        <a:buNone/>
        <a:defRPr sz="7256" kern="1200">
          <a:solidFill>
            <a:schemeClr val="tx1"/>
          </a:solidFill>
          <a:latin typeface="+mn-lt"/>
          <a:ea typeface="+mj-ea"/>
          <a:cs typeface="+mj-cs"/>
        </a:defRPr>
      </a:lvl1pPr>
    </p:titleStyle>
    <p:bodyStyle>
      <a:lvl1pPr marL="376961" indent="-376961" algn="l" defTabSz="1507846" rtl="0" eaLnBrk="1" latinLnBrk="0" hangingPunct="1">
        <a:lnSpc>
          <a:spcPct val="100000"/>
        </a:lnSpc>
        <a:spcBef>
          <a:spcPts val="1649"/>
        </a:spcBef>
        <a:buFont typeface="Arial" panose="020B0604020202020204" pitchFamily="34" charset="0"/>
        <a:buChar char="•"/>
        <a:defRPr sz="4617" kern="1200">
          <a:solidFill>
            <a:schemeClr val="tx1"/>
          </a:solidFill>
          <a:latin typeface="+mn-lt"/>
          <a:ea typeface="+mn-ea"/>
          <a:cs typeface="+mn-cs"/>
        </a:defRPr>
      </a:lvl1pPr>
      <a:lvl2pPr marL="1130884" indent="-376961" algn="l" defTabSz="1507846" rtl="0" eaLnBrk="1" latinLnBrk="0" hangingPunct="1">
        <a:lnSpc>
          <a:spcPct val="100000"/>
        </a:lnSpc>
        <a:spcBef>
          <a:spcPts val="824"/>
        </a:spcBef>
        <a:buFont typeface="Arial" panose="020B0604020202020204" pitchFamily="34" charset="0"/>
        <a:buChar char="•"/>
        <a:defRPr sz="3958" kern="1200">
          <a:solidFill>
            <a:schemeClr val="tx1"/>
          </a:solidFill>
          <a:latin typeface="+mn-lt"/>
          <a:ea typeface="+mn-ea"/>
          <a:cs typeface="+mn-cs"/>
        </a:defRPr>
      </a:lvl2pPr>
      <a:lvl3pPr marL="1884807" indent="-376961" algn="l" defTabSz="1507846" rtl="0" eaLnBrk="1" latinLnBrk="0" hangingPunct="1">
        <a:lnSpc>
          <a:spcPct val="100000"/>
        </a:lnSpc>
        <a:spcBef>
          <a:spcPts val="824"/>
        </a:spcBef>
        <a:buFont typeface="Arial" panose="020B0604020202020204" pitchFamily="34" charset="0"/>
        <a:buChar char="•"/>
        <a:defRPr sz="3298" kern="1200">
          <a:solidFill>
            <a:schemeClr val="tx1"/>
          </a:solidFill>
          <a:latin typeface="+mn-lt"/>
          <a:ea typeface="+mn-ea"/>
          <a:cs typeface="+mn-cs"/>
        </a:defRPr>
      </a:lvl3pPr>
      <a:lvl4pPr marL="2638730" indent="-376961" algn="l" defTabSz="1507846" rtl="0" eaLnBrk="1" latinLnBrk="0" hangingPunct="1">
        <a:lnSpc>
          <a:spcPct val="100000"/>
        </a:lnSpc>
        <a:spcBef>
          <a:spcPts val="824"/>
        </a:spcBef>
        <a:buFont typeface="Arial" panose="020B0604020202020204" pitchFamily="34" charset="0"/>
        <a:buChar char="•"/>
        <a:defRPr sz="2968" kern="1200">
          <a:solidFill>
            <a:schemeClr val="tx1"/>
          </a:solidFill>
          <a:latin typeface="+mn-lt"/>
          <a:ea typeface="+mn-ea"/>
          <a:cs typeface="+mn-cs"/>
        </a:defRPr>
      </a:lvl4pPr>
      <a:lvl5pPr marL="3392653" indent="-376961" algn="l" defTabSz="1507846" rtl="0" eaLnBrk="1" latinLnBrk="0" hangingPunct="1">
        <a:lnSpc>
          <a:spcPct val="100000"/>
        </a:lnSpc>
        <a:spcBef>
          <a:spcPts val="824"/>
        </a:spcBef>
        <a:buFont typeface="Arial" panose="020B0604020202020204" pitchFamily="34" charset="0"/>
        <a:buChar char="•"/>
        <a:defRPr sz="2968" kern="1200">
          <a:solidFill>
            <a:schemeClr val="tx1"/>
          </a:solidFill>
          <a:latin typeface="+mn-lt"/>
          <a:ea typeface="+mn-ea"/>
          <a:cs typeface="+mn-cs"/>
        </a:defRPr>
      </a:lvl5pPr>
      <a:lvl6pPr marL="4146575" indent="-376961" algn="l" defTabSz="1507846"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6pPr>
      <a:lvl7pPr marL="4900498" indent="-376961" algn="l" defTabSz="1507846"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7pPr>
      <a:lvl8pPr marL="5654421" indent="-376961" algn="l" defTabSz="1507846"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8pPr>
      <a:lvl9pPr marL="6408344" indent="-376961" algn="l" defTabSz="1507846"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9pPr>
    </p:bodyStyle>
    <p:otherStyle>
      <a:defPPr>
        <a:defRPr lang="es-ES"/>
      </a:defPPr>
      <a:lvl1pPr marL="0" algn="l" defTabSz="1507846" rtl="0" eaLnBrk="1" latinLnBrk="0" hangingPunct="1">
        <a:defRPr sz="2968" kern="1200">
          <a:solidFill>
            <a:schemeClr val="tx1"/>
          </a:solidFill>
          <a:latin typeface="+mn-lt"/>
          <a:ea typeface="+mn-ea"/>
          <a:cs typeface="+mn-cs"/>
        </a:defRPr>
      </a:lvl1pPr>
      <a:lvl2pPr marL="753923" algn="l" defTabSz="1507846" rtl="0" eaLnBrk="1" latinLnBrk="0" hangingPunct="1">
        <a:defRPr sz="2968" kern="1200">
          <a:solidFill>
            <a:schemeClr val="tx1"/>
          </a:solidFill>
          <a:latin typeface="+mn-lt"/>
          <a:ea typeface="+mn-ea"/>
          <a:cs typeface="+mn-cs"/>
        </a:defRPr>
      </a:lvl2pPr>
      <a:lvl3pPr marL="1507846" algn="l" defTabSz="1507846" rtl="0" eaLnBrk="1" latinLnBrk="0" hangingPunct="1">
        <a:defRPr sz="2968" kern="1200">
          <a:solidFill>
            <a:schemeClr val="tx1"/>
          </a:solidFill>
          <a:latin typeface="+mn-lt"/>
          <a:ea typeface="+mn-ea"/>
          <a:cs typeface="+mn-cs"/>
        </a:defRPr>
      </a:lvl3pPr>
      <a:lvl4pPr marL="2261768" algn="l" defTabSz="1507846" rtl="0" eaLnBrk="1" latinLnBrk="0" hangingPunct="1">
        <a:defRPr sz="2968" kern="1200">
          <a:solidFill>
            <a:schemeClr val="tx1"/>
          </a:solidFill>
          <a:latin typeface="+mn-lt"/>
          <a:ea typeface="+mn-ea"/>
          <a:cs typeface="+mn-cs"/>
        </a:defRPr>
      </a:lvl4pPr>
      <a:lvl5pPr marL="3015691" algn="l" defTabSz="1507846" rtl="0" eaLnBrk="1" latinLnBrk="0" hangingPunct="1">
        <a:defRPr sz="2968" kern="1200">
          <a:solidFill>
            <a:schemeClr val="tx1"/>
          </a:solidFill>
          <a:latin typeface="+mn-lt"/>
          <a:ea typeface="+mn-ea"/>
          <a:cs typeface="+mn-cs"/>
        </a:defRPr>
      </a:lvl5pPr>
      <a:lvl6pPr marL="3769614" algn="l" defTabSz="1507846" rtl="0" eaLnBrk="1" latinLnBrk="0" hangingPunct="1">
        <a:defRPr sz="2968" kern="1200">
          <a:solidFill>
            <a:schemeClr val="tx1"/>
          </a:solidFill>
          <a:latin typeface="+mn-lt"/>
          <a:ea typeface="+mn-ea"/>
          <a:cs typeface="+mn-cs"/>
        </a:defRPr>
      </a:lvl6pPr>
      <a:lvl7pPr marL="4523537" algn="l" defTabSz="1507846" rtl="0" eaLnBrk="1" latinLnBrk="0" hangingPunct="1">
        <a:defRPr sz="2968" kern="1200">
          <a:solidFill>
            <a:schemeClr val="tx1"/>
          </a:solidFill>
          <a:latin typeface="+mn-lt"/>
          <a:ea typeface="+mn-ea"/>
          <a:cs typeface="+mn-cs"/>
        </a:defRPr>
      </a:lvl7pPr>
      <a:lvl8pPr marL="5277460" algn="l" defTabSz="1507846" rtl="0" eaLnBrk="1" latinLnBrk="0" hangingPunct="1">
        <a:defRPr sz="2968" kern="1200">
          <a:solidFill>
            <a:schemeClr val="tx1"/>
          </a:solidFill>
          <a:latin typeface="+mn-lt"/>
          <a:ea typeface="+mn-ea"/>
          <a:cs typeface="+mn-cs"/>
        </a:defRPr>
      </a:lvl8pPr>
      <a:lvl9pPr marL="6031382" algn="l" defTabSz="1507846" rtl="0" eaLnBrk="1" latinLnBrk="0" hangingPunct="1">
        <a:defRPr sz="2968"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3245106-9CB0-4FEE-9D2A-3686C2F265C9}"/>
              </a:ext>
            </a:extLst>
          </p:cNvPr>
          <p:cNvGraphicFramePr>
            <a:graphicFrameLocks noChangeAspect="1"/>
          </p:cNvGraphicFramePr>
          <p:nvPr userDrawn="1">
            <p:custDataLst>
              <p:tags r:id="rId29"/>
            </p:custDataLst>
            <p:extLst>
              <p:ext uri="{D42A27DB-BD31-4B8C-83A1-F6EECF244321}">
                <p14:modId xmlns:p14="http://schemas.microsoft.com/office/powerpoint/2010/main" val="1424420360"/>
              </p:ext>
            </p:extLst>
          </p:nvPr>
        </p:nvGraphicFramePr>
        <p:xfrm>
          <a:off x="2618" y="2619"/>
          <a:ext cx="2619" cy="2619"/>
        </p:xfrm>
        <a:graphic>
          <a:graphicData uri="http://schemas.openxmlformats.org/presentationml/2006/ole">
            <mc:AlternateContent xmlns:mc="http://schemas.openxmlformats.org/markup-compatibility/2006">
              <mc:Choice xmlns:v="urn:schemas-microsoft-com:vml" Requires="v">
                <p:oleObj spid="_x0000_s174132" name="think-cell Slide" r:id="rId31" imgW="408" imgH="408" progId="TCLayout.ActiveDocument.1">
                  <p:embed/>
                </p:oleObj>
              </mc:Choice>
              <mc:Fallback>
                <p:oleObj name="think-cell Slide" r:id="rId31" imgW="408" imgH="408" progId="TCLayout.ActiveDocument.1">
                  <p:embed/>
                  <p:pic>
                    <p:nvPicPr>
                      <p:cNvPr id="5" name="Object 4" hidden="1">
                        <a:extLst>
                          <a:ext uri="{FF2B5EF4-FFF2-40B4-BE49-F238E27FC236}">
                            <a16:creationId xmlns:a16="http://schemas.microsoft.com/office/drawing/2014/main" id="{73245106-9CB0-4FEE-9D2A-3686C2F265C9}"/>
                          </a:ext>
                        </a:extLst>
                      </p:cNvPr>
                      <p:cNvPicPr/>
                      <p:nvPr/>
                    </p:nvPicPr>
                    <p:blipFill>
                      <a:blip r:embed="rId32"/>
                      <a:stretch>
                        <a:fillRect/>
                      </a:stretch>
                    </p:blipFill>
                    <p:spPr>
                      <a:xfrm>
                        <a:off x="2618" y="2619"/>
                        <a:ext cx="2619" cy="2619"/>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CE4D05E-7AB3-4473-A9BE-E1A53AB7FC79}"/>
              </a:ext>
            </a:extLst>
          </p:cNvPr>
          <p:cNvSpPr/>
          <p:nvPr userDrawn="1">
            <p:custDataLst>
              <p:tags r:id="rId30"/>
            </p:custDataLst>
          </p:nvPr>
        </p:nvSpPr>
        <p:spPr>
          <a:xfrm>
            <a:off x="0" y="0"/>
            <a:ext cx="261772" cy="26179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7256" b="0" i="0" baseline="0" dirty="0">
              <a:latin typeface="Arial" panose="020B0604020202020204" pitchFamily="34" charset="0"/>
              <a:ea typeface="+mj-ea"/>
              <a:cs typeface="+mj-cs"/>
              <a:sym typeface="Arial" panose="020B0604020202020204" pitchFamily="34" charset="0"/>
            </a:endParaRPr>
          </a:p>
        </p:txBody>
      </p:sp>
      <p:sp>
        <p:nvSpPr>
          <p:cNvPr id="2" name="Marcador de título 1">
            <a:extLst>
              <a:ext uri="{FF2B5EF4-FFF2-40B4-BE49-F238E27FC236}">
                <a16:creationId xmlns:a16="http://schemas.microsoft.com/office/drawing/2014/main" id="{7A4DCC25-7D64-4408-9B41-A6C887E7349E}"/>
              </a:ext>
            </a:extLst>
          </p:cNvPr>
          <p:cNvSpPr>
            <a:spLocks noGrp="1"/>
          </p:cNvSpPr>
          <p:nvPr>
            <p:ph type="title"/>
          </p:nvPr>
        </p:nvSpPr>
        <p:spPr>
          <a:xfrm>
            <a:off x="1382157" y="602119"/>
            <a:ext cx="17339786" cy="2185952"/>
          </a:xfrm>
          <a:prstGeom prst="rect">
            <a:avLst/>
          </a:prstGeom>
        </p:spPr>
        <p:txBody>
          <a:bodyPr vert="horz" lIns="0" tIns="0" rIns="0" bIns="0" rtlCol="0" anchor="ctr">
            <a:normAutofit/>
          </a:bodyPr>
          <a:lstStyle/>
          <a:p>
            <a:r>
              <a:rPr lang="en-GB" noProof="0"/>
              <a:t>Haga clic para modificar el estilo de título del patrón</a:t>
            </a:r>
          </a:p>
        </p:txBody>
      </p:sp>
      <p:sp>
        <p:nvSpPr>
          <p:cNvPr id="3" name="Marcador de texto 2">
            <a:extLst>
              <a:ext uri="{FF2B5EF4-FFF2-40B4-BE49-F238E27FC236}">
                <a16:creationId xmlns:a16="http://schemas.microsoft.com/office/drawing/2014/main" id="{3F99EF37-E52B-45E6-9ADC-C5585D2EA0B8}"/>
              </a:ext>
            </a:extLst>
          </p:cNvPr>
          <p:cNvSpPr>
            <a:spLocks noGrp="1"/>
          </p:cNvSpPr>
          <p:nvPr>
            <p:ph type="body" idx="1"/>
          </p:nvPr>
        </p:nvSpPr>
        <p:spPr>
          <a:xfrm>
            <a:off x="1382157" y="3010591"/>
            <a:ext cx="17339786" cy="7175679"/>
          </a:xfrm>
          <a:prstGeom prst="rect">
            <a:avLst/>
          </a:prstGeom>
        </p:spPr>
        <p:txBody>
          <a:bodyPr vert="horz" lIns="0" tIns="0" rIns="0" bIns="0" rtlCol="0">
            <a:normAutofit/>
          </a:bodyPr>
          <a:lstStyle/>
          <a:p>
            <a:pPr lvl="0"/>
            <a:r>
              <a:rPr lang="en-GB" noProof="0"/>
              <a:t>Haga clic para modificar los estilos de texto del patrón</a:t>
            </a:r>
          </a:p>
          <a:p>
            <a:pPr lvl="1"/>
            <a:r>
              <a:rPr lang="en-GB" noProof="0"/>
              <a:t>Segundo nivel</a:t>
            </a:r>
          </a:p>
          <a:p>
            <a:pPr lvl="2"/>
            <a:r>
              <a:rPr lang="en-GB" noProof="0"/>
              <a:t>Tercer nivel</a:t>
            </a:r>
          </a:p>
          <a:p>
            <a:pPr lvl="3"/>
            <a:r>
              <a:rPr lang="en-GB" noProof="0"/>
              <a:t>Cuarto nivel</a:t>
            </a:r>
          </a:p>
          <a:p>
            <a:pPr lvl="4"/>
            <a:r>
              <a:rPr lang="en-GB" noProof="0"/>
              <a:t>Quinto nivel</a:t>
            </a:r>
          </a:p>
        </p:txBody>
      </p:sp>
    </p:spTree>
    <p:extLst>
      <p:ext uri="{BB962C8B-B14F-4D97-AF65-F5344CB8AC3E}">
        <p14:creationId xmlns:p14="http://schemas.microsoft.com/office/powerpoint/2010/main" val="280542985"/>
      </p:ext>
    </p:extLst>
  </p:cSld>
  <p:clrMap bg1="lt1" tx1="dk1" bg2="lt2" tx2="dk2" accent1="accent1" accent2="accent2" accent3="accent3" accent4="accent4" accent5="accent5" accent6="accent6" hlink="hlink" folHlink="folHlink"/>
  <p:sldLayoutIdLst>
    <p:sldLayoutId id="2147483870" r:id="rId1"/>
    <p:sldLayoutId id="2147483871" r:id="rId2"/>
    <p:sldLayoutId id="2147483872" r:id="rId3"/>
    <p:sldLayoutId id="2147483873" r:id="rId4"/>
    <p:sldLayoutId id="2147483874" r:id="rId5"/>
    <p:sldLayoutId id="2147483875" r:id="rId6"/>
    <p:sldLayoutId id="2147483876" r:id="rId7"/>
    <p:sldLayoutId id="2147483877" r:id="rId8"/>
    <p:sldLayoutId id="2147483878" r:id="rId9"/>
    <p:sldLayoutId id="2147483879" r:id="rId10"/>
    <p:sldLayoutId id="2147483880" r:id="rId11"/>
    <p:sldLayoutId id="2147483881" r:id="rId12"/>
    <p:sldLayoutId id="2147483882" r:id="rId13"/>
    <p:sldLayoutId id="2147483883" r:id="rId14"/>
    <p:sldLayoutId id="2147483884" r:id="rId15"/>
    <p:sldLayoutId id="2147483885" r:id="rId16"/>
    <p:sldLayoutId id="2147483886" r:id="rId17"/>
    <p:sldLayoutId id="2147483887" r:id="rId18"/>
    <p:sldLayoutId id="2147483888" r:id="rId19"/>
    <p:sldLayoutId id="2147483889" r:id="rId20"/>
    <p:sldLayoutId id="2147483890" r:id="rId21"/>
    <p:sldLayoutId id="2147483891" r:id="rId22"/>
    <p:sldLayoutId id="2147483892" r:id="rId23"/>
    <p:sldLayoutId id="2147483893" r:id="rId24"/>
    <p:sldLayoutId id="2147483894" r:id="rId25"/>
    <p:sldLayoutId id="2147483895" r:id="rId26"/>
  </p:sldLayoutIdLst>
  <p:txStyles>
    <p:titleStyle>
      <a:lvl1pPr algn="l" defTabSz="1507846" rtl="0" eaLnBrk="1" latinLnBrk="0" hangingPunct="1">
        <a:lnSpc>
          <a:spcPct val="100000"/>
        </a:lnSpc>
        <a:spcBef>
          <a:spcPct val="0"/>
        </a:spcBef>
        <a:buNone/>
        <a:defRPr sz="7256" kern="1200">
          <a:solidFill>
            <a:schemeClr val="tx1"/>
          </a:solidFill>
          <a:latin typeface="+mn-lt"/>
          <a:ea typeface="+mj-ea"/>
          <a:cs typeface="+mj-cs"/>
        </a:defRPr>
      </a:lvl1pPr>
    </p:titleStyle>
    <p:bodyStyle>
      <a:lvl1pPr marL="376961" indent="-376961" algn="l" defTabSz="1507846" rtl="0" eaLnBrk="1" latinLnBrk="0" hangingPunct="1">
        <a:lnSpc>
          <a:spcPct val="100000"/>
        </a:lnSpc>
        <a:spcBef>
          <a:spcPts val="1649"/>
        </a:spcBef>
        <a:buFont typeface="Arial" panose="020B0604020202020204" pitchFamily="34" charset="0"/>
        <a:buChar char="•"/>
        <a:defRPr sz="4617" kern="1200">
          <a:solidFill>
            <a:schemeClr val="tx1"/>
          </a:solidFill>
          <a:latin typeface="+mn-lt"/>
          <a:ea typeface="+mn-ea"/>
          <a:cs typeface="+mn-cs"/>
        </a:defRPr>
      </a:lvl1pPr>
      <a:lvl2pPr marL="1130884" indent="-376961" algn="l" defTabSz="1507846" rtl="0" eaLnBrk="1" latinLnBrk="0" hangingPunct="1">
        <a:lnSpc>
          <a:spcPct val="100000"/>
        </a:lnSpc>
        <a:spcBef>
          <a:spcPts val="824"/>
        </a:spcBef>
        <a:buFont typeface="Arial" panose="020B0604020202020204" pitchFamily="34" charset="0"/>
        <a:buChar char="•"/>
        <a:defRPr sz="3958" kern="1200">
          <a:solidFill>
            <a:schemeClr val="tx1"/>
          </a:solidFill>
          <a:latin typeface="+mn-lt"/>
          <a:ea typeface="+mn-ea"/>
          <a:cs typeface="+mn-cs"/>
        </a:defRPr>
      </a:lvl2pPr>
      <a:lvl3pPr marL="1884807" indent="-376961" algn="l" defTabSz="1507846" rtl="0" eaLnBrk="1" latinLnBrk="0" hangingPunct="1">
        <a:lnSpc>
          <a:spcPct val="100000"/>
        </a:lnSpc>
        <a:spcBef>
          <a:spcPts val="824"/>
        </a:spcBef>
        <a:buFont typeface="Arial" panose="020B0604020202020204" pitchFamily="34" charset="0"/>
        <a:buChar char="•"/>
        <a:defRPr sz="3298" kern="1200">
          <a:solidFill>
            <a:schemeClr val="tx1"/>
          </a:solidFill>
          <a:latin typeface="+mn-lt"/>
          <a:ea typeface="+mn-ea"/>
          <a:cs typeface="+mn-cs"/>
        </a:defRPr>
      </a:lvl3pPr>
      <a:lvl4pPr marL="2638730" indent="-376961" algn="l" defTabSz="1507846" rtl="0" eaLnBrk="1" latinLnBrk="0" hangingPunct="1">
        <a:lnSpc>
          <a:spcPct val="100000"/>
        </a:lnSpc>
        <a:spcBef>
          <a:spcPts val="824"/>
        </a:spcBef>
        <a:buFont typeface="Arial" panose="020B0604020202020204" pitchFamily="34" charset="0"/>
        <a:buChar char="•"/>
        <a:defRPr sz="2968" kern="1200">
          <a:solidFill>
            <a:schemeClr val="tx1"/>
          </a:solidFill>
          <a:latin typeface="+mn-lt"/>
          <a:ea typeface="+mn-ea"/>
          <a:cs typeface="+mn-cs"/>
        </a:defRPr>
      </a:lvl4pPr>
      <a:lvl5pPr marL="3392653" indent="-376961" algn="l" defTabSz="1507846" rtl="0" eaLnBrk="1" latinLnBrk="0" hangingPunct="1">
        <a:lnSpc>
          <a:spcPct val="100000"/>
        </a:lnSpc>
        <a:spcBef>
          <a:spcPts val="824"/>
        </a:spcBef>
        <a:buFont typeface="Arial" panose="020B0604020202020204" pitchFamily="34" charset="0"/>
        <a:buChar char="•"/>
        <a:defRPr sz="2968" kern="1200">
          <a:solidFill>
            <a:schemeClr val="tx1"/>
          </a:solidFill>
          <a:latin typeface="+mn-lt"/>
          <a:ea typeface="+mn-ea"/>
          <a:cs typeface="+mn-cs"/>
        </a:defRPr>
      </a:lvl5pPr>
      <a:lvl6pPr marL="4146575" indent="-376961" algn="l" defTabSz="1507846"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6pPr>
      <a:lvl7pPr marL="4900498" indent="-376961" algn="l" defTabSz="1507846"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7pPr>
      <a:lvl8pPr marL="5654421" indent="-376961" algn="l" defTabSz="1507846"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8pPr>
      <a:lvl9pPr marL="6408344" indent="-376961" algn="l" defTabSz="1507846"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9pPr>
    </p:bodyStyle>
    <p:otherStyle>
      <a:defPPr>
        <a:defRPr lang="es-ES"/>
      </a:defPPr>
      <a:lvl1pPr marL="0" algn="l" defTabSz="1507846" rtl="0" eaLnBrk="1" latinLnBrk="0" hangingPunct="1">
        <a:defRPr sz="2968" kern="1200">
          <a:solidFill>
            <a:schemeClr val="tx1"/>
          </a:solidFill>
          <a:latin typeface="+mn-lt"/>
          <a:ea typeface="+mn-ea"/>
          <a:cs typeface="+mn-cs"/>
        </a:defRPr>
      </a:lvl1pPr>
      <a:lvl2pPr marL="753923" algn="l" defTabSz="1507846" rtl="0" eaLnBrk="1" latinLnBrk="0" hangingPunct="1">
        <a:defRPr sz="2968" kern="1200">
          <a:solidFill>
            <a:schemeClr val="tx1"/>
          </a:solidFill>
          <a:latin typeface="+mn-lt"/>
          <a:ea typeface="+mn-ea"/>
          <a:cs typeface="+mn-cs"/>
        </a:defRPr>
      </a:lvl2pPr>
      <a:lvl3pPr marL="1507846" algn="l" defTabSz="1507846" rtl="0" eaLnBrk="1" latinLnBrk="0" hangingPunct="1">
        <a:defRPr sz="2968" kern="1200">
          <a:solidFill>
            <a:schemeClr val="tx1"/>
          </a:solidFill>
          <a:latin typeface="+mn-lt"/>
          <a:ea typeface="+mn-ea"/>
          <a:cs typeface="+mn-cs"/>
        </a:defRPr>
      </a:lvl3pPr>
      <a:lvl4pPr marL="2261768" algn="l" defTabSz="1507846" rtl="0" eaLnBrk="1" latinLnBrk="0" hangingPunct="1">
        <a:defRPr sz="2968" kern="1200">
          <a:solidFill>
            <a:schemeClr val="tx1"/>
          </a:solidFill>
          <a:latin typeface="+mn-lt"/>
          <a:ea typeface="+mn-ea"/>
          <a:cs typeface="+mn-cs"/>
        </a:defRPr>
      </a:lvl4pPr>
      <a:lvl5pPr marL="3015691" algn="l" defTabSz="1507846" rtl="0" eaLnBrk="1" latinLnBrk="0" hangingPunct="1">
        <a:defRPr sz="2968" kern="1200">
          <a:solidFill>
            <a:schemeClr val="tx1"/>
          </a:solidFill>
          <a:latin typeface="+mn-lt"/>
          <a:ea typeface="+mn-ea"/>
          <a:cs typeface="+mn-cs"/>
        </a:defRPr>
      </a:lvl5pPr>
      <a:lvl6pPr marL="3769614" algn="l" defTabSz="1507846" rtl="0" eaLnBrk="1" latinLnBrk="0" hangingPunct="1">
        <a:defRPr sz="2968" kern="1200">
          <a:solidFill>
            <a:schemeClr val="tx1"/>
          </a:solidFill>
          <a:latin typeface="+mn-lt"/>
          <a:ea typeface="+mn-ea"/>
          <a:cs typeface="+mn-cs"/>
        </a:defRPr>
      </a:lvl6pPr>
      <a:lvl7pPr marL="4523537" algn="l" defTabSz="1507846" rtl="0" eaLnBrk="1" latinLnBrk="0" hangingPunct="1">
        <a:defRPr sz="2968" kern="1200">
          <a:solidFill>
            <a:schemeClr val="tx1"/>
          </a:solidFill>
          <a:latin typeface="+mn-lt"/>
          <a:ea typeface="+mn-ea"/>
          <a:cs typeface="+mn-cs"/>
        </a:defRPr>
      </a:lvl7pPr>
      <a:lvl8pPr marL="5277460" algn="l" defTabSz="1507846" rtl="0" eaLnBrk="1" latinLnBrk="0" hangingPunct="1">
        <a:defRPr sz="2968" kern="1200">
          <a:solidFill>
            <a:schemeClr val="tx1"/>
          </a:solidFill>
          <a:latin typeface="+mn-lt"/>
          <a:ea typeface="+mn-ea"/>
          <a:cs typeface="+mn-cs"/>
        </a:defRPr>
      </a:lvl8pPr>
      <a:lvl9pPr marL="6031382" algn="l" defTabSz="1507846" rtl="0" eaLnBrk="1" latinLnBrk="0" hangingPunct="1">
        <a:defRPr sz="2968"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21.emf"/><Relationship Id="rId5" Type="http://schemas.openxmlformats.org/officeDocument/2006/relationships/oleObject" Target="../embeddings/oleObject7.bin"/><Relationship Id="rId4" Type="http://schemas.openxmlformats.org/officeDocument/2006/relationships/slideLayout" Target="../slideLayouts/slideLayout4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slide1.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70A9C0F-B068-43E3-8AE0-41EEB539BB22}"/>
              </a:ext>
            </a:extLst>
          </p:cNvPr>
          <p:cNvGraphicFramePr>
            <a:graphicFrameLocks noChangeAspect="1"/>
          </p:cNvGraphicFramePr>
          <p:nvPr>
            <p:custDataLst>
              <p:tags r:id="rId2"/>
            </p:custDataLst>
          </p:nvPr>
        </p:nvGraphicFramePr>
        <p:xfrm>
          <a:off x="2618" y="3015"/>
          <a:ext cx="2619" cy="2619"/>
        </p:xfrm>
        <a:graphic>
          <a:graphicData uri="http://schemas.openxmlformats.org/presentationml/2006/ole">
            <mc:AlternateContent xmlns:mc="http://schemas.openxmlformats.org/markup-compatibility/2006">
              <mc:Choice xmlns:v="urn:schemas-microsoft-com:vml" Requires="v">
                <p:oleObj spid="_x0000_s106575" name="think-cell Slide" r:id="rId5" imgW="408" imgH="408" progId="TCLayout.ActiveDocument.1">
                  <p:embed/>
                </p:oleObj>
              </mc:Choice>
              <mc:Fallback>
                <p:oleObj name="think-cell Slide" r:id="rId5" imgW="408" imgH="408" progId="TCLayout.ActiveDocument.1">
                  <p:embed/>
                  <p:pic>
                    <p:nvPicPr>
                      <p:cNvPr id="9" name="Object 8" hidden="1">
                        <a:extLst>
                          <a:ext uri="{FF2B5EF4-FFF2-40B4-BE49-F238E27FC236}">
                            <a16:creationId xmlns:a16="http://schemas.microsoft.com/office/drawing/2014/main" id="{570A9C0F-B068-43E3-8AE0-41EEB539BB22}"/>
                          </a:ext>
                        </a:extLst>
                      </p:cNvPr>
                      <p:cNvPicPr/>
                      <p:nvPr/>
                    </p:nvPicPr>
                    <p:blipFill>
                      <a:blip r:embed="rId6"/>
                      <a:stretch>
                        <a:fillRect/>
                      </a:stretch>
                    </p:blipFill>
                    <p:spPr>
                      <a:xfrm>
                        <a:off x="2618" y="3015"/>
                        <a:ext cx="2619" cy="2619"/>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76334BE7-94FE-47CD-819C-838E49B00C69}"/>
              </a:ext>
            </a:extLst>
          </p:cNvPr>
          <p:cNvSpPr/>
          <p:nvPr>
            <p:custDataLst>
              <p:tags r:id="rId3"/>
            </p:custDataLst>
          </p:nvPr>
        </p:nvSpPr>
        <p:spPr>
          <a:xfrm>
            <a:off x="0" y="397"/>
            <a:ext cx="261772" cy="2617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1507846">
              <a:defRPr/>
            </a:pPr>
            <a:endParaRPr lang="en-US" sz="7256" b="1" dirty="0">
              <a:solidFill>
                <a:srgbClr val="FFFFFF"/>
              </a:solidFill>
              <a:latin typeface="Candara" panose="020E0502030303020204" pitchFamily="34" charset="0"/>
              <a:cs typeface="Calibri" panose="020F0502020204030204" pitchFamily="34" charset="0"/>
              <a:sym typeface="Candara" panose="020E0502030303020204" pitchFamily="34" charset="0"/>
            </a:endParaRPr>
          </a:p>
        </p:txBody>
      </p:sp>
      <p:sp>
        <p:nvSpPr>
          <p:cNvPr id="6" name="Title 5">
            <a:extLst>
              <a:ext uri="{FF2B5EF4-FFF2-40B4-BE49-F238E27FC236}">
                <a16:creationId xmlns:a16="http://schemas.microsoft.com/office/drawing/2014/main" id="{9B45C540-90DF-4DFA-BD26-9A9F013CF3EE}"/>
              </a:ext>
            </a:extLst>
          </p:cNvPr>
          <p:cNvSpPr>
            <a:spLocks noGrp="1"/>
          </p:cNvSpPr>
          <p:nvPr>
            <p:ph type="title" idx="4294967295"/>
          </p:nvPr>
        </p:nvSpPr>
        <p:spPr>
          <a:xfrm>
            <a:off x="0" y="4487863"/>
            <a:ext cx="9672638" cy="2744787"/>
          </a:xfrm>
        </p:spPr>
        <p:txBody>
          <a:bodyPr>
            <a:noAutofit/>
          </a:bodyPr>
          <a:lstStyle/>
          <a:p>
            <a:r>
              <a:rPr lang="en-US" sz="7915" b="1" dirty="0">
                <a:solidFill>
                  <a:srgbClr val="4F008C"/>
                </a:solidFill>
                <a:effectLst>
                  <a:glow rad="63500">
                    <a:schemeClr val="accent5">
                      <a:satMod val="175000"/>
                      <a:alpha val="40000"/>
                    </a:schemeClr>
                  </a:glow>
                  <a:outerShdw blurRad="38100" dist="38100" dir="2700000" algn="tl">
                    <a:srgbClr val="000000">
                      <a:alpha val="43137"/>
                    </a:srgbClr>
                  </a:outerShdw>
                </a:effectLst>
                <a:latin typeface="Calibri" panose="020F0502020204030204" pitchFamily="34" charset="0"/>
                <a:cs typeface="Calibri" panose="020F0502020204030204" pitchFamily="34" charset="0"/>
              </a:rPr>
              <a:t>Assurance Radar</a:t>
            </a:r>
            <a:br>
              <a:rPr lang="en-US" sz="7915" b="1" dirty="0">
                <a:solidFill>
                  <a:srgbClr val="4F008C"/>
                </a:solidFill>
                <a:effectLst>
                  <a:glow rad="63500">
                    <a:schemeClr val="accent5">
                      <a:satMod val="175000"/>
                      <a:alpha val="40000"/>
                    </a:schemeClr>
                  </a:glow>
                  <a:outerShdw blurRad="38100" dist="38100" dir="2700000" algn="tl">
                    <a:srgbClr val="000000">
                      <a:alpha val="43137"/>
                    </a:srgbClr>
                  </a:outerShdw>
                </a:effectLst>
                <a:latin typeface="Calibri" panose="020F0502020204030204" pitchFamily="34" charset="0"/>
                <a:cs typeface="Calibri" panose="020F0502020204030204" pitchFamily="34" charset="0"/>
              </a:rPr>
            </a:br>
            <a:r>
              <a:rPr lang="en-US" sz="3298" dirty="0">
                <a:solidFill>
                  <a:srgbClr val="4F008C"/>
                </a:solidFill>
                <a:effectLst>
                  <a:glow rad="63500">
                    <a:schemeClr val="accent5">
                      <a:satMod val="175000"/>
                      <a:alpha val="40000"/>
                    </a:schemeClr>
                  </a:glow>
                </a:effectLst>
                <a:latin typeface="Calibri" panose="020F0502020204030204" pitchFamily="34" charset="0"/>
                <a:cs typeface="Calibri" panose="020F0502020204030204" pitchFamily="34" charset="0"/>
              </a:rPr>
              <a:t>August 2020</a:t>
            </a:r>
            <a:endParaRPr lang="en-GB" sz="3298" dirty="0">
              <a:effectLst>
                <a:glow rad="63500">
                  <a:schemeClr val="accent5">
                    <a:satMod val="175000"/>
                    <a:alpha val="40000"/>
                  </a:schemeClr>
                </a:glow>
              </a:effectLst>
              <a:latin typeface="Calibri" panose="020F0502020204030204" pitchFamily="34" charset="0"/>
              <a:cs typeface="Calibri" panose="020F0502020204030204" pitchFamily="34" charset="0"/>
            </a:endParaRPr>
          </a:p>
        </p:txBody>
      </p:sp>
      <p:grpSp>
        <p:nvGrpSpPr>
          <p:cNvPr id="41" name="Group 40">
            <a:extLst>
              <a:ext uri="{FF2B5EF4-FFF2-40B4-BE49-F238E27FC236}">
                <a16:creationId xmlns:a16="http://schemas.microsoft.com/office/drawing/2014/main" id="{732D0DD1-C5EC-4092-B773-0899E6F84F77}"/>
              </a:ext>
            </a:extLst>
          </p:cNvPr>
          <p:cNvGrpSpPr/>
          <p:nvPr/>
        </p:nvGrpSpPr>
        <p:grpSpPr>
          <a:xfrm>
            <a:off x="8355965" y="1444634"/>
            <a:ext cx="11576283" cy="8406996"/>
            <a:chOff x="4687185" y="875848"/>
            <a:chExt cx="7020361" cy="5098368"/>
          </a:xfrm>
        </p:grpSpPr>
        <p:sp>
          <p:nvSpPr>
            <p:cNvPr id="40" name="Freeform: Shape 39">
              <a:extLst>
                <a:ext uri="{FF2B5EF4-FFF2-40B4-BE49-F238E27FC236}">
                  <a16:creationId xmlns:a16="http://schemas.microsoft.com/office/drawing/2014/main" id="{2FCC05F7-06E3-4F92-8432-743019020A86}"/>
                </a:ext>
              </a:extLst>
            </p:cNvPr>
            <p:cNvSpPr/>
            <p:nvPr/>
          </p:nvSpPr>
          <p:spPr>
            <a:xfrm>
              <a:off x="5821378" y="1394234"/>
              <a:ext cx="1158844" cy="1837853"/>
            </a:xfrm>
            <a:custGeom>
              <a:avLst/>
              <a:gdLst>
                <a:gd name="connsiteX0" fmla="*/ 0 w 1158844"/>
                <a:gd name="connsiteY0" fmla="*/ 1837853 h 1837853"/>
                <a:gd name="connsiteX1" fmla="*/ 651850 w 1158844"/>
                <a:gd name="connsiteY1" fmla="*/ 1593410 h 1837853"/>
                <a:gd name="connsiteX2" fmla="*/ 669957 w 1158844"/>
                <a:gd name="connsiteY2" fmla="*/ 706170 h 1837853"/>
                <a:gd name="connsiteX3" fmla="*/ 1158844 w 1158844"/>
                <a:gd name="connsiteY3" fmla="*/ 0 h 1837853"/>
              </a:gdLst>
              <a:ahLst/>
              <a:cxnLst>
                <a:cxn ang="0">
                  <a:pos x="connsiteX0" y="connsiteY0"/>
                </a:cxn>
                <a:cxn ang="0">
                  <a:pos x="connsiteX1" y="connsiteY1"/>
                </a:cxn>
                <a:cxn ang="0">
                  <a:pos x="connsiteX2" y="connsiteY2"/>
                </a:cxn>
                <a:cxn ang="0">
                  <a:pos x="connsiteX3" y="connsiteY3"/>
                </a:cxn>
              </a:cxnLst>
              <a:rect l="l" t="t" r="r" b="b"/>
              <a:pathLst>
                <a:path w="1158844" h="1837853">
                  <a:moveTo>
                    <a:pt x="0" y="1837853"/>
                  </a:moveTo>
                  <a:cubicBezTo>
                    <a:pt x="270095" y="1809938"/>
                    <a:pt x="540191" y="1782024"/>
                    <a:pt x="651850" y="1593410"/>
                  </a:cubicBezTo>
                  <a:cubicBezTo>
                    <a:pt x="763509" y="1404796"/>
                    <a:pt x="585458" y="971738"/>
                    <a:pt x="669957" y="706170"/>
                  </a:cubicBezTo>
                  <a:cubicBezTo>
                    <a:pt x="754456" y="440602"/>
                    <a:pt x="1066801" y="196158"/>
                    <a:pt x="1158844" y="0"/>
                  </a:cubicBezTo>
                </a:path>
              </a:pathLst>
            </a:custGeom>
            <a:noFill/>
            <a:ln w="3175">
              <a:solidFill>
                <a:srgbClr val="FFE24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507846"/>
              <a:endParaRPr lang="en-US" sz="2968">
                <a:solidFill>
                  <a:srgbClr val="FFFFFF"/>
                </a:solidFill>
                <a:latin typeface="Arial"/>
              </a:endParaRPr>
            </a:p>
          </p:txBody>
        </p:sp>
        <p:sp>
          <p:nvSpPr>
            <p:cNvPr id="5" name="Freeform: Shape 4">
              <a:extLst>
                <a:ext uri="{FF2B5EF4-FFF2-40B4-BE49-F238E27FC236}">
                  <a16:creationId xmlns:a16="http://schemas.microsoft.com/office/drawing/2014/main" id="{2EDC1539-3278-4DAC-A01F-0014714041D2}"/>
                </a:ext>
              </a:extLst>
            </p:cNvPr>
            <p:cNvSpPr/>
            <p:nvPr/>
          </p:nvSpPr>
          <p:spPr>
            <a:xfrm>
              <a:off x="8714630" y="1208598"/>
              <a:ext cx="1789043" cy="1192256"/>
            </a:xfrm>
            <a:custGeom>
              <a:avLst/>
              <a:gdLst>
                <a:gd name="connsiteX0" fmla="*/ 1789043 w 1789043"/>
                <a:gd name="connsiteY0" fmla="*/ 1081378 h 1192256"/>
                <a:gd name="connsiteX1" fmla="*/ 1296062 w 1789043"/>
                <a:gd name="connsiteY1" fmla="*/ 1144988 h 1192256"/>
                <a:gd name="connsiteX2" fmla="*/ 826935 w 1789043"/>
                <a:gd name="connsiteY2" fmla="*/ 469127 h 1192256"/>
                <a:gd name="connsiteX3" fmla="*/ 0 w 1789043"/>
                <a:gd name="connsiteY3" fmla="*/ 0 h 1192256"/>
              </a:gdLst>
              <a:ahLst/>
              <a:cxnLst>
                <a:cxn ang="0">
                  <a:pos x="connsiteX0" y="connsiteY0"/>
                </a:cxn>
                <a:cxn ang="0">
                  <a:pos x="connsiteX1" y="connsiteY1"/>
                </a:cxn>
                <a:cxn ang="0">
                  <a:pos x="connsiteX2" y="connsiteY2"/>
                </a:cxn>
                <a:cxn ang="0">
                  <a:pos x="connsiteX3" y="connsiteY3"/>
                </a:cxn>
              </a:cxnLst>
              <a:rect l="l" t="t" r="r" b="b"/>
              <a:pathLst>
                <a:path w="1789043" h="1192256">
                  <a:moveTo>
                    <a:pt x="1789043" y="1081378"/>
                  </a:moveTo>
                  <a:cubicBezTo>
                    <a:pt x="1622728" y="1164204"/>
                    <a:pt x="1456413" y="1247030"/>
                    <a:pt x="1296062" y="1144988"/>
                  </a:cubicBezTo>
                  <a:cubicBezTo>
                    <a:pt x="1135711" y="1042946"/>
                    <a:pt x="1042945" y="659958"/>
                    <a:pt x="826935" y="469127"/>
                  </a:cubicBezTo>
                  <a:cubicBezTo>
                    <a:pt x="610925" y="278296"/>
                    <a:pt x="67586" y="47708"/>
                    <a:pt x="0" y="0"/>
                  </a:cubicBezTo>
                </a:path>
              </a:pathLst>
            </a:custGeom>
            <a:noFill/>
            <a:ln w="3175">
              <a:solidFill>
                <a:srgbClr val="19CE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507846"/>
              <a:endParaRPr lang="en-US" sz="2968">
                <a:solidFill>
                  <a:srgbClr val="FFFFFF"/>
                </a:solidFill>
                <a:latin typeface="Arial"/>
              </a:endParaRPr>
            </a:p>
          </p:txBody>
        </p:sp>
        <p:sp>
          <p:nvSpPr>
            <p:cNvPr id="37" name="Freeform: Shape 36">
              <a:extLst>
                <a:ext uri="{FF2B5EF4-FFF2-40B4-BE49-F238E27FC236}">
                  <a16:creationId xmlns:a16="http://schemas.microsoft.com/office/drawing/2014/main" id="{FA4AD071-7DA5-44E6-B750-06478DADFCF2}"/>
                </a:ext>
              </a:extLst>
            </p:cNvPr>
            <p:cNvSpPr/>
            <p:nvPr/>
          </p:nvSpPr>
          <p:spPr>
            <a:xfrm>
              <a:off x="7939889" y="4890506"/>
              <a:ext cx="2000816" cy="706264"/>
            </a:xfrm>
            <a:custGeom>
              <a:avLst/>
              <a:gdLst>
                <a:gd name="connsiteX0" fmla="*/ 2000816 w 2000816"/>
                <a:gd name="connsiteY0" fmla="*/ 369557 h 706264"/>
                <a:gd name="connsiteX1" fmla="*/ 1321806 w 2000816"/>
                <a:gd name="connsiteY1" fmla="*/ 695482 h 706264"/>
                <a:gd name="connsiteX2" fmla="*/ 841972 w 2000816"/>
                <a:gd name="connsiteY2" fmla="*/ 16472 h 706264"/>
                <a:gd name="connsiteX3" fmla="*/ 0 w 2000816"/>
                <a:gd name="connsiteY3" fmla="*/ 206595 h 706264"/>
              </a:gdLst>
              <a:ahLst/>
              <a:cxnLst>
                <a:cxn ang="0">
                  <a:pos x="connsiteX0" y="connsiteY0"/>
                </a:cxn>
                <a:cxn ang="0">
                  <a:pos x="connsiteX1" y="connsiteY1"/>
                </a:cxn>
                <a:cxn ang="0">
                  <a:pos x="connsiteX2" y="connsiteY2"/>
                </a:cxn>
                <a:cxn ang="0">
                  <a:pos x="connsiteX3" y="connsiteY3"/>
                </a:cxn>
              </a:cxnLst>
              <a:rect l="l" t="t" r="r" b="b"/>
              <a:pathLst>
                <a:path w="2000816" h="706264">
                  <a:moveTo>
                    <a:pt x="2000816" y="369557"/>
                  </a:moveTo>
                  <a:cubicBezTo>
                    <a:pt x="1757881" y="561943"/>
                    <a:pt x="1514947" y="754330"/>
                    <a:pt x="1321806" y="695482"/>
                  </a:cubicBezTo>
                  <a:cubicBezTo>
                    <a:pt x="1128665" y="636635"/>
                    <a:pt x="1062273" y="97953"/>
                    <a:pt x="841972" y="16472"/>
                  </a:cubicBezTo>
                  <a:cubicBezTo>
                    <a:pt x="621671" y="-65009"/>
                    <a:pt x="131275" y="180944"/>
                    <a:pt x="0" y="206595"/>
                  </a:cubicBezTo>
                </a:path>
              </a:pathLst>
            </a:custGeom>
            <a:noFill/>
            <a:ln w="3175">
              <a:solidFill>
                <a:srgbClr val="AB5A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507846"/>
              <a:endParaRPr lang="en-US" sz="2968">
                <a:solidFill>
                  <a:srgbClr val="FFFFFF"/>
                </a:solidFill>
                <a:latin typeface="Arial"/>
              </a:endParaRPr>
            </a:p>
          </p:txBody>
        </p:sp>
        <p:grpSp>
          <p:nvGrpSpPr>
            <p:cNvPr id="7" name="그룹 2">
              <a:extLst>
                <a:ext uri="{FF2B5EF4-FFF2-40B4-BE49-F238E27FC236}">
                  <a16:creationId xmlns:a16="http://schemas.microsoft.com/office/drawing/2014/main" id="{8B3B85FA-F999-4E73-8991-E0D06C15EF13}"/>
                </a:ext>
              </a:extLst>
            </p:cNvPr>
            <p:cNvGrpSpPr/>
            <p:nvPr/>
          </p:nvGrpSpPr>
          <p:grpSpPr>
            <a:xfrm>
              <a:off x="4687185" y="875848"/>
              <a:ext cx="7020361" cy="5098368"/>
              <a:chOff x="1944920" y="1835170"/>
              <a:chExt cx="5709554" cy="4217714"/>
            </a:xfrm>
          </p:grpSpPr>
          <p:cxnSp>
            <p:nvCxnSpPr>
              <p:cNvPr id="10" name="Straight Connector 9">
                <a:extLst>
                  <a:ext uri="{FF2B5EF4-FFF2-40B4-BE49-F238E27FC236}">
                    <a16:creationId xmlns:a16="http://schemas.microsoft.com/office/drawing/2014/main" id="{308FAC11-627A-41BC-9628-30B7EBA7E306}"/>
                  </a:ext>
                </a:extLst>
              </p:cNvPr>
              <p:cNvCxnSpPr>
                <a:cxnSpLocks/>
                <a:endCxn id="19" idx="1"/>
              </p:cNvCxnSpPr>
              <p:nvPr/>
            </p:nvCxnSpPr>
            <p:spPr>
              <a:xfrm>
                <a:off x="4936446" y="3871740"/>
                <a:ext cx="1178797" cy="868814"/>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EBBEF5C-1B98-4737-BF9E-32982DF62E8F}"/>
                  </a:ext>
                </a:extLst>
              </p:cNvPr>
              <p:cNvCxnSpPr>
                <a:cxnSpLocks/>
                <a:endCxn id="21" idx="6"/>
              </p:cNvCxnSpPr>
              <p:nvPr/>
            </p:nvCxnSpPr>
            <p:spPr>
              <a:xfrm flipH="1">
                <a:off x="3134007" y="3871740"/>
                <a:ext cx="1802438" cy="121704"/>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57ED312E-5C57-491E-BE25-BB2BE6E75A2A}"/>
                  </a:ext>
                </a:extLst>
              </p:cNvPr>
              <p:cNvCxnSpPr>
                <a:cxnSpLocks/>
                <a:endCxn id="17" idx="3"/>
              </p:cNvCxnSpPr>
              <p:nvPr/>
            </p:nvCxnSpPr>
            <p:spPr>
              <a:xfrm flipV="1">
                <a:off x="4976826" y="3247988"/>
                <a:ext cx="1726109" cy="650376"/>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6" name="Oval 15">
                <a:extLst>
                  <a:ext uri="{FF2B5EF4-FFF2-40B4-BE49-F238E27FC236}">
                    <a16:creationId xmlns:a16="http://schemas.microsoft.com/office/drawing/2014/main" id="{5E3E540D-9BB9-4C2A-98A4-99F75ADB3BE4}"/>
                  </a:ext>
                </a:extLst>
              </p:cNvPr>
              <p:cNvSpPr/>
              <p:nvPr/>
            </p:nvSpPr>
            <p:spPr>
              <a:xfrm>
                <a:off x="4180360" y="3115656"/>
                <a:ext cx="1512168" cy="1512168"/>
              </a:xfrm>
              <a:prstGeom prst="ellipse">
                <a:avLst/>
              </a:prstGeom>
              <a:solidFill>
                <a:srgbClr val="4F008C"/>
              </a:solidFill>
              <a:ln/>
            </p:spPr>
            <p:style>
              <a:lnRef idx="0">
                <a:schemeClr val="accent4"/>
              </a:lnRef>
              <a:fillRef idx="3">
                <a:schemeClr val="accent4"/>
              </a:fillRef>
              <a:effectRef idx="3">
                <a:schemeClr val="accent4"/>
              </a:effectRef>
              <a:fontRef idx="minor">
                <a:schemeClr val="lt1"/>
              </a:fontRef>
            </p:style>
            <p:txBody>
              <a:bodyPr rtlCol="0" anchor="ctr"/>
              <a:lstStyle/>
              <a:p>
                <a:pPr algn="ctr" defTabSz="1507846"/>
                <a:endParaRPr lang="ko-KR" altLang="en-US" sz="4452" dirty="0">
                  <a:solidFill>
                    <a:srgbClr val="FFFFFF"/>
                  </a:solidFill>
                  <a:latin typeface="Arial"/>
                </a:endParaRPr>
              </a:p>
            </p:txBody>
          </p:sp>
          <p:sp>
            <p:nvSpPr>
              <p:cNvPr id="17" name="Oval 16">
                <a:extLst>
                  <a:ext uri="{FF2B5EF4-FFF2-40B4-BE49-F238E27FC236}">
                    <a16:creationId xmlns:a16="http://schemas.microsoft.com/office/drawing/2014/main" id="{870C54FC-A568-454C-95C1-63027F696EFA}"/>
                  </a:ext>
                </a:extLst>
              </p:cNvPr>
              <p:cNvSpPr/>
              <p:nvPr/>
            </p:nvSpPr>
            <p:spPr>
              <a:xfrm>
                <a:off x="6539677" y="2368411"/>
                <a:ext cx="1114797" cy="1030489"/>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defTabSz="1507846"/>
                <a:r>
                  <a:rPr lang="en-US" altLang="ko-KR" sz="2309" b="1" dirty="0">
                    <a:solidFill>
                      <a:srgbClr val="FFFFFF"/>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Evaluating</a:t>
                </a:r>
                <a:endParaRPr lang="ko-KR" altLang="en-US" sz="2309" b="1" dirty="0">
                  <a:solidFill>
                    <a:srgbClr val="FFFFFF"/>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endParaRPr>
              </a:p>
            </p:txBody>
          </p:sp>
          <p:sp>
            <p:nvSpPr>
              <p:cNvPr id="18" name="Oval 17">
                <a:extLst>
                  <a:ext uri="{FF2B5EF4-FFF2-40B4-BE49-F238E27FC236}">
                    <a16:creationId xmlns:a16="http://schemas.microsoft.com/office/drawing/2014/main" id="{05491BC1-FEFD-4E5F-BD7A-F159E1D221B1}"/>
                  </a:ext>
                </a:extLst>
              </p:cNvPr>
              <p:cNvSpPr/>
              <p:nvPr/>
            </p:nvSpPr>
            <p:spPr>
              <a:xfrm>
                <a:off x="4793756" y="1835170"/>
                <a:ext cx="593402" cy="59340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507846"/>
                <a:r>
                  <a:rPr lang="en-US" altLang="ko-KR" sz="1319" dirty="0">
                    <a:solidFill>
                      <a:srgbClr val="FFFFFF"/>
                    </a:solidFill>
                    <a:latin typeface="Calibri" panose="020F0502020204030204" pitchFamily="34" charset="0"/>
                    <a:cs typeface="Calibri" panose="020F0502020204030204" pitchFamily="34" charset="0"/>
                  </a:rPr>
                  <a:t>Decide</a:t>
                </a:r>
                <a:endParaRPr lang="ko-KR" altLang="en-US" sz="1319" dirty="0">
                  <a:solidFill>
                    <a:srgbClr val="FFFFFF"/>
                  </a:solidFill>
                  <a:latin typeface="Calibri" panose="020F0502020204030204" pitchFamily="34" charset="0"/>
                  <a:cs typeface="Calibri" panose="020F0502020204030204" pitchFamily="34" charset="0"/>
                </a:endParaRPr>
              </a:p>
            </p:txBody>
          </p:sp>
          <p:sp>
            <p:nvSpPr>
              <p:cNvPr id="19" name="Oval 18">
                <a:extLst>
                  <a:ext uri="{FF2B5EF4-FFF2-40B4-BE49-F238E27FC236}">
                    <a16:creationId xmlns:a16="http://schemas.microsoft.com/office/drawing/2014/main" id="{DB27E3E0-3BCA-4481-AB39-FAB0ECA700A3}"/>
                  </a:ext>
                </a:extLst>
              </p:cNvPr>
              <p:cNvSpPr/>
              <p:nvPr/>
            </p:nvSpPr>
            <p:spPr>
              <a:xfrm>
                <a:off x="5951985" y="4577296"/>
                <a:ext cx="1114797" cy="1114797"/>
              </a:xfrm>
              <a:prstGeom prst="ellipse">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defTabSz="1507846"/>
                <a:r>
                  <a:rPr lang="en-US" altLang="ko-KR" sz="2968" b="1" dirty="0">
                    <a:solidFill>
                      <a:srgbClr val="FFFFFF"/>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Using</a:t>
                </a:r>
                <a:endParaRPr lang="ko-KR" altLang="en-US" sz="2968" b="1" dirty="0">
                  <a:solidFill>
                    <a:srgbClr val="FFFFFF"/>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endParaRPr>
              </a:p>
            </p:txBody>
          </p:sp>
          <p:sp>
            <p:nvSpPr>
              <p:cNvPr id="20" name="Oval 19">
                <a:extLst>
                  <a:ext uri="{FF2B5EF4-FFF2-40B4-BE49-F238E27FC236}">
                    <a16:creationId xmlns:a16="http://schemas.microsoft.com/office/drawing/2014/main" id="{73648B01-E1AF-49F9-9629-58BEB65FD4F3}"/>
                  </a:ext>
                </a:extLst>
              </p:cNvPr>
              <p:cNvSpPr/>
              <p:nvPr/>
            </p:nvSpPr>
            <p:spPr>
              <a:xfrm>
                <a:off x="4189007" y="5092259"/>
                <a:ext cx="673968" cy="673968"/>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507846"/>
                <a:r>
                  <a:rPr lang="en-US" altLang="ko-KR" sz="1319" dirty="0">
                    <a:solidFill>
                      <a:srgbClr val="FFFFFF"/>
                    </a:solidFill>
                    <a:latin typeface="Calibri" panose="020F0502020204030204" pitchFamily="34" charset="0"/>
                    <a:cs typeface="Calibri" panose="020F0502020204030204" pitchFamily="34" charset="0"/>
                  </a:rPr>
                  <a:t>Settle</a:t>
                </a:r>
                <a:endParaRPr lang="ko-KR" altLang="en-US" sz="1319" dirty="0">
                  <a:solidFill>
                    <a:srgbClr val="FFFFFF"/>
                  </a:solidFill>
                  <a:latin typeface="Calibri" panose="020F0502020204030204" pitchFamily="34" charset="0"/>
                  <a:cs typeface="Calibri" panose="020F0502020204030204" pitchFamily="34" charset="0"/>
                </a:endParaRPr>
              </a:p>
            </p:txBody>
          </p:sp>
          <p:sp>
            <p:nvSpPr>
              <p:cNvPr id="21" name="Oval 20">
                <a:extLst>
                  <a:ext uri="{FF2B5EF4-FFF2-40B4-BE49-F238E27FC236}">
                    <a16:creationId xmlns:a16="http://schemas.microsoft.com/office/drawing/2014/main" id="{03B2BB1D-6746-41BD-88AF-7C14209FCAB7}"/>
                  </a:ext>
                </a:extLst>
              </p:cNvPr>
              <p:cNvSpPr/>
              <p:nvPr/>
            </p:nvSpPr>
            <p:spPr>
              <a:xfrm>
                <a:off x="1944920" y="3398900"/>
                <a:ext cx="1189087" cy="1189087"/>
              </a:xfrm>
              <a:prstGeom prst="ellipse">
                <a:avLst/>
              </a:prstGeom>
              <a:ln/>
            </p:spPr>
            <p:style>
              <a:lnRef idx="0">
                <a:schemeClr val="accent1"/>
              </a:lnRef>
              <a:fillRef idx="3">
                <a:schemeClr val="accent1"/>
              </a:fillRef>
              <a:effectRef idx="3">
                <a:schemeClr val="accent1"/>
              </a:effectRef>
              <a:fontRef idx="minor">
                <a:schemeClr val="lt1"/>
              </a:fontRef>
            </p:style>
            <p:txBody>
              <a:bodyPr rtlCol="0" anchor="ctr"/>
              <a:lstStyle/>
              <a:p>
                <a:pPr algn="ctr" defTabSz="1507846"/>
                <a:r>
                  <a:rPr lang="en-US" altLang="ko-KR" sz="2968" b="1" dirty="0">
                    <a:solidFill>
                      <a:srgbClr val="FFFFFF"/>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Engaging</a:t>
                </a:r>
                <a:endParaRPr lang="ko-KR" altLang="en-US" sz="2968" b="1" dirty="0">
                  <a:solidFill>
                    <a:srgbClr val="FFFFFF"/>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endParaRPr>
              </a:p>
            </p:txBody>
          </p:sp>
          <p:sp>
            <p:nvSpPr>
              <p:cNvPr id="22" name="Oval 21">
                <a:extLst>
                  <a:ext uri="{FF2B5EF4-FFF2-40B4-BE49-F238E27FC236}">
                    <a16:creationId xmlns:a16="http://schemas.microsoft.com/office/drawing/2014/main" id="{45546AA4-8D11-4D2A-84DC-0D93C3929341}"/>
                  </a:ext>
                </a:extLst>
              </p:cNvPr>
              <p:cNvSpPr/>
              <p:nvPr/>
            </p:nvSpPr>
            <p:spPr>
              <a:xfrm>
                <a:off x="3087840" y="2462877"/>
                <a:ext cx="622819" cy="59340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507846"/>
                <a:r>
                  <a:rPr lang="en-US" altLang="ko-KR" sz="1319" dirty="0">
                    <a:solidFill>
                      <a:srgbClr val="FFFFFF"/>
                    </a:solidFill>
                    <a:latin typeface="Calibri" panose="020F0502020204030204" pitchFamily="34" charset="0"/>
                    <a:cs typeface="Calibri" panose="020F0502020204030204" pitchFamily="34" charset="0"/>
                  </a:rPr>
                  <a:t>Interact</a:t>
                </a:r>
                <a:endParaRPr lang="ko-KR" altLang="en-US" sz="1319" dirty="0">
                  <a:solidFill>
                    <a:srgbClr val="FFFFFF"/>
                  </a:solidFill>
                  <a:latin typeface="Calibri" panose="020F0502020204030204" pitchFamily="34" charset="0"/>
                  <a:cs typeface="Calibri" panose="020F0502020204030204" pitchFamily="34" charset="0"/>
                </a:endParaRPr>
              </a:p>
            </p:txBody>
          </p:sp>
          <p:sp>
            <p:nvSpPr>
              <p:cNvPr id="23" name="TextBox 22">
                <a:extLst>
                  <a:ext uri="{FF2B5EF4-FFF2-40B4-BE49-F238E27FC236}">
                    <a16:creationId xmlns:a16="http://schemas.microsoft.com/office/drawing/2014/main" id="{F1827FC1-2581-450D-B5BF-6912D8F16FC1}"/>
                  </a:ext>
                </a:extLst>
              </p:cNvPr>
              <p:cNvSpPr txBox="1"/>
              <p:nvPr/>
            </p:nvSpPr>
            <p:spPr>
              <a:xfrm>
                <a:off x="4222891" y="3726414"/>
                <a:ext cx="1427109" cy="275459"/>
              </a:xfrm>
              <a:prstGeom prst="rect">
                <a:avLst/>
              </a:prstGeom>
              <a:noFill/>
            </p:spPr>
            <p:txBody>
              <a:bodyPr wrap="square" rtlCol="0">
                <a:spAutoFit/>
              </a:bodyPr>
              <a:lstStyle/>
              <a:p>
                <a:pPr algn="ctr" defTabSz="1507846"/>
                <a:r>
                  <a:rPr lang="en-US" altLang="ko-KR" sz="2968" b="1" dirty="0">
                    <a:solidFill>
                      <a:srgbClr val="FFFFFF"/>
                    </a:solidFill>
                    <a:effectLst>
                      <a:outerShdw blurRad="38100" dist="38100" dir="2700000" algn="tl">
                        <a:srgbClr val="000000">
                          <a:alpha val="43137"/>
                        </a:srgbClr>
                      </a:outerShdw>
                    </a:effectLst>
                    <a:latin typeface="Chiller" panose="04020404031007020602" pitchFamily="82" charset="0"/>
                    <a:cs typeface="Calibri" pitchFamily="34" charset="0"/>
                  </a:rPr>
                  <a:t>Customer Experience</a:t>
                </a:r>
                <a:endParaRPr lang="ko-KR" altLang="en-US" sz="2968" b="1" dirty="0">
                  <a:solidFill>
                    <a:srgbClr val="FFFFFF"/>
                  </a:solidFill>
                  <a:effectLst>
                    <a:outerShdw blurRad="38100" dist="38100" dir="2700000" algn="tl">
                      <a:srgbClr val="000000">
                        <a:alpha val="43137"/>
                      </a:srgbClr>
                    </a:outerShdw>
                  </a:effectLst>
                  <a:latin typeface="Chiller" panose="04020404031007020602" pitchFamily="82" charset="0"/>
                  <a:cs typeface="Calibri" pitchFamily="34" charset="0"/>
                </a:endParaRPr>
              </a:p>
            </p:txBody>
          </p:sp>
          <p:sp>
            <p:nvSpPr>
              <p:cNvPr id="24" name="Oval 23">
                <a:extLst>
                  <a:ext uri="{FF2B5EF4-FFF2-40B4-BE49-F238E27FC236}">
                    <a16:creationId xmlns:a16="http://schemas.microsoft.com/office/drawing/2014/main" id="{2778E6A2-D0BB-43A2-9855-C0BD316C83F4}"/>
                  </a:ext>
                </a:extLst>
              </p:cNvPr>
              <p:cNvSpPr/>
              <p:nvPr/>
            </p:nvSpPr>
            <p:spPr>
              <a:xfrm>
                <a:off x="5066607" y="4878024"/>
                <a:ext cx="532389" cy="53238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507846"/>
                <a:r>
                  <a:rPr lang="en-US" altLang="ko-KR" sz="1319" dirty="0">
                    <a:solidFill>
                      <a:srgbClr val="FFFFFF"/>
                    </a:solidFill>
                    <a:latin typeface="Calibri" panose="020F0502020204030204" pitchFamily="34" charset="0"/>
                    <a:cs typeface="Calibri" panose="020F0502020204030204" pitchFamily="34" charset="0"/>
                  </a:rPr>
                  <a:t>Manage</a:t>
                </a:r>
                <a:endParaRPr lang="ko-KR" altLang="en-US" sz="1319" dirty="0">
                  <a:solidFill>
                    <a:srgbClr val="FFFFFF"/>
                  </a:solidFill>
                  <a:latin typeface="Calibri" panose="020F0502020204030204" pitchFamily="34" charset="0"/>
                  <a:cs typeface="Calibri" panose="020F0502020204030204" pitchFamily="34" charset="0"/>
                </a:endParaRPr>
              </a:p>
            </p:txBody>
          </p:sp>
          <p:sp>
            <p:nvSpPr>
              <p:cNvPr id="25" name="Oval 24">
                <a:extLst>
                  <a:ext uri="{FF2B5EF4-FFF2-40B4-BE49-F238E27FC236}">
                    <a16:creationId xmlns:a16="http://schemas.microsoft.com/office/drawing/2014/main" id="{EAC02A3E-858E-499C-AD3A-4DBE5EAC36D5}"/>
                  </a:ext>
                </a:extLst>
              </p:cNvPr>
              <p:cNvSpPr/>
              <p:nvPr/>
            </p:nvSpPr>
            <p:spPr>
              <a:xfrm>
                <a:off x="5609836" y="2087184"/>
                <a:ext cx="581505" cy="52045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507846"/>
                <a:r>
                  <a:rPr lang="en-US" altLang="ko-KR" sz="1319" dirty="0">
                    <a:solidFill>
                      <a:srgbClr val="FFFFFF"/>
                    </a:solidFill>
                    <a:latin typeface="Calibri" panose="020F0502020204030204" pitchFamily="34" charset="0"/>
                    <a:cs typeface="Calibri" panose="020F0502020204030204" pitchFamily="34" charset="0"/>
                  </a:rPr>
                  <a:t>Share</a:t>
                </a:r>
                <a:endParaRPr lang="ko-KR" altLang="en-US" sz="1319" dirty="0">
                  <a:solidFill>
                    <a:srgbClr val="FFFFFF"/>
                  </a:solidFill>
                  <a:latin typeface="Calibri" panose="020F0502020204030204" pitchFamily="34" charset="0"/>
                  <a:cs typeface="Calibri" panose="020F0502020204030204" pitchFamily="34" charset="0"/>
                </a:endParaRPr>
              </a:p>
            </p:txBody>
          </p:sp>
          <p:sp>
            <p:nvSpPr>
              <p:cNvPr id="26" name="Oval 25">
                <a:extLst>
                  <a:ext uri="{FF2B5EF4-FFF2-40B4-BE49-F238E27FC236}">
                    <a16:creationId xmlns:a16="http://schemas.microsoft.com/office/drawing/2014/main" id="{7A00513D-8576-4FA3-B929-AF3DF49B538E}"/>
                  </a:ext>
                </a:extLst>
              </p:cNvPr>
              <p:cNvSpPr/>
              <p:nvPr/>
            </p:nvSpPr>
            <p:spPr>
              <a:xfrm>
                <a:off x="3684871" y="4480235"/>
                <a:ext cx="363255" cy="363255"/>
              </a:xfrm>
              <a:prstGeom prst="ellipse">
                <a:avLst/>
              </a:prstGeom>
              <a:solidFill>
                <a:schemeClr val="accent4">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507846"/>
                <a:endParaRPr lang="ko-KR" altLang="en-US" sz="4452">
                  <a:solidFill>
                    <a:srgbClr val="FFFFFF"/>
                  </a:solidFill>
                  <a:latin typeface="Arial"/>
                </a:endParaRPr>
              </a:p>
            </p:txBody>
          </p:sp>
          <p:sp>
            <p:nvSpPr>
              <p:cNvPr id="27" name="Oval 26">
                <a:extLst>
                  <a:ext uri="{FF2B5EF4-FFF2-40B4-BE49-F238E27FC236}">
                    <a16:creationId xmlns:a16="http://schemas.microsoft.com/office/drawing/2014/main" id="{92DF3F4C-EBFD-4205-9D6B-0962266155B6}"/>
                  </a:ext>
                </a:extLst>
              </p:cNvPr>
              <p:cNvSpPr/>
              <p:nvPr/>
            </p:nvSpPr>
            <p:spPr>
              <a:xfrm>
                <a:off x="6476486" y="3551209"/>
                <a:ext cx="282855" cy="282855"/>
              </a:xfrm>
              <a:prstGeom prst="ellipse">
                <a:avLst/>
              </a:prstGeom>
              <a:solidFill>
                <a:schemeClr val="accent2">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507846"/>
                <a:endParaRPr lang="ko-KR" altLang="en-US" sz="4452">
                  <a:solidFill>
                    <a:srgbClr val="FFFFFF"/>
                  </a:solidFill>
                  <a:latin typeface="Arial"/>
                </a:endParaRPr>
              </a:p>
            </p:txBody>
          </p:sp>
          <p:sp>
            <p:nvSpPr>
              <p:cNvPr id="28" name="Oval 27">
                <a:extLst>
                  <a:ext uri="{FF2B5EF4-FFF2-40B4-BE49-F238E27FC236}">
                    <a16:creationId xmlns:a16="http://schemas.microsoft.com/office/drawing/2014/main" id="{BD7A67E0-F12D-4FA7-B224-7642C23377DE}"/>
                  </a:ext>
                </a:extLst>
              </p:cNvPr>
              <p:cNvSpPr/>
              <p:nvPr/>
            </p:nvSpPr>
            <p:spPr>
              <a:xfrm>
                <a:off x="2668761" y="2196177"/>
                <a:ext cx="266700" cy="266700"/>
              </a:xfrm>
              <a:prstGeom prst="ellipse">
                <a:avLst/>
              </a:prstGeom>
              <a:solidFill>
                <a:schemeClr val="accent4">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507846"/>
                <a:endParaRPr lang="ko-KR" altLang="en-US" sz="4452">
                  <a:solidFill>
                    <a:srgbClr val="FFFFFF"/>
                  </a:solidFill>
                  <a:latin typeface="Arial"/>
                </a:endParaRPr>
              </a:p>
            </p:txBody>
          </p:sp>
          <p:sp>
            <p:nvSpPr>
              <p:cNvPr id="29" name="Oval 28">
                <a:extLst>
                  <a:ext uri="{FF2B5EF4-FFF2-40B4-BE49-F238E27FC236}">
                    <a16:creationId xmlns:a16="http://schemas.microsoft.com/office/drawing/2014/main" id="{EFDEE092-E942-49BF-9509-7DD6470ADC9A}"/>
                  </a:ext>
                </a:extLst>
              </p:cNvPr>
              <p:cNvSpPr/>
              <p:nvPr/>
            </p:nvSpPr>
            <p:spPr>
              <a:xfrm>
                <a:off x="5924795" y="4117523"/>
                <a:ext cx="352320" cy="352320"/>
              </a:xfrm>
              <a:prstGeom prst="ellipse">
                <a:avLst/>
              </a:prstGeom>
              <a:solidFill>
                <a:schemeClr val="accent5">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507846"/>
                <a:endParaRPr lang="ko-KR" altLang="en-US" sz="4452">
                  <a:solidFill>
                    <a:srgbClr val="FFFFFF"/>
                  </a:solidFill>
                  <a:latin typeface="Arial"/>
                </a:endParaRPr>
              </a:p>
            </p:txBody>
          </p:sp>
          <p:sp>
            <p:nvSpPr>
              <p:cNvPr id="30" name="Oval 29">
                <a:extLst>
                  <a:ext uri="{FF2B5EF4-FFF2-40B4-BE49-F238E27FC236}">
                    <a16:creationId xmlns:a16="http://schemas.microsoft.com/office/drawing/2014/main" id="{D4EF8114-D404-45AD-91AD-7C3A25D0C45F}"/>
                  </a:ext>
                </a:extLst>
              </p:cNvPr>
              <p:cNvSpPr/>
              <p:nvPr/>
            </p:nvSpPr>
            <p:spPr>
              <a:xfrm>
                <a:off x="3215002" y="3247988"/>
                <a:ext cx="503493" cy="47275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507846"/>
                <a:r>
                  <a:rPr lang="en-US" altLang="ko-KR" sz="1319" dirty="0">
                    <a:solidFill>
                      <a:srgbClr val="FFFFFF"/>
                    </a:solidFill>
                    <a:latin typeface="Calibri" panose="020F0502020204030204" pitchFamily="34" charset="0"/>
                    <a:cs typeface="Calibri" panose="020F0502020204030204" pitchFamily="34" charset="0"/>
                  </a:rPr>
                  <a:t>Be Aware</a:t>
                </a:r>
                <a:endParaRPr lang="ko-KR" altLang="en-US" sz="1319" dirty="0">
                  <a:solidFill>
                    <a:srgbClr val="FFFFFF"/>
                  </a:solidFill>
                  <a:latin typeface="Calibri" panose="020F0502020204030204" pitchFamily="34" charset="0"/>
                  <a:cs typeface="Calibri" panose="020F0502020204030204" pitchFamily="34" charset="0"/>
                </a:endParaRPr>
              </a:p>
            </p:txBody>
          </p:sp>
          <p:sp>
            <p:nvSpPr>
              <p:cNvPr id="31" name="Oval 30">
                <a:extLst>
                  <a:ext uri="{FF2B5EF4-FFF2-40B4-BE49-F238E27FC236}">
                    <a16:creationId xmlns:a16="http://schemas.microsoft.com/office/drawing/2014/main" id="{6A4C4FF1-E15B-4465-ACD1-60B5A597F8C0}"/>
                  </a:ext>
                </a:extLst>
              </p:cNvPr>
              <p:cNvSpPr/>
              <p:nvPr/>
            </p:nvSpPr>
            <p:spPr>
              <a:xfrm>
                <a:off x="3998959" y="3241670"/>
                <a:ext cx="200451" cy="200451"/>
              </a:xfrm>
              <a:prstGeom prst="ellipse">
                <a:avLst/>
              </a:prstGeom>
              <a:solidFill>
                <a:schemeClr val="accent3">
                  <a:alpha val="7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507846"/>
                <a:endParaRPr lang="ko-KR" altLang="en-US" sz="4452">
                  <a:solidFill>
                    <a:srgbClr val="FFFFFF"/>
                  </a:solidFill>
                  <a:latin typeface="Arial"/>
                </a:endParaRPr>
              </a:p>
            </p:txBody>
          </p:sp>
          <p:sp>
            <p:nvSpPr>
              <p:cNvPr id="32" name="Oval 31">
                <a:extLst>
                  <a:ext uri="{FF2B5EF4-FFF2-40B4-BE49-F238E27FC236}">
                    <a16:creationId xmlns:a16="http://schemas.microsoft.com/office/drawing/2014/main" id="{32C5E1E8-B28E-4C08-BB67-6B92E06A2E97}"/>
                  </a:ext>
                </a:extLst>
              </p:cNvPr>
              <p:cNvSpPr/>
              <p:nvPr/>
            </p:nvSpPr>
            <p:spPr>
              <a:xfrm>
                <a:off x="5387158" y="2661197"/>
                <a:ext cx="200451" cy="200451"/>
              </a:xfrm>
              <a:prstGeom prst="ellipse">
                <a:avLst/>
              </a:prstGeom>
              <a:solidFill>
                <a:schemeClr val="accent3">
                  <a:alpha val="7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507846"/>
                <a:endParaRPr lang="ko-KR" altLang="en-US" sz="4452">
                  <a:solidFill>
                    <a:srgbClr val="FFFFFF"/>
                  </a:solidFill>
                  <a:latin typeface="Arial"/>
                </a:endParaRPr>
              </a:p>
            </p:txBody>
          </p:sp>
          <p:sp>
            <p:nvSpPr>
              <p:cNvPr id="33" name="Oval 32">
                <a:extLst>
                  <a:ext uri="{FF2B5EF4-FFF2-40B4-BE49-F238E27FC236}">
                    <a16:creationId xmlns:a16="http://schemas.microsoft.com/office/drawing/2014/main" id="{122359DD-34A3-45A2-92E2-F23FE607401C}"/>
                  </a:ext>
                </a:extLst>
              </p:cNvPr>
              <p:cNvSpPr/>
              <p:nvPr/>
            </p:nvSpPr>
            <p:spPr>
              <a:xfrm>
                <a:off x="4593305" y="5852433"/>
                <a:ext cx="200451" cy="200451"/>
              </a:xfrm>
              <a:prstGeom prst="ellipse">
                <a:avLst/>
              </a:prstGeom>
              <a:solidFill>
                <a:schemeClr val="accent3">
                  <a:alpha val="7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507846"/>
                <a:endParaRPr lang="ko-KR" altLang="en-US" sz="4452">
                  <a:solidFill>
                    <a:srgbClr val="FFFFFF"/>
                  </a:solidFill>
                  <a:latin typeface="Arial"/>
                </a:endParaRPr>
              </a:p>
            </p:txBody>
          </p:sp>
          <p:sp>
            <p:nvSpPr>
              <p:cNvPr id="34" name="Oval 40">
                <a:extLst>
                  <a:ext uri="{FF2B5EF4-FFF2-40B4-BE49-F238E27FC236}">
                    <a16:creationId xmlns:a16="http://schemas.microsoft.com/office/drawing/2014/main" id="{0C9DCFFC-30D0-46B7-B875-320B1BBCB0FB}"/>
                  </a:ext>
                </a:extLst>
              </p:cNvPr>
              <p:cNvSpPr/>
              <p:nvPr/>
            </p:nvSpPr>
            <p:spPr>
              <a:xfrm>
                <a:off x="2927021" y="4538537"/>
                <a:ext cx="200451" cy="200451"/>
              </a:xfrm>
              <a:prstGeom prst="ellipse">
                <a:avLst/>
              </a:prstGeom>
              <a:solidFill>
                <a:schemeClr val="accent3">
                  <a:alpha val="7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507846"/>
                <a:endParaRPr lang="ko-KR" altLang="en-US" sz="4452">
                  <a:solidFill>
                    <a:srgbClr val="FFFFFF"/>
                  </a:solidFill>
                  <a:latin typeface="Arial"/>
                </a:endParaRPr>
              </a:p>
            </p:txBody>
          </p:sp>
          <p:sp>
            <p:nvSpPr>
              <p:cNvPr id="35" name="Oval 30">
                <a:extLst>
                  <a:ext uri="{FF2B5EF4-FFF2-40B4-BE49-F238E27FC236}">
                    <a16:creationId xmlns:a16="http://schemas.microsoft.com/office/drawing/2014/main" id="{64AF776D-79E8-4A50-83D1-B6C5918C6DA5}"/>
                  </a:ext>
                </a:extLst>
              </p:cNvPr>
              <p:cNvSpPr/>
              <p:nvPr/>
            </p:nvSpPr>
            <p:spPr>
              <a:xfrm>
                <a:off x="5844908" y="2804632"/>
                <a:ext cx="581506" cy="539903"/>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507846"/>
                <a:r>
                  <a:rPr lang="en-US" altLang="ko-KR" sz="1319" dirty="0">
                    <a:solidFill>
                      <a:srgbClr val="FFFFFF"/>
                    </a:solidFill>
                    <a:latin typeface="Calibri" panose="020F0502020204030204" pitchFamily="34" charset="0"/>
                    <a:cs typeface="Calibri" panose="020F0502020204030204" pitchFamily="34" charset="0"/>
                  </a:rPr>
                  <a:t>Review</a:t>
                </a:r>
                <a:endParaRPr lang="ko-KR" altLang="en-US" sz="1319" dirty="0">
                  <a:solidFill>
                    <a:srgbClr val="FFFFFF"/>
                  </a:solidFill>
                  <a:latin typeface="Calibri" panose="020F0502020204030204" pitchFamily="34" charset="0"/>
                  <a:cs typeface="Calibri" panose="020F0502020204030204" pitchFamily="34" charset="0"/>
                </a:endParaRPr>
              </a:p>
            </p:txBody>
          </p:sp>
          <p:sp>
            <p:nvSpPr>
              <p:cNvPr id="36" name="Oval 36">
                <a:extLst>
                  <a:ext uri="{FF2B5EF4-FFF2-40B4-BE49-F238E27FC236}">
                    <a16:creationId xmlns:a16="http://schemas.microsoft.com/office/drawing/2014/main" id="{AC050354-AE34-463C-AA0B-8C04F5965B67}"/>
                  </a:ext>
                </a:extLst>
              </p:cNvPr>
              <p:cNvSpPr/>
              <p:nvPr/>
            </p:nvSpPr>
            <p:spPr>
              <a:xfrm>
                <a:off x="5312520" y="5429243"/>
                <a:ext cx="639465" cy="62364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507846"/>
                <a:r>
                  <a:rPr lang="en-US" altLang="ko-KR" sz="1319" dirty="0">
                    <a:solidFill>
                      <a:srgbClr val="FFFFFF"/>
                    </a:solidFill>
                    <a:latin typeface="Calibri" panose="020F0502020204030204" pitchFamily="34" charset="0"/>
                    <a:cs typeface="Calibri" panose="020F0502020204030204" pitchFamily="34" charset="0"/>
                  </a:rPr>
                  <a:t>Consume</a:t>
                </a:r>
                <a:endParaRPr lang="ko-KR" altLang="en-US" sz="1319" dirty="0">
                  <a:solidFill>
                    <a:srgbClr val="FFFFFF"/>
                  </a:solidFill>
                  <a:latin typeface="Calibri" panose="020F0502020204030204" pitchFamily="34" charset="0"/>
                  <a:cs typeface="Calibri" panose="020F0502020204030204" pitchFamily="34" charset="0"/>
                </a:endParaRPr>
              </a:p>
            </p:txBody>
          </p:sp>
        </p:grpSp>
        <p:sp>
          <p:nvSpPr>
            <p:cNvPr id="39" name="Oval 30">
              <a:extLst>
                <a:ext uri="{FF2B5EF4-FFF2-40B4-BE49-F238E27FC236}">
                  <a16:creationId xmlns:a16="http://schemas.microsoft.com/office/drawing/2014/main" id="{8963BF8C-72A1-46BA-A4F7-7F15F9DB1966}"/>
                </a:ext>
              </a:extLst>
            </p:cNvPr>
            <p:cNvSpPr/>
            <p:nvPr/>
          </p:nvSpPr>
          <p:spPr>
            <a:xfrm>
              <a:off x="6826596" y="985916"/>
              <a:ext cx="715009" cy="652634"/>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507846"/>
              <a:r>
                <a:rPr lang="en-US" altLang="ko-KR" sz="1319" dirty="0">
                  <a:solidFill>
                    <a:srgbClr val="FFFFFF"/>
                  </a:solidFill>
                  <a:latin typeface="Calibri" panose="020F0502020204030204" pitchFamily="34" charset="0"/>
                  <a:cs typeface="Calibri" panose="020F0502020204030204" pitchFamily="34" charset="0"/>
                </a:rPr>
                <a:t>Choose</a:t>
              </a:r>
              <a:endParaRPr lang="ko-KR" altLang="en-US" sz="1319" dirty="0">
                <a:solidFill>
                  <a:srgbClr val="FFFFFF"/>
                </a:solidFill>
                <a:latin typeface="Calibri" panose="020F0502020204030204" pitchFamily="34" charset="0"/>
                <a:cs typeface="Calibri" panose="020F0502020204030204" pitchFamily="34" charset="0"/>
              </a:endParaRPr>
            </a:p>
          </p:txBody>
        </p:sp>
      </p:grpSp>
      <p:sp>
        <p:nvSpPr>
          <p:cNvPr id="4" name="Rectangle: Rounded Corners 3">
            <a:hlinkClick r:id="" action="ppaction://noaction"/>
            <a:extLst>
              <a:ext uri="{FF2B5EF4-FFF2-40B4-BE49-F238E27FC236}">
                <a16:creationId xmlns:a16="http://schemas.microsoft.com/office/drawing/2014/main" id="{F4FE7FDE-1D67-4FD7-8273-9EA413594DB2}"/>
              </a:ext>
            </a:extLst>
          </p:cNvPr>
          <p:cNvSpPr/>
          <p:nvPr/>
        </p:nvSpPr>
        <p:spPr>
          <a:xfrm>
            <a:off x="138392" y="7178675"/>
            <a:ext cx="1920240" cy="548640"/>
          </a:xfrm>
          <a:prstGeom prst="roundRect">
            <a:avLst/>
          </a:prstGeom>
          <a:solidFill>
            <a:srgbClr val="51078C"/>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0">
            <a:schemeClr val="dk1"/>
          </a:lnRef>
          <a:fillRef idx="3">
            <a:schemeClr val="dk1"/>
          </a:fillRef>
          <a:effectRef idx="3">
            <a:schemeClr val="dk1"/>
          </a:effectRef>
          <a:fontRef idx="minor">
            <a:schemeClr val="lt1"/>
          </a:fontRef>
        </p:style>
        <p:txBody>
          <a:bodyPr rtlCol="0" anchor="ctr"/>
          <a:lstStyle/>
          <a:p>
            <a:pPr algn="ctr"/>
            <a:r>
              <a:rPr lang="en-US" b="1" dirty="0">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CEI Trending</a:t>
            </a:r>
          </a:p>
        </p:txBody>
      </p:sp>
      <p:sp>
        <p:nvSpPr>
          <p:cNvPr id="11" name="Rectangle: Rounded Corners 10">
            <a:hlinkClick r:id="" action="ppaction://noaction"/>
            <a:extLst>
              <a:ext uri="{FF2B5EF4-FFF2-40B4-BE49-F238E27FC236}">
                <a16:creationId xmlns:a16="http://schemas.microsoft.com/office/drawing/2014/main" id="{FD8361D3-F5CD-4681-89F4-47147614EF21}"/>
              </a:ext>
            </a:extLst>
          </p:cNvPr>
          <p:cNvSpPr/>
          <p:nvPr/>
        </p:nvSpPr>
        <p:spPr>
          <a:xfrm>
            <a:off x="138392" y="8398361"/>
            <a:ext cx="1920240" cy="548640"/>
          </a:xfrm>
          <a:prstGeom prst="roundRect">
            <a:avLst/>
          </a:prstGeom>
          <a:solidFill>
            <a:srgbClr val="51078C"/>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0">
            <a:schemeClr val="dk1"/>
          </a:lnRef>
          <a:fillRef idx="3">
            <a:schemeClr val="dk1"/>
          </a:fillRef>
          <a:effectRef idx="3">
            <a:schemeClr val="dk1"/>
          </a:effectRef>
          <a:fontRef idx="minor">
            <a:schemeClr val="lt1"/>
          </a:fontRef>
        </p:style>
        <p:txBody>
          <a:bodyPr rtlCol="0" anchor="ctr"/>
          <a:lstStyle/>
          <a:p>
            <a:pPr algn="ctr"/>
            <a:r>
              <a:rPr lang="en-US" b="1" dirty="0">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Radar</a:t>
            </a:r>
          </a:p>
        </p:txBody>
      </p:sp>
      <p:sp>
        <p:nvSpPr>
          <p:cNvPr id="13" name="Rectangle: Rounded Corners 12">
            <a:hlinkClick r:id="" action="ppaction://noaction"/>
            <a:extLst>
              <a:ext uri="{FF2B5EF4-FFF2-40B4-BE49-F238E27FC236}">
                <a16:creationId xmlns:a16="http://schemas.microsoft.com/office/drawing/2014/main" id="{28527CB4-46B5-4590-95D5-FDF002543DC7}"/>
              </a:ext>
            </a:extLst>
          </p:cNvPr>
          <p:cNvSpPr/>
          <p:nvPr/>
        </p:nvSpPr>
        <p:spPr>
          <a:xfrm>
            <a:off x="138392" y="7788518"/>
            <a:ext cx="1920240" cy="548640"/>
          </a:xfrm>
          <a:prstGeom prst="roundRect">
            <a:avLst/>
          </a:prstGeom>
          <a:solidFill>
            <a:srgbClr val="51078C"/>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0">
            <a:schemeClr val="dk1"/>
          </a:lnRef>
          <a:fillRef idx="3">
            <a:schemeClr val="dk1"/>
          </a:fillRef>
          <a:effectRef idx="3">
            <a:schemeClr val="dk1"/>
          </a:effectRef>
          <a:fontRef idx="minor">
            <a:schemeClr val="lt1"/>
          </a:fontRef>
        </p:style>
        <p:txBody>
          <a:bodyPr rtlCol="0" anchor="ctr"/>
          <a:lstStyle/>
          <a:p>
            <a:pPr algn="ctr"/>
            <a:r>
              <a:rPr lang="en-US" b="1" dirty="0">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Journeys View</a:t>
            </a:r>
          </a:p>
        </p:txBody>
      </p:sp>
    </p:spTree>
    <p:extLst>
      <p:ext uri="{BB962C8B-B14F-4D97-AF65-F5344CB8AC3E}">
        <p14:creationId xmlns:p14="http://schemas.microsoft.com/office/powerpoint/2010/main" val="13494721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07972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64791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65008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NGAGE" val="{&quot;SavedSwatch&quot;:&quot;-16748873|-8341960|-3468525|-2064878|-9539986|Markido&quot;,&quot;Id&quot;:&quot;5f562768414445bc409fe6fe&quot;,&quot;SmartGridHorizontal&quot;:0,&quot;LinkedExcelSources&quot;:{},&quot;LinkedProjectSources&quot;:{},&quot;FlowConfig&quot;:{&quot;Canvas&quot;:{&quot;Slide&quot;:-1,&quot;Width&quot;:0,&quot;Height&quot;:0},&quot;Timeline&quot;:{&quot;Actions&quot;:[]}},&quot;LinkedSlideMergeSources&quot;:{},&quot;LinkedSharePointSlideMergeSources&quot;:{}}"/>
  <p:tag name="THINKCELLPRESENTATIONDONOTDELETE" val="&lt;?xml version=&quot;1.0&quot; encoding=&quot;UTF-16&quot; standalone=&quot;yes&quot;?&gt;&lt;root reqver=&quot;25060&quot;&gt;&lt;version val=&quot;2839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1&quot;/&gt;&lt;m_eweekdayFirstOfWeekend val=&quot;6&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kl76cFCQqWWeJcNqzcYa4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kl76cFCQqWWeJcNqzcYa4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kl76cFCQqWWeJcNqzcYa4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YKMsobsebVOMC0a4rvda2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2Q6LqB7SseN03Tg_xzVGf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TpJR6wkwxYQtmALWa6YGe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qHTrM45xBG6hG6slMo.YG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7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自定义 1">
      <a:majorFont>
        <a:latin typeface="Calibri"/>
        <a:ea typeface="宋体"/>
        <a:cs typeface=""/>
      </a:majorFont>
      <a:minorFont>
        <a:latin typeface="Calibri"/>
        <a:ea typeface="宋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2_Office Theme">
  <a:themeElements>
    <a:clrScheme name="Custom 4">
      <a:dk1>
        <a:sysClr val="windowText" lastClr="000000"/>
      </a:dk1>
      <a:lt1>
        <a:sysClr val="window" lastClr="FFFFFF"/>
      </a:lt1>
      <a:dk2>
        <a:srgbClr val="57257D"/>
      </a:dk2>
      <a:lt2>
        <a:srgbClr val="919191"/>
      </a:lt2>
      <a:accent1>
        <a:srgbClr val="AA6ABE"/>
      </a:accent1>
      <a:accent2>
        <a:srgbClr val="E4E5E5"/>
      </a:accent2>
      <a:accent3>
        <a:srgbClr val="B60580"/>
      </a:accent3>
      <a:accent4>
        <a:srgbClr val="FF6600"/>
      </a:accent4>
      <a:accent5>
        <a:srgbClr val="FFC000"/>
      </a:accent5>
      <a:accent6>
        <a:srgbClr val="4BA5FF"/>
      </a:accent6>
      <a:hlink>
        <a:srgbClr val="0563C1"/>
      </a:hlink>
      <a:folHlink>
        <a:srgbClr val="954F72"/>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bg2"/>
          </a:solidFill>
        </a:ln>
      </a:spPr>
      <a:bodyPr rtlCol="0" anchor="ctr"/>
      <a:lstStyle>
        <a:defPPr algn="ctr">
          <a:defRPr sz="120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defRPr sz="1200" dirty="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8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自定义 1">
      <a:majorFont>
        <a:latin typeface="Calibri"/>
        <a:ea typeface="宋体"/>
        <a:cs typeface=""/>
      </a:majorFont>
      <a:minorFont>
        <a:latin typeface="Calibri"/>
        <a:ea typeface="宋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3_Annual Report">
  <a:themeElements>
    <a:clrScheme name="STC">
      <a:dk1>
        <a:srgbClr val="1D252D"/>
      </a:dk1>
      <a:lt1>
        <a:srgbClr val="FFFFFF"/>
      </a:lt1>
      <a:dk2>
        <a:srgbClr val="4F008C"/>
      </a:dk2>
      <a:lt2>
        <a:srgbClr val="FF375E"/>
      </a:lt2>
      <a:accent1>
        <a:srgbClr val="FFDD40"/>
      </a:accent1>
      <a:accent2>
        <a:srgbClr val="FF6A39"/>
      </a:accent2>
      <a:accent3>
        <a:srgbClr val="00C48C"/>
      </a:accent3>
      <a:accent4>
        <a:srgbClr val="1BCED8"/>
      </a:accent4>
      <a:accent5>
        <a:srgbClr val="A54EE1"/>
      </a:accent5>
      <a:accent6>
        <a:srgbClr val="8E9AA0"/>
      </a:accent6>
      <a:hlink>
        <a:srgbClr val="4F008C"/>
      </a:hlink>
      <a:folHlink>
        <a:srgbClr val="4F008C"/>
      </a:folHlink>
    </a:clrScheme>
    <a:fontScheme name="STC">
      <a:majorFont>
        <a:latin typeface="Arial Unicode MS"/>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4_Annual Report">
  <a:themeElements>
    <a:clrScheme name="STC">
      <a:dk1>
        <a:srgbClr val="1D252D"/>
      </a:dk1>
      <a:lt1>
        <a:srgbClr val="FFFFFF"/>
      </a:lt1>
      <a:dk2>
        <a:srgbClr val="4F008C"/>
      </a:dk2>
      <a:lt2>
        <a:srgbClr val="FF375E"/>
      </a:lt2>
      <a:accent1>
        <a:srgbClr val="FFDD40"/>
      </a:accent1>
      <a:accent2>
        <a:srgbClr val="FF6A39"/>
      </a:accent2>
      <a:accent3>
        <a:srgbClr val="00C48C"/>
      </a:accent3>
      <a:accent4>
        <a:srgbClr val="1BCED8"/>
      </a:accent4>
      <a:accent5>
        <a:srgbClr val="A54EE1"/>
      </a:accent5>
      <a:accent6>
        <a:srgbClr val="8E9AA0"/>
      </a:accent6>
      <a:hlink>
        <a:srgbClr val="4F008C"/>
      </a:hlink>
      <a:folHlink>
        <a:srgbClr val="4F008C"/>
      </a:folHlink>
    </a:clrScheme>
    <a:fontScheme name="STC">
      <a:majorFont>
        <a:latin typeface="Arial Unicode MS"/>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5_Annual Report">
  <a:themeElements>
    <a:clrScheme name="STC">
      <a:dk1>
        <a:srgbClr val="1D252D"/>
      </a:dk1>
      <a:lt1>
        <a:srgbClr val="FFFFFF"/>
      </a:lt1>
      <a:dk2>
        <a:srgbClr val="4F008C"/>
      </a:dk2>
      <a:lt2>
        <a:srgbClr val="FF375E"/>
      </a:lt2>
      <a:accent1>
        <a:srgbClr val="FFDD40"/>
      </a:accent1>
      <a:accent2>
        <a:srgbClr val="FF6A39"/>
      </a:accent2>
      <a:accent3>
        <a:srgbClr val="00C48C"/>
      </a:accent3>
      <a:accent4>
        <a:srgbClr val="1BCED8"/>
      </a:accent4>
      <a:accent5>
        <a:srgbClr val="A54EE1"/>
      </a:accent5>
      <a:accent6>
        <a:srgbClr val="8E9AA0"/>
      </a:accent6>
      <a:hlink>
        <a:srgbClr val="4F008C"/>
      </a:hlink>
      <a:folHlink>
        <a:srgbClr val="4F008C"/>
      </a:folHlink>
    </a:clrScheme>
    <a:fontScheme name="STC">
      <a:majorFont>
        <a:latin typeface="Arial Unicode MS"/>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F86B58AE622603448D3B24E396CD7345" ma:contentTypeVersion="0" ma:contentTypeDescription="Create a new document." ma:contentTypeScope="" ma:versionID="e5dc1971f54be102cba17a7e63517c34">
  <xsd:schema xmlns:xsd="http://www.w3.org/2001/XMLSchema" xmlns:xs="http://www.w3.org/2001/XMLSchema" xmlns:p="http://schemas.microsoft.com/office/2006/metadata/properties" targetNamespace="http://schemas.microsoft.com/office/2006/metadata/properties" ma:root="true" ma:fieldsID="e0cf7a101fd35a13262ac9b59afd07d3">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6936EC25-1D64-4DF6-B328-60F7701F8ACA}">
  <ds:schemaRefs>
    <ds:schemaRef ds:uri="http://schemas.microsoft.com/sharepoint/v3/contenttype/forms"/>
  </ds:schemaRefs>
</ds:datastoreItem>
</file>

<file path=customXml/itemProps2.xml><?xml version="1.0" encoding="utf-8"?>
<ds:datastoreItem xmlns:ds="http://schemas.openxmlformats.org/officeDocument/2006/customXml" ds:itemID="{17195C54-B9AE-486F-85BE-02323A0405E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96C280D6-93B4-4BAF-B3E6-C9F94F53256F}">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purl.org/dc/terms/"/>
    <ds:schemaRef ds:uri="http://schemas.openxmlformats.org/package/2006/metadata/core-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75838</TotalTime>
  <Words>25</Words>
  <Application>Microsoft Office PowerPoint</Application>
  <PresentationFormat>Custom</PresentationFormat>
  <Paragraphs>17</Paragraphs>
  <Slides>4</Slides>
  <Notes>0</Notes>
  <HiddenSlides>0</HiddenSlides>
  <MMClips>0</MMClips>
  <ScaleCrop>false</ScaleCrop>
  <HeadingPairs>
    <vt:vector size="8" baseType="variant">
      <vt:variant>
        <vt:lpstr>Fonts Used</vt:lpstr>
      </vt:variant>
      <vt:variant>
        <vt:i4>7</vt:i4>
      </vt:variant>
      <vt:variant>
        <vt:lpstr>Theme</vt:lpstr>
      </vt:variant>
      <vt:variant>
        <vt:i4>6</vt:i4>
      </vt:variant>
      <vt:variant>
        <vt:lpstr>Embedded OLE Servers</vt:lpstr>
      </vt:variant>
      <vt:variant>
        <vt:i4>1</vt:i4>
      </vt:variant>
      <vt:variant>
        <vt:lpstr>Slide Titles</vt:lpstr>
      </vt:variant>
      <vt:variant>
        <vt:i4>4</vt:i4>
      </vt:variant>
    </vt:vector>
  </HeadingPairs>
  <TitlesOfParts>
    <vt:vector size="18" baseType="lpstr">
      <vt:lpstr>Arial</vt:lpstr>
      <vt:lpstr>Arial Unicode MS</vt:lpstr>
      <vt:lpstr>Calibri</vt:lpstr>
      <vt:lpstr>Candara</vt:lpstr>
      <vt:lpstr>Chiller</vt:lpstr>
      <vt:lpstr>Segoe UI Semilight</vt:lpstr>
      <vt:lpstr>Wingdings</vt:lpstr>
      <vt:lpstr>7_Office Theme</vt:lpstr>
      <vt:lpstr>12_Office Theme</vt:lpstr>
      <vt:lpstr>8_Office Theme</vt:lpstr>
      <vt:lpstr>3_Annual Report</vt:lpstr>
      <vt:lpstr>4_Annual Report</vt:lpstr>
      <vt:lpstr>5_Annual Report</vt:lpstr>
      <vt:lpstr>think-cell Slide</vt:lpstr>
      <vt:lpstr>Assurance Radar August 2020</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ssurance Radar</dc:title>
  <dc:creator>CCEx Assurance</dc:creator>
  <cp:lastModifiedBy>Mohammad Amir Saeed</cp:lastModifiedBy>
  <cp:revision>4089</cp:revision>
  <dcterms:created xsi:type="dcterms:W3CDTF">2019-05-25T14:05:15Z</dcterms:created>
  <dcterms:modified xsi:type="dcterms:W3CDTF">2020-10-26T08:57: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19-05-25T00:00:00Z</vt:filetime>
  </property>
  <property fmtid="{D5CDD505-2E9C-101B-9397-08002B2CF9AE}" pid="3" name="Creator">
    <vt:lpwstr>Adobe Illustrator CC 22.0 (Macintosh)</vt:lpwstr>
  </property>
  <property fmtid="{D5CDD505-2E9C-101B-9397-08002B2CF9AE}" pid="4" name="LastSaved">
    <vt:filetime>2019-05-25T00:00:00Z</vt:filetime>
  </property>
  <property fmtid="{D5CDD505-2E9C-101B-9397-08002B2CF9AE}" pid="5" name="ContentTypeId">
    <vt:lpwstr>0x010100F86B58AE622603448D3B24E396CD7345</vt:lpwstr>
  </property>
  <property fmtid="{D5CDD505-2E9C-101B-9397-08002B2CF9AE}" pid="6" name="IsMyDocuments">
    <vt:bool>true</vt:bool>
  </property>
</Properties>
</file>